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7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8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6" r:id="rId1"/>
    <p:sldMasterId id="2147483737" r:id="rId2"/>
    <p:sldMasterId id="2147483776" r:id="rId3"/>
    <p:sldMasterId id="2147483844" r:id="rId4"/>
    <p:sldMasterId id="2147483865" r:id="rId5"/>
    <p:sldMasterId id="2147483886" r:id="rId6"/>
    <p:sldMasterId id="2147483924" r:id="rId7"/>
    <p:sldMasterId id="2147483937" r:id="rId8"/>
    <p:sldMasterId id="2147484069" r:id="rId9"/>
  </p:sldMasterIdLst>
  <p:notesMasterIdLst>
    <p:notesMasterId r:id="rId12"/>
  </p:notesMasterIdLst>
  <p:handoutMasterIdLst>
    <p:handoutMasterId r:id="rId13"/>
  </p:handoutMasterIdLst>
  <p:sldIdLst>
    <p:sldId id="621" r:id="rId10"/>
    <p:sldId id="667" r:id="rId11"/>
  </p:sldIdLst>
  <p:sldSz cx="12192000" cy="6858000"/>
  <p:notesSz cx="6881813" cy="92964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CB63A"/>
    <a:srgbClr val="262626"/>
    <a:srgbClr val="0069AB"/>
    <a:srgbClr val="B74200"/>
    <a:srgbClr val="FFFFFF"/>
    <a:srgbClr val="1F9181"/>
    <a:srgbClr val="38AC62"/>
    <a:srgbClr val="7C7C7C"/>
    <a:srgbClr val="FF3F5F"/>
    <a:srgbClr val="2AC2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5520" autoAdjust="0"/>
  </p:normalViewPr>
  <p:slideViewPr>
    <p:cSldViewPr snapToGrid="0">
      <p:cViewPr varScale="1">
        <p:scale>
          <a:sx n="73" d="100"/>
          <a:sy n="73" d="100"/>
        </p:scale>
        <p:origin x="414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5" d="100"/>
        <a:sy n="105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285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7313" y="0"/>
            <a:ext cx="2982912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BEE483-E364-4E83-8E74-2BDF4156DA32}" type="datetimeFigureOut">
              <a:rPr lang="en-US" smtClean="0"/>
              <a:pPr/>
              <a:t>3/1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2982913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7313" y="8829675"/>
            <a:ext cx="2982912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A9F3C4-FC69-40EA-A6C4-C151093EAB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27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466725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7313" y="0"/>
            <a:ext cx="2982912" cy="466725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E64F818-5E3C-49AC-9090-865C41D2BE6C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40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473575"/>
            <a:ext cx="5505450" cy="3660775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2982913" cy="466725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7313" y="8829675"/>
            <a:ext cx="2982912" cy="466725"/>
          </a:xfrm>
          <a:prstGeom prst="rect">
            <a:avLst/>
          </a:prstGeom>
        </p:spPr>
        <p:txBody>
          <a:bodyPr vert="horz" wrap="square" lIns="92446" tIns="46223" rIns="92446" bIns="4622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0A70D262-325D-4231-B3FC-63F011C33EF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007448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7665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9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9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9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9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0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8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8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2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8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5.png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lowchart: Off-page Connector 1"/>
          <p:cNvSpPr/>
          <p:nvPr userDrawn="1"/>
        </p:nvSpPr>
        <p:spPr>
          <a:xfrm rot="5400000">
            <a:off x="11730831" y="126207"/>
            <a:ext cx="384175" cy="538162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754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667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3050" y="203200"/>
            <a:ext cx="5080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FFFFFF"/>
                </a:solidFill>
                <a:cs typeface="FontAwesome"/>
              </a:defRPr>
            </a:lvl1pPr>
          </a:lstStyle>
          <a:p>
            <a:pPr>
              <a:defRPr/>
            </a:pPr>
            <a:fld id="{72158FF0-E32A-497C-B320-E6FCBBE0C9B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365941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4380522"/>
      </p:ext>
    </p:extLst>
  </p:cSld>
  <p:clrMapOvr>
    <a:masterClrMapping/>
  </p:clrMapOvr>
  <p:transition>
    <p:pull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1"/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985000"/>
          </a:xfrm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33200600"/>
      </p:ext>
    </p:extLst>
  </p:cSld>
  <p:clrMapOvr>
    <a:masterClrMapping/>
  </p:clrMapOvr>
  <p:transition spd="slow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lowchart: Off-page Connector 1"/>
          <p:cNvSpPr/>
          <p:nvPr userDrawn="1"/>
        </p:nvSpPr>
        <p:spPr>
          <a:xfrm rot="5400000">
            <a:off x="11730831" y="126207"/>
            <a:ext cx="384175" cy="538162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754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667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3050" y="203200"/>
            <a:ext cx="5080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FFFFFF"/>
                </a:solidFill>
                <a:cs typeface="FontAwesome"/>
              </a:defRPr>
            </a:lvl1pPr>
          </a:lstStyle>
          <a:p>
            <a:pPr>
              <a:defRPr/>
            </a:pPr>
            <a:fld id="{D49905AF-88D0-4BC4-BA58-6CFF4C7AD87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266332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Off-page Connector 3"/>
          <p:cNvSpPr/>
          <p:nvPr userDrawn="1"/>
        </p:nvSpPr>
        <p:spPr>
          <a:xfrm rot="5400000">
            <a:off x="11730831" y="126207"/>
            <a:ext cx="384175" cy="538162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754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667" dirty="0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667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3050" y="203200"/>
            <a:ext cx="5080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FFFFFF"/>
                </a:solidFill>
                <a:cs typeface="FontAwesome"/>
              </a:defRPr>
            </a:lvl1pPr>
          </a:lstStyle>
          <a:p>
            <a:pPr>
              <a:defRPr/>
            </a:pPr>
            <a:fld id="{0CFF4EE2-FA13-4C46-8CE4-8BB7FED557F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5055723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Off-page Connector 4"/>
          <p:cNvSpPr/>
          <p:nvPr userDrawn="1"/>
        </p:nvSpPr>
        <p:spPr>
          <a:xfrm rot="5400000">
            <a:off x="11730831" y="126207"/>
            <a:ext cx="384175" cy="538162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754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667" dirty="0">
              <a:solidFill>
                <a:srgbClr val="FFFFFF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3050" y="203200"/>
            <a:ext cx="5080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FFFFFF"/>
                </a:solidFill>
                <a:cs typeface="FontAwesome"/>
              </a:defRPr>
            </a:lvl1pPr>
          </a:lstStyle>
          <a:p>
            <a:pPr>
              <a:defRPr/>
            </a:pPr>
            <a:fld id="{AFD62C05-3115-4643-9C1B-25DC4869403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9404654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566610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"/>
          <p:cNvGrpSpPr>
            <a:grpSpLocks/>
          </p:cNvGrpSpPr>
          <p:nvPr userDrawn="1"/>
        </p:nvGrpSpPr>
        <p:grpSpPr bwMode="auto">
          <a:xfrm>
            <a:off x="0" y="6732588"/>
            <a:ext cx="12192000" cy="125412"/>
            <a:chOff x="0" y="2573904"/>
            <a:chExt cx="8767278" cy="44695"/>
          </a:xfrm>
        </p:grpSpPr>
        <p:grpSp>
          <p:nvGrpSpPr>
            <p:cNvPr id="5" name="Group 43"/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579" y="2573904"/>
                <a:ext cx="1262579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70" y="2573904"/>
                <a:ext cx="1262579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6" name="Group 44"/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14" y="2573904"/>
                <a:ext cx="1262579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1262594" y="2573904"/>
                <a:ext cx="1262579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2489784" y="2573904"/>
                <a:ext cx="1262579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3752364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664498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>
            <a:grpSpLocks/>
          </p:cNvGrpSpPr>
          <p:nvPr userDrawn="1"/>
        </p:nvGrpSpPr>
        <p:grpSpPr bwMode="auto">
          <a:xfrm>
            <a:off x="0" y="6732588"/>
            <a:ext cx="12192000" cy="125412"/>
            <a:chOff x="0" y="2573904"/>
            <a:chExt cx="8767278" cy="44695"/>
          </a:xfrm>
        </p:grpSpPr>
        <p:grpSp>
          <p:nvGrpSpPr>
            <p:cNvPr id="3" name="Group 43"/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1262579" y="2573904"/>
                <a:ext cx="1262579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2489770" y="2573904"/>
                <a:ext cx="1262579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" name="Group 44"/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14" y="2573904"/>
                <a:ext cx="1262579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Rectangle 5"/>
              <p:cNvSpPr/>
              <p:nvPr/>
            </p:nvSpPr>
            <p:spPr>
              <a:xfrm>
                <a:off x="1262594" y="2573904"/>
                <a:ext cx="1262579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2489784" y="2573904"/>
                <a:ext cx="1262579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3752364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2" name="Flowchart: Off-page Connector 11"/>
          <p:cNvSpPr/>
          <p:nvPr userDrawn="1"/>
        </p:nvSpPr>
        <p:spPr>
          <a:xfrm rot="5400000">
            <a:off x="11730831" y="126207"/>
            <a:ext cx="384175" cy="538162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754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667" dirty="0">
              <a:solidFill>
                <a:srgbClr val="FFFFFF"/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3050" y="203200"/>
            <a:ext cx="5080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FFFFFF"/>
                </a:solidFill>
                <a:cs typeface="FontAwesome"/>
              </a:defRPr>
            </a:lvl1pPr>
          </a:lstStyle>
          <a:p>
            <a:pPr>
              <a:defRPr/>
            </a:pPr>
            <a:fld id="{3D868715-E9BA-4E82-A875-DDA7256A409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2175306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882832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>
            <a:grpSpLocks/>
          </p:cNvGrpSpPr>
          <p:nvPr userDrawn="1"/>
        </p:nvGrpSpPr>
        <p:grpSpPr bwMode="auto">
          <a:xfrm>
            <a:off x="0" y="6732588"/>
            <a:ext cx="12192000" cy="125412"/>
            <a:chOff x="0" y="2573904"/>
            <a:chExt cx="8767278" cy="44695"/>
          </a:xfrm>
        </p:grpSpPr>
        <p:grpSp>
          <p:nvGrpSpPr>
            <p:cNvPr id="3" name="Group 43"/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1262579" y="2573904"/>
                <a:ext cx="1262579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2489770" y="2573904"/>
                <a:ext cx="1262579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" name="Group 44"/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14" y="2573904"/>
                <a:ext cx="1262579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Rectangle 5"/>
              <p:cNvSpPr/>
              <p:nvPr/>
            </p:nvSpPr>
            <p:spPr>
              <a:xfrm>
                <a:off x="1262594" y="2573904"/>
                <a:ext cx="1262579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2489784" y="2573904"/>
                <a:ext cx="1262579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3752364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4646013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Blank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38306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lowchart: Off-page Connector 1"/>
          <p:cNvSpPr/>
          <p:nvPr userDrawn="1"/>
        </p:nvSpPr>
        <p:spPr>
          <a:xfrm rot="5400000">
            <a:off x="11730831" y="126207"/>
            <a:ext cx="384175" cy="538162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754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667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3050" y="203200"/>
            <a:ext cx="5080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FFFFFF"/>
                </a:solidFill>
                <a:cs typeface="FontAwesome"/>
              </a:defRPr>
            </a:lvl1pPr>
          </a:lstStyle>
          <a:p>
            <a:pPr>
              <a:defRPr/>
            </a:pPr>
            <a:fld id="{246D077A-DD5E-4140-BECB-B1BE524047E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9529763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1485"/>
            <a:ext cx="10363200" cy="14689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383879-0602-46C2-AE98-515211DDE094}" type="datetimeFigureOut">
              <a:rPr lang="en-US" altLang="en-US"/>
              <a:pPr>
                <a:defRPr/>
              </a:pPr>
              <a:t>3/10/2022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60D6B7-6D4A-42D3-AF7B-C879458DA3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9251468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4511675" y="53975"/>
            <a:ext cx="60325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572000" y="-174625"/>
            <a:ext cx="6197600" cy="1143000"/>
          </a:xfrm>
          <a:prstGeom prst="rect">
            <a:avLst/>
          </a:prstGeom>
        </p:spPr>
        <p:txBody>
          <a:bodyPr lIns="121920" tIns="60960" rIns="121920" bIns="6096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219170" fontAlgn="auto">
              <a:spcAft>
                <a:spcPts val="0"/>
              </a:spcAft>
              <a:defRPr/>
            </a:pPr>
            <a:endParaRPr lang="en-US" sz="1467" dirty="0">
              <a:solidFill>
                <a:prstClr val="white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17600" y="-175211"/>
            <a:ext cx="3102472" cy="1143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0972800" y="6356350"/>
            <a:ext cx="609600" cy="501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BE460B-5106-4298-A4DC-76A98EB1125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5639754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08AD73-E0AA-44E3-B769-A3AC634AADD8}" type="datetimeFigureOut">
              <a:rPr lang="en-US" altLang="en-US"/>
              <a:pPr>
                <a:defRPr/>
              </a:pPr>
              <a:t>3/10/2022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7F6A3-E998-4654-85FA-77B9574EA5D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4645524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3DE114-DB4D-4F9B-848D-AC21A0409E4C}" type="datetimeFigureOut">
              <a:rPr lang="en-US" altLang="en-US"/>
              <a:pPr>
                <a:defRPr/>
              </a:pPr>
              <a:t>3/10/2022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645582-135C-4C42-9EE1-BA938533868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3125284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4584"/>
            <a:ext cx="5386917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4584"/>
            <a:ext cx="5389033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5934"/>
            <a:ext cx="5389033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D13BDF-BC12-4BE4-A0E5-F68BEE583FFB}" type="datetimeFigureOut">
              <a:rPr lang="en-US" altLang="en-US"/>
              <a:pPr>
                <a:defRPr/>
              </a:pPr>
              <a:t>3/10/2022</a:t>
            </a:fld>
            <a:endParaRPr lang="en-US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3BE0BC-BF72-4833-A865-93945EBE258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7869494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6B90CB-862A-430C-B45D-587666393960}" type="datetimeFigureOut">
              <a:rPr lang="en-US" altLang="en-US"/>
              <a:pPr>
                <a:defRPr/>
              </a:pPr>
              <a:t>3/10/2022</a:t>
            </a:fld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7061A3-BCAC-458F-9E9D-51489DC1641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5903374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125A32-AB85-416E-9228-8F16E27E5B94}" type="datetimeFigureOut">
              <a:rPr lang="en-US" altLang="en-US"/>
              <a:pPr>
                <a:defRPr/>
              </a:pPr>
              <a:t>3/10/2022</a:t>
            </a:fld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861826-3A2D-432B-922D-E6C07AD43D0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3027903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2"/>
            <a:ext cx="4011084" cy="116204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258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0"/>
            <a:ext cx="4011084" cy="469053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4CC0F5-0AC1-4216-B36D-30B354C669DD}" type="datetimeFigureOut">
              <a:rPr lang="en-US" altLang="en-US"/>
              <a:pPr>
                <a:defRPr/>
              </a:pPr>
              <a:t>3/10/2022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71867-D386-4280-961D-DD988D7EB79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6378218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7267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867"/>
            <a:ext cx="7315200" cy="80433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B4345-1D4B-4FC4-9F40-686B55EE993C}" type="datetimeFigureOut">
              <a:rPr lang="en-US" altLang="en-US"/>
              <a:pPr>
                <a:defRPr/>
              </a:pPr>
              <a:t>3/10/2022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E40B43-9906-491A-AB7B-1E29D433DCB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8667394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7B5845-E2E0-461C-8D80-28E4F4697A01}" type="datetimeFigureOut">
              <a:rPr lang="en-US" altLang="en-US"/>
              <a:pPr>
                <a:defRPr/>
              </a:pPr>
              <a:t>3/10/2022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E5DE35-C67C-4E6E-BD12-31BE1682C0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1345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Off-page Connector 3"/>
          <p:cNvSpPr/>
          <p:nvPr userDrawn="1"/>
        </p:nvSpPr>
        <p:spPr>
          <a:xfrm rot="5400000">
            <a:off x="11730831" y="126207"/>
            <a:ext cx="384175" cy="538162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754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667" dirty="0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667" b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3050" y="203200"/>
            <a:ext cx="5080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FFFFFF"/>
                </a:solidFill>
                <a:cs typeface="FontAwesome"/>
              </a:defRPr>
            </a:lvl1pPr>
          </a:lstStyle>
          <a:p>
            <a:pPr>
              <a:defRPr/>
            </a:pPr>
            <a:fld id="{9C874348-596F-4F45-865F-44A71A806EB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188279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5167"/>
            <a:ext cx="2743200" cy="585046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5167"/>
            <a:ext cx="8026400" cy="58504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AEB267-FD94-4372-A38F-2BA9A295D9D9}" type="datetimeFigureOut">
              <a:rPr lang="en-US" altLang="en-US"/>
              <a:pPr>
                <a:defRPr/>
              </a:pPr>
              <a:t>3/10/2022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7B51F7-B3D5-4DDE-A28B-E6041BC8919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5948166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1"/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985000"/>
          </a:xfrm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337615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Off-page Connector 4"/>
          <p:cNvSpPr/>
          <p:nvPr userDrawn="1"/>
        </p:nvSpPr>
        <p:spPr>
          <a:xfrm rot="5400000">
            <a:off x="11730831" y="126207"/>
            <a:ext cx="384175" cy="538162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754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667" dirty="0">
              <a:solidFill>
                <a:srgbClr val="FFFFFF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6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3050" y="203200"/>
            <a:ext cx="5080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FFFFFF"/>
                </a:solidFill>
                <a:cs typeface="FontAwesome"/>
              </a:defRPr>
            </a:lvl1pPr>
          </a:lstStyle>
          <a:p>
            <a:pPr>
              <a:defRPr/>
            </a:pPr>
            <a:fld id="{4BC42CBA-DD0A-4AEE-B85B-C553DF7B39F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425105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36976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"/>
          <p:cNvGrpSpPr>
            <a:grpSpLocks/>
          </p:cNvGrpSpPr>
          <p:nvPr userDrawn="1"/>
        </p:nvGrpSpPr>
        <p:grpSpPr bwMode="auto">
          <a:xfrm>
            <a:off x="0" y="6732588"/>
            <a:ext cx="12192000" cy="125412"/>
            <a:chOff x="0" y="2573904"/>
            <a:chExt cx="8767278" cy="44695"/>
          </a:xfrm>
        </p:grpSpPr>
        <p:grpSp>
          <p:nvGrpSpPr>
            <p:cNvPr id="5" name="Group 43"/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579" y="2573904"/>
                <a:ext cx="1262579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70" y="2573904"/>
                <a:ext cx="1262579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6" name="Group 44"/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14" y="2573904"/>
                <a:ext cx="1262579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1262594" y="2573904"/>
                <a:ext cx="1262579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2489784" y="2573904"/>
                <a:ext cx="1262579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3752364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6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88872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>
            <a:grpSpLocks/>
          </p:cNvGrpSpPr>
          <p:nvPr userDrawn="1"/>
        </p:nvGrpSpPr>
        <p:grpSpPr bwMode="auto">
          <a:xfrm>
            <a:off x="0" y="6732588"/>
            <a:ext cx="12192000" cy="125412"/>
            <a:chOff x="0" y="2573904"/>
            <a:chExt cx="8767278" cy="44695"/>
          </a:xfrm>
        </p:grpSpPr>
        <p:grpSp>
          <p:nvGrpSpPr>
            <p:cNvPr id="3" name="Group 43"/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1262579" y="2573904"/>
                <a:ext cx="1262579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2489770" y="2573904"/>
                <a:ext cx="1262579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" name="Group 44"/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14" y="2573904"/>
                <a:ext cx="1262579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Rectangle 5"/>
              <p:cNvSpPr/>
              <p:nvPr/>
            </p:nvSpPr>
            <p:spPr>
              <a:xfrm>
                <a:off x="1262594" y="2573904"/>
                <a:ext cx="1262579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2489784" y="2573904"/>
                <a:ext cx="1262579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3752364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2" name="Flowchart: Off-page Connector 11"/>
          <p:cNvSpPr/>
          <p:nvPr userDrawn="1"/>
        </p:nvSpPr>
        <p:spPr>
          <a:xfrm rot="5400000">
            <a:off x="11730831" y="126207"/>
            <a:ext cx="384175" cy="538162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754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667" dirty="0">
              <a:solidFill>
                <a:srgbClr val="FFFFFF"/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3050" y="203200"/>
            <a:ext cx="5080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FFFFFF"/>
                </a:solidFill>
                <a:cs typeface="FontAwesome"/>
              </a:defRPr>
            </a:lvl1pPr>
          </a:lstStyle>
          <a:p>
            <a:pPr>
              <a:defRPr/>
            </a:pPr>
            <a:fld id="{051B89A4-8778-4EB5-9FBC-0C06D504991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338193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6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89276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>
            <a:grpSpLocks/>
          </p:cNvGrpSpPr>
          <p:nvPr userDrawn="1"/>
        </p:nvGrpSpPr>
        <p:grpSpPr bwMode="auto">
          <a:xfrm>
            <a:off x="0" y="6732588"/>
            <a:ext cx="12192000" cy="125412"/>
            <a:chOff x="0" y="2573904"/>
            <a:chExt cx="8767278" cy="44695"/>
          </a:xfrm>
        </p:grpSpPr>
        <p:grpSp>
          <p:nvGrpSpPr>
            <p:cNvPr id="3" name="Group 43"/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1262579" y="2573904"/>
                <a:ext cx="1262579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2489770" y="2573904"/>
                <a:ext cx="1262579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" name="Group 44"/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14" y="2573904"/>
                <a:ext cx="1262579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Rectangle 5"/>
              <p:cNvSpPr/>
              <p:nvPr/>
            </p:nvSpPr>
            <p:spPr>
              <a:xfrm>
                <a:off x="1262594" y="2573904"/>
                <a:ext cx="1262579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2489784" y="2573904"/>
                <a:ext cx="1262579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3752364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117157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Blank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95219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Off-page Connector 3"/>
          <p:cNvSpPr/>
          <p:nvPr userDrawn="1"/>
        </p:nvSpPr>
        <p:spPr>
          <a:xfrm rot="5400000">
            <a:off x="11730831" y="126207"/>
            <a:ext cx="384175" cy="538162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754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667" dirty="0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667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3050" y="203200"/>
            <a:ext cx="5080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FFFFFF"/>
                </a:solidFill>
                <a:cs typeface="FontAwesome"/>
              </a:defRPr>
            </a:lvl1pPr>
          </a:lstStyle>
          <a:p>
            <a:pPr>
              <a:defRPr/>
            </a:pPr>
            <a:fld id="{AFE05671-D5FF-4910-B304-F3D98D29915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13323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106488" y="715963"/>
            <a:ext cx="749300" cy="46037"/>
          </a:xfrm>
          <a:prstGeom prst="rect">
            <a:avLst/>
          </a:prstGeom>
          <a:solidFill>
            <a:srgbClr val="F20000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82" tIns="51942" rIns="103882" bIns="51942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93888" y="715963"/>
            <a:ext cx="94345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82" tIns="51942" rIns="103882" bIns="51942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" name="TextBox 10"/>
          <p:cNvSpPr txBox="1">
            <a:spLocks noChangeArrowheads="1"/>
          </p:cNvSpPr>
          <p:nvPr/>
        </p:nvSpPr>
        <p:spPr bwMode="auto">
          <a:xfrm>
            <a:off x="11791950" y="6618288"/>
            <a:ext cx="401638" cy="2889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03882" tIns="51942" rIns="103882" bIns="5194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fld id="{52E69AAE-503C-4FA9-9EDB-B23FA9DA9AEE}" type="slidenum">
              <a:rPr lang="en-US" altLang="en-US" sz="1200" smtClean="0">
                <a:solidFill>
                  <a:srgbClr val="000000"/>
                </a:solidFill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6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4650" y="33338"/>
            <a:ext cx="1633538" cy="84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00" y="0"/>
            <a:ext cx="822325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750281" y="6584776"/>
            <a:ext cx="10972801" cy="228600"/>
          </a:xfrm>
          <a:prstGeom prst="rect">
            <a:avLst/>
          </a:prstGeom>
        </p:spPr>
        <p:txBody>
          <a:bodyPr lIns="103882" tIns="51942" rIns="103882" bIns="51942" anchor="ctr"/>
          <a:lstStyle>
            <a:lvl1pPr marL="0" indent="0">
              <a:buFont typeface="Arial" pitchFamily="34" charset="0"/>
              <a:buNone/>
              <a:defRPr sz="1200" b="0" baseline="0">
                <a:latin typeface="+mj-lt"/>
                <a:cs typeface="Arial" pitchFamily="34" charset="0"/>
              </a:defRPr>
            </a:lvl1pPr>
            <a:lvl2pPr marL="519410" indent="0">
              <a:buFont typeface="Arial" pitchFamily="34" charset="0"/>
              <a:buNone/>
              <a:defRPr sz="1900"/>
            </a:lvl2pPr>
            <a:lvl3pPr marL="1038821" indent="0">
              <a:buFont typeface="Arial" pitchFamily="34" charset="0"/>
              <a:buNone/>
              <a:defRPr sz="1600"/>
            </a:lvl3pPr>
            <a:lvl4pPr marL="1558231" indent="0">
              <a:buFont typeface="Arial" pitchFamily="34" charset="0"/>
              <a:buNone/>
              <a:defRPr sz="1300"/>
            </a:lvl4pPr>
            <a:lvl5pPr marL="2077640" indent="0">
              <a:buFont typeface="Arial" pitchFamily="34" charset="0"/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523914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0" y="1500288"/>
            <a:ext cx="5830818" cy="52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User\Pictures\kawung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-31750"/>
            <a:ext cx="3028951" cy="688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1625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5064125" y="4267200"/>
            <a:ext cx="6896100" cy="476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438" y="142875"/>
            <a:ext cx="873125" cy="87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720863" y="2663833"/>
            <a:ext cx="5556739" cy="1470025"/>
          </a:xfrm>
          <a:prstGeom prst="rect">
            <a:avLst/>
          </a:prstGeom>
        </p:spPr>
        <p:txBody>
          <a:bodyPr lIns="103882" tIns="51942" rIns="103882" bIns="51942">
            <a:normAutofit/>
          </a:bodyPr>
          <a:lstStyle>
            <a:lvl1pPr algn="l">
              <a:defRPr sz="41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720862" y="4419600"/>
            <a:ext cx="5627077" cy="1752600"/>
          </a:xfrm>
          <a:prstGeom prst="rect">
            <a:avLst/>
          </a:prstGeom>
        </p:spPr>
        <p:txBody>
          <a:bodyPr lIns="103882" tIns="51942" rIns="103882" bIns="51942">
            <a:normAutofit/>
          </a:bodyPr>
          <a:lstStyle>
            <a:lvl1pPr marL="0" indent="0" algn="l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19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8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6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5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8415281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3050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0"/>
            <a:ext cx="1524000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720863" y="2663833"/>
            <a:ext cx="5556739" cy="1470025"/>
          </a:xfrm>
          <a:prstGeom prst="rect">
            <a:avLst/>
          </a:prstGeom>
        </p:spPr>
        <p:txBody>
          <a:bodyPr lIns="103882" tIns="51942" rIns="103882" bIns="51942">
            <a:normAutofit/>
          </a:bodyPr>
          <a:lstStyle>
            <a:lvl1pPr algn="l">
              <a:defRPr sz="41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720862" y="4419600"/>
            <a:ext cx="5627077" cy="1752600"/>
          </a:xfrm>
          <a:prstGeom prst="rect">
            <a:avLst/>
          </a:prstGeom>
        </p:spPr>
        <p:txBody>
          <a:bodyPr lIns="103882" tIns="51942" rIns="103882" bIns="51942">
            <a:normAutofit/>
          </a:bodyPr>
          <a:lstStyle>
            <a:lvl1pPr marL="0" indent="0" algn="l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19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8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6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5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5381468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70650"/>
            <a:ext cx="11083925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9"/>
            <a:ext cx="10972801" cy="1143000"/>
          </a:xfrm>
          <a:prstGeom prst="rect">
            <a:avLst/>
          </a:prstGeom>
        </p:spPr>
        <p:txBody>
          <a:bodyPr lIns="103882" tIns="51942" rIns="103882" bIns="5194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600206"/>
            <a:ext cx="10972801" cy="4525963"/>
          </a:xfrm>
          <a:prstGeom prst="rect">
            <a:avLst/>
          </a:prstGeom>
        </p:spPr>
        <p:txBody>
          <a:bodyPr lIns="103882" tIns="51942" rIns="103882" bIns="51942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9D8C092-6381-4584-BAFB-4242D3B45E6D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103882" tIns="51942" rIns="103882" bIns="51942" numCol="1" anchor="t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6E4D242D-8D2D-43CE-87C2-93D6713869DF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196792138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8"/>
            <a:ext cx="10363200" cy="1362075"/>
          </a:xfrm>
          <a:prstGeom prst="rect">
            <a:avLst/>
          </a:prstGeom>
        </p:spPr>
        <p:txBody>
          <a:bodyPr lIns="103882" tIns="51942" rIns="103882" bIns="51942" anchor="t"/>
          <a:lstStyle>
            <a:lvl1pPr algn="l">
              <a:defRPr sz="45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lIns="103882" tIns="51942" rIns="103882" bIns="51942"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1941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3882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5582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77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970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164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358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552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B79ACE6-907C-4876-B8C0-468D64C09BC1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103882" tIns="51942" rIns="103882" bIns="51942" numCol="1" anchor="t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C8CA11CD-33F4-4C30-AE42-CF214D97DCEB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39985063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9"/>
            <a:ext cx="10972801" cy="1143000"/>
          </a:xfrm>
          <a:prstGeom prst="rect">
            <a:avLst/>
          </a:prstGeom>
        </p:spPr>
        <p:txBody>
          <a:bodyPr lIns="103882" tIns="51942" rIns="103882" bIns="5194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0403" y="1600206"/>
            <a:ext cx="5842000" cy="4525963"/>
          </a:xfrm>
          <a:prstGeom prst="rect">
            <a:avLst/>
          </a:prstGeom>
        </p:spPr>
        <p:txBody>
          <a:bodyPr lIns="103882" tIns="51942" rIns="103882" bIns="51942"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05604" y="1600206"/>
            <a:ext cx="5842000" cy="4525963"/>
          </a:xfrm>
          <a:prstGeom prst="rect">
            <a:avLst/>
          </a:prstGeom>
        </p:spPr>
        <p:txBody>
          <a:bodyPr lIns="103882" tIns="51942" rIns="103882" bIns="51942"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090993A-1777-44E1-8DC7-878DE5E61439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103882" tIns="51942" rIns="103882" bIns="51942" numCol="1" anchor="t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3364E557-0248-40D2-8F40-14D13BDF0C76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170345877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9"/>
            <a:ext cx="10972801" cy="1143000"/>
          </a:xfrm>
          <a:prstGeom prst="rect">
            <a:avLst/>
          </a:prstGeom>
        </p:spPr>
        <p:txBody>
          <a:bodyPr lIns="103882" tIns="51942" rIns="103882" bIns="51942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7"/>
            <a:ext cx="5386917" cy="639763"/>
          </a:xfrm>
          <a:prstGeom prst="rect">
            <a:avLst/>
          </a:prstGeom>
        </p:spPr>
        <p:txBody>
          <a:bodyPr lIns="103882" tIns="51942" rIns="103882" bIns="51942" anchor="b"/>
          <a:lstStyle>
            <a:lvl1pPr marL="0" indent="0">
              <a:buNone/>
              <a:defRPr sz="2700" b="1"/>
            </a:lvl1pPr>
            <a:lvl2pPr marL="519410" indent="0">
              <a:buNone/>
              <a:defRPr sz="2300" b="1"/>
            </a:lvl2pPr>
            <a:lvl3pPr marL="1038821" indent="0">
              <a:buNone/>
              <a:defRPr sz="2000" b="1"/>
            </a:lvl3pPr>
            <a:lvl4pPr marL="1558231" indent="0">
              <a:buNone/>
              <a:defRPr sz="1900" b="1"/>
            </a:lvl4pPr>
            <a:lvl5pPr marL="2077640" indent="0">
              <a:buNone/>
              <a:defRPr sz="1900" b="1"/>
            </a:lvl5pPr>
            <a:lvl6pPr marL="2597051" indent="0">
              <a:buNone/>
              <a:defRPr sz="1900" b="1"/>
            </a:lvl6pPr>
            <a:lvl7pPr marL="3116461" indent="0">
              <a:buNone/>
              <a:defRPr sz="1900" b="1"/>
            </a:lvl7pPr>
            <a:lvl8pPr marL="3635872" indent="0">
              <a:buNone/>
              <a:defRPr sz="1900" b="1"/>
            </a:lvl8pPr>
            <a:lvl9pPr marL="4155282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  <a:prstGeom prst="rect">
            <a:avLst/>
          </a:prstGeom>
        </p:spPr>
        <p:txBody>
          <a:bodyPr lIns="103882" tIns="51942" rIns="103882" bIns="51942"/>
          <a:lstStyle>
            <a:lvl1pPr>
              <a:defRPr sz="2700"/>
            </a:lvl1pPr>
            <a:lvl2pPr>
              <a:defRPr sz="23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7"/>
            <a:ext cx="5389033" cy="639763"/>
          </a:xfrm>
          <a:prstGeom prst="rect">
            <a:avLst/>
          </a:prstGeom>
        </p:spPr>
        <p:txBody>
          <a:bodyPr lIns="103882" tIns="51942" rIns="103882" bIns="51942" anchor="b"/>
          <a:lstStyle>
            <a:lvl1pPr marL="0" indent="0">
              <a:buNone/>
              <a:defRPr sz="2700" b="1"/>
            </a:lvl1pPr>
            <a:lvl2pPr marL="519410" indent="0">
              <a:buNone/>
              <a:defRPr sz="2300" b="1"/>
            </a:lvl2pPr>
            <a:lvl3pPr marL="1038821" indent="0">
              <a:buNone/>
              <a:defRPr sz="2000" b="1"/>
            </a:lvl3pPr>
            <a:lvl4pPr marL="1558231" indent="0">
              <a:buNone/>
              <a:defRPr sz="1900" b="1"/>
            </a:lvl4pPr>
            <a:lvl5pPr marL="2077640" indent="0">
              <a:buNone/>
              <a:defRPr sz="1900" b="1"/>
            </a:lvl5pPr>
            <a:lvl6pPr marL="2597051" indent="0">
              <a:buNone/>
              <a:defRPr sz="1900" b="1"/>
            </a:lvl6pPr>
            <a:lvl7pPr marL="3116461" indent="0">
              <a:buNone/>
              <a:defRPr sz="1900" b="1"/>
            </a:lvl7pPr>
            <a:lvl8pPr marL="3635872" indent="0">
              <a:buNone/>
              <a:defRPr sz="1900" b="1"/>
            </a:lvl8pPr>
            <a:lvl9pPr marL="4155282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  <a:prstGeom prst="rect">
            <a:avLst/>
          </a:prstGeom>
        </p:spPr>
        <p:txBody>
          <a:bodyPr lIns="103882" tIns="51942" rIns="103882" bIns="51942"/>
          <a:lstStyle>
            <a:lvl1pPr>
              <a:defRPr sz="2700"/>
            </a:lvl1pPr>
            <a:lvl2pPr>
              <a:defRPr sz="23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B4B8E09-4620-40C8-A0C9-B1941AB6D71A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103882" tIns="51942" rIns="103882" bIns="51942" numCol="1" anchor="t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AB0B4BAE-6094-4678-A737-FD9BEA3B2313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151125246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9"/>
            <a:ext cx="10972801" cy="1143000"/>
          </a:xfrm>
          <a:prstGeom prst="rect">
            <a:avLst/>
          </a:prstGeom>
        </p:spPr>
        <p:txBody>
          <a:bodyPr lIns="103882" tIns="51942" rIns="103882" bIns="5194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610EDCB-7EFF-4686-8AB5-A2B7EBF6E42E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103882" tIns="51942" rIns="103882" bIns="51942" numCol="1" anchor="t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39E4E35C-BEEA-48FF-BEEF-8CB66FF23D83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93758697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70650"/>
            <a:ext cx="11083925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8938" y="33338"/>
            <a:ext cx="1633537" cy="84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42875"/>
            <a:ext cx="1000125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EE0C3E1-C633-4309-BEAA-048B47839CA6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103882" tIns="51942" rIns="103882" bIns="51942" numCol="1" anchor="t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A9F2383E-222D-441F-931F-608D6CF5D92F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282367794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6"/>
            <a:ext cx="4011084" cy="1162051"/>
          </a:xfrm>
          <a:prstGeom prst="rect">
            <a:avLst/>
          </a:prstGeom>
        </p:spPr>
        <p:txBody>
          <a:bodyPr lIns="103882" tIns="51942" rIns="103882" bIns="51942" anchor="b"/>
          <a:lstStyle>
            <a:lvl1pPr algn="l">
              <a:defRPr sz="23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60"/>
            <a:ext cx="6815667" cy="5853113"/>
          </a:xfrm>
          <a:prstGeom prst="rect">
            <a:avLst/>
          </a:prstGeom>
        </p:spPr>
        <p:txBody>
          <a:bodyPr lIns="103882" tIns="51942" rIns="103882" bIns="51942"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  <a:prstGeom prst="rect">
            <a:avLst/>
          </a:prstGeom>
        </p:spPr>
        <p:txBody>
          <a:bodyPr lIns="103882" tIns="51942" rIns="103882" bIns="51942"/>
          <a:lstStyle>
            <a:lvl1pPr marL="0" indent="0">
              <a:buNone/>
              <a:defRPr sz="1600"/>
            </a:lvl1pPr>
            <a:lvl2pPr marL="519410" indent="0">
              <a:buNone/>
              <a:defRPr sz="1300"/>
            </a:lvl2pPr>
            <a:lvl3pPr marL="1038821" indent="0">
              <a:buNone/>
              <a:defRPr sz="1200"/>
            </a:lvl3pPr>
            <a:lvl4pPr marL="1558231" indent="0">
              <a:buNone/>
              <a:defRPr sz="1100"/>
            </a:lvl4pPr>
            <a:lvl5pPr marL="2077640" indent="0">
              <a:buNone/>
              <a:defRPr sz="1100"/>
            </a:lvl5pPr>
            <a:lvl6pPr marL="2597051" indent="0">
              <a:buNone/>
              <a:defRPr sz="1100"/>
            </a:lvl6pPr>
            <a:lvl7pPr marL="3116461" indent="0">
              <a:buNone/>
              <a:defRPr sz="1100"/>
            </a:lvl7pPr>
            <a:lvl8pPr marL="3635872" indent="0">
              <a:buNone/>
              <a:defRPr sz="1100"/>
            </a:lvl8pPr>
            <a:lvl9pPr marL="4155282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A07D125-806A-4426-B435-EC6203D6A835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103882" tIns="51942" rIns="103882" bIns="51942" numCol="1" anchor="t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01006994-D8B1-41F3-8DFC-8B3DC56252A4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294281657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Off-page Connector 4"/>
          <p:cNvSpPr/>
          <p:nvPr userDrawn="1"/>
        </p:nvSpPr>
        <p:spPr>
          <a:xfrm rot="5400000">
            <a:off x="11730831" y="126207"/>
            <a:ext cx="384175" cy="538162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754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667" dirty="0">
              <a:solidFill>
                <a:srgbClr val="FFFFFF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3050" y="203200"/>
            <a:ext cx="5080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FFFFFF"/>
                </a:solidFill>
                <a:cs typeface="FontAwesome"/>
              </a:defRPr>
            </a:lvl1pPr>
          </a:lstStyle>
          <a:p>
            <a:pPr>
              <a:defRPr/>
            </a:pPr>
            <a:fld id="{E1657A32-9A7D-40B2-B8E6-D7303B2718A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893322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20" y="4800607"/>
            <a:ext cx="7315200" cy="566739"/>
          </a:xfrm>
          <a:prstGeom prst="rect">
            <a:avLst/>
          </a:prstGeom>
        </p:spPr>
        <p:txBody>
          <a:bodyPr lIns="103882" tIns="51942" rIns="103882" bIns="51942" anchor="b"/>
          <a:lstStyle>
            <a:lvl1pPr algn="l">
              <a:defRPr sz="23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20" y="612775"/>
            <a:ext cx="7315200" cy="4114800"/>
          </a:xfrm>
          <a:prstGeom prst="rect">
            <a:avLst/>
          </a:prstGeom>
        </p:spPr>
        <p:txBody>
          <a:bodyPr lIns="103882" tIns="51942" rIns="103882" bIns="51942"/>
          <a:lstStyle>
            <a:lvl1pPr marL="0" indent="0">
              <a:buNone/>
              <a:defRPr sz="3600"/>
            </a:lvl1pPr>
            <a:lvl2pPr marL="519410" indent="0">
              <a:buNone/>
              <a:defRPr sz="3200"/>
            </a:lvl2pPr>
            <a:lvl3pPr marL="1038821" indent="0">
              <a:buNone/>
              <a:defRPr sz="2700"/>
            </a:lvl3pPr>
            <a:lvl4pPr marL="1558231" indent="0">
              <a:buNone/>
              <a:defRPr sz="2300"/>
            </a:lvl4pPr>
            <a:lvl5pPr marL="2077640" indent="0">
              <a:buNone/>
              <a:defRPr sz="2300"/>
            </a:lvl5pPr>
            <a:lvl6pPr marL="2597051" indent="0">
              <a:buNone/>
              <a:defRPr sz="2300"/>
            </a:lvl6pPr>
            <a:lvl7pPr marL="3116461" indent="0">
              <a:buNone/>
              <a:defRPr sz="2300"/>
            </a:lvl7pPr>
            <a:lvl8pPr marL="3635872" indent="0">
              <a:buNone/>
              <a:defRPr sz="2300"/>
            </a:lvl8pPr>
            <a:lvl9pPr marL="4155282" indent="0">
              <a:buNone/>
              <a:defRPr sz="23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20" y="5367345"/>
            <a:ext cx="7315200" cy="804863"/>
          </a:xfrm>
          <a:prstGeom prst="rect">
            <a:avLst/>
          </a:prstGeom>
        </p:spPr>
        <p:txBody>
          <a:bodyPr lIns="103882" tIns="51942" rIns="103882" bIns="51942"/>
          <a:lstStyle>
            <a:lvl1pPr marL="0" indent="0">
              <a:buNone/>
              <a:defRPr sz="1600"/>
            </a:lvl1pPr>
            <a:lvl2pPr marL="519410" indent="0">
              <a:buNone/>
              <a:defRPr sz="1300"/>
            </a:lvl2pPr>
            <a:lvl3pPr marL="1038821" indent="0">
              <a:buNone/>
              <a:defRPr sz="1200"/>
            </a:lvl3pPr>
            <a:lvl4pPr marL="1558231" indent="0">
              <a:buNone/>
              <a:defRPr sz="1100"/>
            </a:lvl4pPr>
            <a:lvl5pPr marL="2077640" indent="0">
              <a:buNone/>
              <a:defRPr sz="1100"/>
            </a:lvl5pPr>
            <a:lvl6pPr marL="2597051" indent="0">
              <a:buNone/>
              <a:defRPr sz="1100"/>
            </a:lvl6pPr>
            <a:lvl7pPr marL="3116461" indent="0">
              <a:buNone/>
              <a:defRPr sz="1100"/>
            </a:lvl7pPr>
            <a:lvl8pPr marL="3635872" indent="0">
              <a:buNone/>
              <a:defRPr sz="1100"/>
            </a:lvl8pPr>
            <a:lvl9pPr marL="4155282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701C4DA-8E6D-47A8-A86F-00D7CDED9472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103882" tIns="51942" rIns="103882" bIns="51942" numCol="1" anchor="t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1060FBB6-541E-4F00-A8D1-6F8D2D052BE4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208008565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9"/>
            <a:ext cx="10972801" cy="1143000"/>
          </a:xfrm>
          <a:prstGeom prst="rect">
            <a:avLst/>
          </a:prstGeom>
        </p:spPr>
        <p:txBody>
          <a:bodyPr lIns="103882" tIns="51942" rIns="103882" bIns="5194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2" y="1600206"/>
            <a:ext cx="10972801" cy="4525963"/>
          </a:xfrm>
          <a:prstGeom prst="rect">
            <a:avLst/>
          </a:prstGeom>
        </p:spPr>
        <p:txBody>
          <a:bodyPr vert="eaVert" lIns="103882" tIns="51942" rIns="103882" bIns="51942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4985D46-8117-4902-B670-6D3423EB81FB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103882" tIns="51942" rIns="103882" bIns="51942" numCol="1" anchor="t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712556D3-7C72-45E5-AF02-C8C3F8DC5F6C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377395444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75800" y="274647"/>
            <a:ext cx="2971800" cy="5851525"/>
          </a:xfrm>
          <a:prstGeom prst="rect">
            <a:avLst/>
          </a:prstGeom>
        </p:spPr>
        <p:txBody>
          <a:bodyPr vert="eaVert" lIns="103882" tIns="51942" rIns="103882" bIns="51942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60401" y="274647"/>
            <a:ext cx="8712200" cy="5851525"/>
          </a:xfrm>
          <a:prstGeom prst="rect">
            <a:avLst/>
          </a:prstGeom>
        </p:spPr>
        <p:txBody>
          <a:bodyPr vert="eaVert" lIns="103882" tIns="51942" rIns="103882" bIns="51942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80475A2-3C6F-402A-8C77-F095FB8C9916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lIns="103882" tIns="51942" rIns="103882" bIns="51942"/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103882" tIns="51942" rIns="103882" bIns="51942" numCol="1" anchor="t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BAE39CFF-A5F7-4DD2-BD73-84115506211D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158601066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/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844800" y="2749200"/>
            <a:ext cx="8839200" cy="838200"/>
          </a:xfrm>
          <a:prstGeom prst="rect">
            <a:avLst/>
          </a:prstGeom>
        </p:spPr>
        <p:txBody>
          <a:bodyPr>
            <a:normAutofit/>
          </a:bodyPr>
          <a:lstStyle>
            <a:lvl1pPr marL="57150" indent="0">
              <a:buFontTx/>
              <a:buNone/>
              <a:defRPr sz="18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844800" y="1330800"/>
            <a:ext cx="8839200" cy="838200"/>
          </a:xfrm>
          <a:prstGeom prst="rect">
            <a:avLst/>
          </a:prstGeom>
        </p:spPr>
        <p:txBody>
          <a:bodyPr>
            <a:normAutofit/>
          </a:bodyPr>
          <a:lstStyle>
            <a:lvl1pPr marL="57150" indent="0">
              <a:buFontTx/>
              <a:buNone/>
              <a:defRPr sz="18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844800" y="2040000"/>
            <a:ext cx="8839200" cy="838200"/>
          </a:xfrm>
          <a:prstGeom prst="rect">
            <a:avLst/>
          </a:prstGeom>
        </p:spPr>
        <p:txBody>
          <a:bodyPr>
            <a:normAutofit/>
          </a:bodyPr>
          <a:lstStyle>
            <a:lvl1pPr marL="57150" indent="0">
              <a:buFontTx/>
              <a:buNone/>
              <a:defRPr sz="18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2844800" y="3388200"/>
            <a:ext cx="8839200" cy="838200"/>
          </a:xfrm>
          <a:prstGeom prst="rect">
            <a:avLst/>
          </a:prstGeom>
        </p:spPr>
        <p:txBody>
          <a:bodyPr>
            <a:normAutofit/>
          </a:bodyPr>
          <a:lstStyle>
            <a:lvl1pPr marL="57150" indent="0">
              <a:buFontTx/>
              <a:buNone/>
              <a:defRPr sz="18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844800" y="4097400"/>
            <a:ext cx="8839200" cy="838200"/>
          </a:xfrm>
          <a:prstGeom prst="rect">
            <a:avLst/>
          </a:prstGeom>
        </p:spPr>
        <p:txBody>
          <a:bodyPr>
            <a:normAutofit/>
          </a:bodyPr>
          <a:lstStyle>
            <a:lvl1pPr marL="57150" indent="0">
              <a:buFontTx/>
              <a:buNone/>
              <a:defRPr sz="18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2844800" y="4876800"/>
            <a:ext cx="8839200" cy="838200"/>
          </a:xfrm>
          <a:prstGeom prst="rect">
            <a:avLst/>
          </a:prstGeom>
        </p:spPr>
        <p:txBody>
          <a:bodyPr>
            <a:normAutofit/>
          </a:bodyPr>
          <a:lstStyle>
            <a:lvl1pPr marL="57150" indent="0">
              <a:buFontTx/>
              <a:buNone/>
              <a:defRPr sz="18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5"/>
          <p:cNvSpPr>
            <a:spLocks noGrp="1"/>
          </p:cNvSpPr>
          <p:nvPr>
            <p:ph type="title"/>
          </p:nvPr>
        </p:nvSpPr>
        <p:spPr>
          <a:xfrm>
            <a:off x="203203" y="762008"/>
            <a:ext cx="10972801" cy="639763"/>
          </a:xfrm>
          <a:prstGeom prst="rect">
            <a:avLst/>
          </a:prstGeom>
        </p:spPr>
        <p:txBody>
          <a:bodyPr/>
          <a:lstStyle>
            <a:lvl1pPr>
              <a:buClr>
                <a:schemeClr val="accent6">
                  <a:lumMod val="50000"/>
                </a:schemeClr>
              </a:buClr>
              <a:defRPr b="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30067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4864100"/>
            <a:ext cx="12192000" cy="1993900"/>
          </a:xfrm>
          <a:prstGeom prst="rect">
            <a:avLst/>
          </a:prstGeom>
          <a:solidFill>
            <a:srgbClr val="49A3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8130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52488" y="715963"/>
            <a:ext cx="91043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8400" y="73025"/>
            <a:ext cx="2032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852488" y="715963"/>
            <a:ext cx="91043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10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8400" y="73025"/>
            <a:ext cx="2032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63" y="133350"/>
            <a:ext cx="1020762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6526213"/>
            <a:ext cx="3397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930275" y="6526213"/>
            <a:ext cx="160178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ddbaccelerator</a:t>
            </a:r>
          </a:p>
        </p:txBody>
      </p:sp>
      <p:pic>
        <p:nvPicPr>
          <p:cNvPr id="16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8588" y="6538913"/>
            <a:ext cx="338137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3097213" y="6538913"/>
            <a:ext cx="16970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@ddbccelerator</a:t>
            </a: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4833938" y="6521450"/>
            <a:ext cx="345916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Email : ddbaccelerator@gmail.com</a:t>
            </a: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8270875" y="6503988"/>
            <a:ext cx="25781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www.ddbaccelerator.com</a:t>
            </a:r>
          </a:p>
        </p:txBody>
      </p:sp>
      <p:sp>
        <p:nvSpPr>
          <p:cNvPr id="9" name="Title Placeholder 21"/>
          <p:cNvSpPr>
            <a:spLocks noGrp="1"/>
          </p:cNvSpPr>
          <p:nvPr>
            <p:ph type="title"/>
          </p:nvPr>
        </p:nvSpPr>
        <p:spPr bwMode="auto">
          <a:xfrm>
            <a:off x="1432562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l">
              <a:defRPr sz="24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812801" y="6584776"/>
            <a:ext cx="10566400" cy="273224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itchFamily="34" charset="0"/>
              <a:buNone/>
              <a:defRPr sz="969" b="0" baseline="0">
                <a:latin typeface="+mj-lt"/>
                <a:cs typeface="Arial" pitchFamily="34" charset="0"/>
              </a:defRPr>
            </a:lvl1pPr>
            <a:lvl2pPr marL="422041" indent="0">
              <a:buFont typeface="Arial" pitchFamily="34" charset="0"/>
              <a:buNone/>
              <a:defRPr sz="1477"/>
            </a:lvl2pPr>
            <a:lvl3pPr marL="844083" indent="0">
              <a:buFont typeface="Arial" pitchFamily="34" charset="0"/>
              <a:buNone/>
              <a:defRPr sz="1292"/>
            </a:lvl3pPr>
            <a:lvl4pPr marL="1266124" indent="0">
              <a:buFont typeface="Arial" pitchFamily="34" charset="0"/>
              <a:buNone/>
              <a:defRPr sz="1108"/>
            </a:lvl4pPr>
            <a:lvl5pPr marL="1688165" indent="0">
              <a:buFont typeface="Arial" pitchFamily="34" charset="0"/>
              <a:buNone/>
              <a:defRPr sz="110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279525" y="1450595"/>
            <a:ext cx="9794875" cy="4297362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Trebuchet MS" panose="020B0603020202020204" pitchFamily="34" charset="0"/>
              </a:defRPr>
            </a:lvl1pPr>
            <a:lvl2pPr>
              <a:defRPr sz="2400">
                <a:latin typeface="Trebuchet MS" panose="020B0603020202020204" pitchFamily="34" charset="0"/>
              </a:defRPr>
            </a:lvl2pPr>
            <a:lvl3pPr>
              <a:defRPr sz="1800">
                <a:latin typeface="Trebuchet MS" panose="020B0603020202020204" pitchFamily="34" charset="0"/>
              </a:defRPr>
            </a:lvl3pPr>
            <a:lvl4pPr>
              <a:defRPr sz="1600">
                <a:latin typeface="Trebuchet MS" panose="020B0603020202020204" pitchFamily="34" charset="0"/>
              </a:defRPr>
            </a:lvl4pPr>
            <a:lvl5pPr>
              <a:defRPr sz="160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26468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3288" y="0"/>
            <a:ext cx="1128712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entagon 3"/>
          <p:cNvSpPr/>
          <p:nvPr/>
        </p:nvSpPr>
        <p:spPr>
          <a:xfrm>
            <a:off x="0" y="134938"/>
            <a:ext cx="10077450" cy="469900"/>
          </a:xfrm>
          <a:prstGeom prst="homePlate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100000">
                <a:srgbClr val="FF0000"/>
              </a:gs>
              <a:gs pos="65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Chevron 4"/>
          <p:cNvSpPr/>
          <p:nvPr/>
        </p:nvSpPr>
        <p:spPr>
          <a:xfrm>
            <a:off x="9831388" y="134938"/>
            <a:ext cx="541337" cy="469900"/>
          </a:xfrm>
          <a:prstGeom prst="chevron">
            <a:avLst>
              <a:gd name="adj" fmla="val 56060"/>
            </a:avLst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11525250" y="6489700"/>
            <a:ext cx="6429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rgbClr val="000000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8C51E070-5E94-4A4D-B50F-CE5918A83903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24177160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7938" y="503238"/>
            <a:ext cx="938213" cy="6000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bg-BG">
              <a:solidFill>
                <a:prstClr val="white"/>
              </a:solidFill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auto">
          <a:xfrm>
            <a:off x="11561763" y="6415088"/>
            <a:ext cx="311150" cy="193675"/>
          </a:xfrm>
          <a:custGeom>
            <a:avLst/>
            <a:gdLst>
              <a:gd name="T0" fmla="*/ 1359455119 w 3900"/>
              <a:gd name="T1" fmla="*/ 258954723 h 2445"/>
              <a:gd name="T2" fmla="*/ 1359455119 w 3900"/>
              <a:gd name="T3" fmla="*/ 0 h 2445"/>
              <a:gd name="T4" fmla="*/ 1980524401 w 3900"/>
              <a:gd name="T5" fmla="*/ 607373434 h 2445"/>
              <a:gd name="T6" fmla="*/ 1359455119 w 3900"/>
              <a:gd name="T7" fmla="*/ 1215242581 h 2445"/>
              <a:gd name="T8" fmla="*/ 1359455119 w 3900"/>
              <a:gd name="T9" fmla="*/ 955792145 h 2445"/>
              <a:gd name="T10" fmla="*/ 0 w 3900"/>
              <a:gd name="T11" fmla="*/ 955792145 h 2445"/>
              <a:gd name="T12" fmla="*/ 711467532 w 3900"/>
              <a:gd name="T13" fmla="*/ 258954723 h 2445"/>
              <a:gd name="T14" fmla="*/ 1359455119 w 3900"/>
              <a:gd name="T15" fmla="*/ 258954723 h 244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900" h="2445">
                <a:moveTo>
                  <a:pt x="2677" y="521"/>
                </a:moveTo>
                <a:lnTo>
                  <a:pt x="2677" y="0"/>
                </a:lnTo>
                <a:lnTo>
                  <a:pt x="3900" y="1222"/>
                </a:lnTo>
                <a:lnTo>
                  <a:pt x="2677" y="2445"/>
                </a:lnTo>
                <a:lnTo>
                  <a:pt x="2677" y="1923"/>
                </a:lnTo>
                <a:lnTo>
                  <a:pt x="0" y="1923"/>
                </a:lnTo>
                <a:lnTo>
                  <a:pt x="1401" y="521"/>
                </a:lnTo>
                <a:lnTo>
                  <a:pt x="2677" y="52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Freeform 3"/>
          <p:cNvSpPr>
            <a:spLocks/>
          </p:cNvSpPr>
          <p:nvPr/>
        </p:nvSpPr>
        <p:spPr bwMode="auto">
          <a:xfrm rot="10800000">
            <a:off x="11306175" y="6415088"/>
            <a:ext cx="311150" cy="193675"/>
          </a:xfrm>
          <a:custGeom>
            <a:avLst/>
            <a:gdLst>
              <a:gd name="T0" fmla="*/ 1359455119 w 3900"/>
              <a:gd name="T1" fmla="*/ 258954723 h 2445"/>
              <a:gd name="T2" fmla="*/ 1359455119 w 3900"/>
              <a:gd name="T3" fmla="*/ 0 h 2445"/>
              <a:gd name="T4" fmla="*/ 1980524401 w 3900"/>
              <a:gd name="T5" fmla="*/ 607373434 h 2445"/>
              <a:gd name="T6" fmla="*/ 1359455119 w 3900"/>
              <a:gd name="T7" fmla="*/ 1215242581 h 2445"/>
              <a:gd name="T8" fmla="*/ 1359455119 w 3900"/>
              <a:gd name="T9" fmla="*/ 955792145 h 2445"/>
              <a:gd name="T10" fmla="*/ 0 w 3900"/>
              <a:gd name="T11" fmla="*/ 955792145 h 2445"/>
              <a:gd name="T12" fmla="*/ 711467532 w 3900"/>
              <a:gd name="T13" fmla="*/ 258954723 h 2445"/>
              <a:gd name="T14" fmla="*/ 1359455119 w 3900"/>
              <a:gd name="T15" fmla="*/ 258954723 h 244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900" h="2445">
                <a:moveTo>
                  <a:pt x="2677" y="521"/>
                </a:moveTo>
                <a:lnTo>
                  <a:pt x="2677" y="0"/>
                </a:lnTo>
                <a:lnTo>
                  <a:pt x="3900" y="1222"/>
                </a:lnTo>
                <a:lnTo>
                  <a:pt x="2677" y="2445"/>
                </a:lnTo>
                <a:lnTo>
                  <a:pt x="2677" y="1923"/>
                </a:lnTo>
                <a:lnTo>
                  <a:pt x="0" y="1923"/>
                </a:lnTo>
                <a:lnTo>
                  <a:pt x="1401" y="521"/>
                </a:lnTo>
                <a:lnTo>
                  <a:pt x="2677" y="52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5293856" y="6372323"/>
            <a:ext cx="217295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id-ID" sz="1300" dirty="0">
                <a:solidFill>
                  <a:srgbClr val="C0504D">
                    <a:alpha val="79000"/>
                  </a:srgbClr>
                </a:solidFill>
                <a:latin typeface="Titillium Lt" panose="00000400000000000000" pitchFamily="50" charset="0"/>
                <a:ea typeface="Open Sans Condensed Light" panose="020B0306030504020204" pitchFamily="34" charset="0"/>
                <a:cs typeface="Open Sans Condensed Light" panose="020B0306030504020204" pitchFamily="34" charset="0"/>
              </a:rPr>
              <a:t>store.indihome.co.id</a:t>
            </a:r>
            <a:endParaRPr lang="bg-BG" sz="1300" dirty="0">
              <a:solidFill>
                <a:srgbClr val="C0504D">
                  <a:alpha val="79000"/>
                </a:srgbClr>
              </a:solidFill>
              <a:latin typeface="Open Sans Condensed Light" panose="020B0306030504020204" pitchFamily="34" charset="0"/>
              <a:ea typeface="Open Sans Condensed Light" panose="020B0306030504020204" pitchFamily="34" charset="0"/>
              <a:cs typeface="Open Sans Condensed Light" panose="020B0306030504020204" pitchFamily="34" charset="0"/>
            </a:endParaRPr>
          </a:p>
        </p:txBody>
      </p:sp>
      <p:sp>
        <p:nvSpPr>
          <p:cNvPr id="8" name="Freeform 5"/>
          <p:cNvSpPr>
            <a:spLocks noEditPoints="1"/>
          </p:cNvSpPr>
          <p:nvPr/>
        </p:nvSpPr>
        <p:spPr bwMode="auto">
          <a:xfrm>
            <a:off x="7421563" y="6405563"/>
            <a:ext cx="204787" cy="203200"/>
          </a:xfrm>
          <a:custGeom>
            <a:avLst/>
            <a:gdLst>
              <a:gd name="T0" fmla="*/ 2147483646 w 1648"/>
              <a:gd name="T1" fmla="*/ 0 h 1648"/>
              <a:gd name="T2" fmla="*/ 383768353 w 1648"/>
              <a:gd name="T3" fmla="*/ 0 h 1648"/>
              <a:gd name="T4" fmla="*/ 0 w 1648"/>
              <a:gd name="T5" fmla="*/ 374909179 h 1648"/>
              <a:gd name="T6" fmla="*/ 0 w 1648"/>
              <a:gd name="T7" fmla="*/ 2147483646 h 1648"/>
              <a:gd name="T8" fmla="*/ 383768353 w 1648"/>
              <a:gd name="T9" fmla="*/ 2147483646 h 1648"/>
              <a:gd name="T10" fmla="*/ 2147483646 w 1648"/>
              <a:gd name="T11" fmla="*/ 2147483646 h 1648"/>
              <a:gd name="T12" fmla="*/ 2147483646 w 1648"/>
              <a:gd name="T13" fmla="*/ 2147483646 h 1648"/>
              <a:gd name="T14" fmla="*/ 2147483646 w 1648"/>
              <a:gd name="T15" fmla="*/ 374909179 h 1648"/>
              <a:gd name="T16" fmla="*/ 2147483646 w 1648"/>
              <a:gd name="T17" fmla="*/ 0 h 1648"/>
              <a:gd name="T18" fmla="*/ 2101113626 w 1648"/>
              <a:gd name="T19" fmla="*/ 830425381 h 1648"/>
              <a:gd name="T20" fmla="*/ 1855500697 w 1648"/>
              <a:gd name="T21" fmla="*/ 830425381 h 1648"/>
              <a:gd name="T22" fmla="*/ 1749973260 w 1648"/>
              <a:gd name="T23" fmla="*/ 952278428 h 1648"/>
              <a:gd name="T24" fmla="*/ 1749973260 w 1648"/>
              <a:gd name="T25" fmla="*/ 1164103578 h 1648"/>
              <a:gd name="T26" fmla="*/ 2101113626 w 1648"/>
              <a:gd name="T27" fmla="*/ 1164103578 h 1648"/>
              <a:gd name="T28" fmla="*/ 2066570980 w 1648"/>
              <a:gd name="T29" fmla="*/ 1535257625 h 1648"/>
              <a:gd name="T30" fmla="*/ 1749973260 w 1648"/>
              <a:gd name="T31" fmla="*/ 1535257625 h 1648"/>
              <a:gd name="T32" fmla="*/ 1749973260 w 1648"/>
              <a:gd name="T33" fmla="*/ 2147483646 h 1648"/>
              <a:gd name="T34" fmla="*/ 1297119491 w 1648"/>
              <a:gd name="T35" fmla="*/ 2147483646 h 1648"/>
              <a:gd name="T36" fmla="*/ 1297119491 w 1648"/>
              <a:gd name="T37" fmla="*/ 1539012756 h 1648"/>
              <a:gd name="T38" fmla="*/ 1061111172 w 1648"/>
              <a:gd name="T39" fmla="*/ 1539012756 h 1648"/>
              <a:gd name="T40" fmla="*/ 1061111172 w 1648"/>
              <a:gd name="T41" fmla="*/ 1164103578 h 1648"/>
              <a:gd name="T42" fmla="*/ 1297119491 w 1648"/>
              <a:gd name="T43" fmla="*/ 1164103578 h 1648"/>
              <a:gd name="T44" fmla="*/ 1297119491 w 1648"/>
              <a:gd name="T45" fmla="*/ 867916274 h 1648"/>
              <a:gd name="T46" fmla="*/ 1786430690 w 1648"/>
              <a:gd name="T47" fmla="*/ 444265851 h 1648"/>
              <a:gd name="T48" fmla="*/ 2101113626 w 1648"/>
              <a:gd name="T49" fmla="*/ 444265851 h 1648"/>
              <a:gd name="T50" fmla="*/ 2101113626 w 1648"/>
              <a:gd name="T51" fmla="*/ 830425381 h 164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648" h="1648">
                <a:moveTo>
                  <a:pt x="1448" y="0"/>
                </a:moveTo>
                <a:cubicBezTo>
                  <a:pt x="200" y="0"/>
                  <a:pt x="200" y="0"/>
                  <a:pt x="200" y="0"/>
                </a:cubicBezTo>
                <a:cubicBezTo>
                  <a:pt x="89" y="0"/>
                  <a:pt x="0" y="90"/>
                  <a:pt x="0" y="200"/>
                </a:cubicBezTo>
                <a:cubicBezTo>
                  <a:pt x="0" y="1448"/>
                  <a:pt x="0" y="1448"/>
                  <a:pt x="0" y="1448"/>
                </a:cubicBezTo>
                <a:cubicBezTo>
                  <a:pt x="0" y="1558"/>
                  <a:pt x="89" y="1648"/>
                  <a:pt x="200" y="1648"/>
                </a:cubicBezTo>
                <a:cubicBezTo>
                  <a:pt x="1448" y="1648"/>
                  <a:pt x="1448" y="1648"/>
                  <a:pt x="1448" y="1648"/>
                </a:cubicBezTo>
                <a:cubicBezTo>
                  <a:pt x="1558" y="1648"/>
                  <a:pt x="1648" y="1558"/>
                  <a:pt x="1648" y="1448"/>
                </a:cubicBezTo>
                <a:cubicBezTo>
                  <a:pt x="1648" y="200"/>
                  <a:pt x="1648" y="200"/>
                  <a:pt x="1648" y="200"/>
                </a:cubicBezTo>
                <a:cubicBezTo>
                  <a:pt x="1648" y="90"/>
                  <a:pt x="1558" y="0"/>
                  <a:pt x="1448" y="0"/>
                </a:cubicBezTo>
                <a:close/>
                <a:moveTo>
                  <a:pt x="1095" y="443"/>
                </a:moveTo>
                <a:cubicBezTo>
                  <a:pt x="1095" y="443"/>
                  <a:pt x="1003" y="443"/>
                  <a:pt x="967" y="443"/>
                </a:cubicBezTo>
                <a:cubicBezTo>
                  <a:pt x="922" y="443"/>
                  <a:pt x="912" y="461"/>
                  <a:pt x="912" y="508"/>
                </a:cubicBezTo>
                <a:cubicBezTo>
                  <a:pt x="912" y="547"/>
                  <a:pt x="912" y="621"/>
                  <a:pt x="912" y="621"/>
                </a:cubicBezTo>
                <a:cubicBezTo>
                  <a:pt x="1095" y="621"/>
                  <a:pt x="1095" y="621"/>
                  <a:pt x="1095" y="621"/>
                </a:cubicBezTo>
                <a:cubicBezTo>
                  <a:pt x="1077" y="819"/>
                  <a:pt x="1077" y="819"/>
                  <a:pt x="1077" y="819"/>
                </a:cubicBezTo>
                <a:cubicBezTo>
                  <a:pt x="912" y="819"/>
                  <a:pt x="912" y="819"/>
                  <a:pt x="912" y="819"/>
                </a:cubicBezTo>
                <a:cubicBezTo>
                  <a:pt x="912" y="1411"/>
                  <a:pt x="912" y="1411"/>
                  <a:pt x="912" y="1411"/>
                </a:cubicBezTo>
                <a:cubicBezTo>
                  <a:pt x="676" y="1411"/>
                  <a:pt x="676" y="1411"/>
                  <a:pt x="676" y="1411"/>
                </a:cubicBezTo>
                <a:cubicBezTo>
                  <a:pt x="676" y="821"/>
                  <a:pt x="676" y="821"/>
                  <a:pt x="676" y="821"/>
                </a:cubicBezTo>
                <a:cubicBezTo>
                  <a:pt x="553" y="821"/>
                  <a:pt x="553" y="821"/>
                  <a:pt x="553" y="821"/>
                </a:cubicBezTo>
                <a:cubicBezTo>
                  <a:pt x="553" y="621"/>
                  <a:pt x="553" y="621"/>
                  <a:pt x="553" y="621"/>
                </a:cubicBezTo>
                <a:cubicBezTo>
                  <a:pt x="676" y="621"/>
                  <a:pt x="676" y="621"/>
                  <a:pt x="676" y="621"/>
                </a:cubicBezTo>
                <a:cubicBezTo>
                  <a:pt x="676" y="621"/>
                  <a:pt x="676" y="592"/>
                  <a:pt x="676" y="463"/>
                </a:cubicBezTo>
                <a:cubicBezTo>
                  <a:pt x="676" y="314"/>
                  <a:pt x="755" y="237"/>
                  <a:pt x="931" y="237"/>
                </a:cubicBezTo>
                <a:cubicBezTo>
                  <a:pt x="960" y="237"/>
                  <a:pt x="1095" y="237"/>
                  <a:pt x="1095" y="237"/>
                </a:cubicBezTo>
                <a:lnTo>
                  <a:pt x="1095" y="44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>
            <a:spLocks noEditPoints="1"/>
          </p:cNvSpPr>
          <p:nvPr/>
        </p:nvSpPr>
        <p:spPr bwMode="auto">
          <a:xfrm>
            <a:off x="7170738" y="6405563"/>
            <a:ext cx="203200" cy="203200"/>
          </a:xfrm>
          <a:custGeom>
            <a:avLst/>
            <a:gdLst>
              <a:gd name="T0" fmla="*/ 2147483646 w 1648"/>
              <a:gd name="T1" fmla="*/ 0 h 1648"/>
              <a:gd name="T2" fmla="*/ 374909179 w 1648"/>
              <a:gd name="T3" fmla="*/ 0 h 1648"/>
              <a:gd name="T4" fmla="*/ 0 w 1648"/>
              <a:gd name="T5" fmla="*/ 374909179 h 1648"/>
              <a:gd name="T6" fmla="*/ 0 w 1648"/>
              <a:gd name="T7" fmla="*/ 2147483646 h 1648"/>
              <a:gd name="T8" fmla="*/ 374909179 w 1648"/>
              <a:gd name="T9" fmla="*/ 2147483646 h 1648"/>
              <a:gd name="T10" fmla="*/ 2147483646 w 1648"/>
              <a:gd name="T11" fmla="*/ 2147483646 h 1648"/>
              <a:gd name="T12" fmla="*/ 2147483646 w 1648"/>
              <a:gd name="T13" fmla="*/ 2147483646 h 1648"/>
              <a:gd name="T14" fmla="*/ 2147483646 w 1648"/>
              <a:gd name="T15" fmla="*/ 374909179 h 1648"/>
              <a:gd name="T16" fmla="*/ 2147483646 w 1648"/>
              <a:gd name="T17" fmla="*/ 0 h 1648"/>
              <a:gd name="T18" fmla="*/ 2147483646 w 1648"/>
              <a:gd name="T19" fmla="*/ 1177223911 h 1648"/>
              <a:gd name="T20" fmla="*/ 1216584786 w 1648"/>
              <a:gd name="T21" fmla="*/ 2147483646 h 1648"/>
              <a:gd name="T22" fmla="*/ 569858864 w 1648"/>
              <a:gd name="T23" fmla="*/ 2147483646 h 1648"/>
              <a:gd name="T24" fmla="*/ 1194099375 w 1648"/>
              <a:gd name="T25" fmla="*/ 2067640762 h 1648"/>
              <a:gd name="T26" fmla="*/ 800444750 w 1648"/>
              <a:gd name="T27" fmla="*/ 1775208589 h 1648"/>
              <a:gd name="T28" fmla="*/ 989769321 w 1648"/>
              <a:gd name="T29" fmla="*/ 1767713493 h 1648"/>
              <a:gd name="T30" fmla="*/ 652351036 w 1648"/>
              <a:gd name="T31" fmla="*/ 1349688184 h 1648"/>
              <a:gd name="T32" fmla="*/ 843545590 w 1648"/>
              <a:gd name="T33" fmla="*/ 1402169393 h 1648"/>
              <a:gd name="T34" fmla="*/ 712327464 w 1648"/>
              <a:gd name="T35" fmla="*/ 839805625 h 1648"/>
              <a:gd name="T36" fmla="*/ 1582128886 w 1648"/>
              <a:gd name="T37" fmla="*/ 1280331512 h 1648"/>
              <a:gd name="T38" fmla="*/ 1992658976 w 1648"/>
              <a:gd name="T39" fmla="*/ 762938690 h 1648"/>
              <a:gd name="T40" fmla="*/ 2147483646 w 1648"/>
              <a:gd name="T41" fmla="*/ 896042088 h 1648"/>
              <a:gd name="T42" fmla="*/ 2147483646 w 1648"/>
              <a:gd name="T43" fmla="*/ 792934364 h 1648"/>
              <a:gd name="T44" fmla="*/ 2147483646 w 1648"/>
              <a:gd name="T45" fmla="*/ 1027260215 h 1648"/>
              <a:gd name="T46" fmla="*/ 2147483646 w 1648"/>
              <a:gd name="T47" fmla="*/ 959773524 h 1648"/>
              <a:gd name="T48" fmla="*/ 2147483646 w 1648"/>
              <a:gd name="T49" fmla="*/ 1177223911 h 164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648" h="1648">
                <a:moveTo>
                  <a:pt x="1448" y="0"/>
                </a:moveTo>
                <a:cubicBezTo>
                  <a:pt x="200" y="0"/>
                  <a:pt x="200" y="0"/>
                  <a:pt x="200" y="0"/>
                </a:cubicBezTo>
                <a:cubicBezTo>
                  <a:pt x="90" y="0"/>
                  <a:pt x="0" y="90"/>
                  <a:pt x="0" y="200"/>
                </a:cubicBezTo>
                <a:cubicBezTo>
                  <a:pt x="0" y="1448"/>
                  <a:pt x="0" y="1448"/>
                  <a:pt x="0" y="1448"/>
                </a:cubicBezTo>
                <a:cubicBezTo>
                  <a:pt x="0" y="1558"/>
                  <a:pt x="90" y="1648"/>
                  <a:pt x="200" y="1648"/>
                </a:cubicBezTo>
                <a:cubicBezTo>
                  <a:pt x="1448" y="1648"/>
                  <a:pt x="1448" y="1648"/>
                  <a:pt x="1448" y="1648"/>
                </a:cubicBezTo>
                <a:cubicBezTo>
                  <a:pt x="1558" y="1648"/>
                  <a:pt x="1648" y="1558"/>
                  <a:pt x="1648" y="1448"/>
                </a:cubicBezTo>
                <a:cubicBezTo>
                  <a:pt x="1648" y="200"/>
                  <a:pt x="1648" y="200"/>
                  <a:pt x="1648" y="200"/>
                </a:cubicBezTo>
                <a:cubicBezTo>
                  <a:pt x="1648" y="90"/>
                  <a:pt x="1558" y="0"/>
                  <a:pt x="1448" y="0"/>
                </a:cubicBezTo>
                <a:close/>
                <a:moveTo>
                  <a:pt x="1288" y="628"/>
                </a:moveTo>
                <a:cubicBezTo>
                  <a:pt x="1302" y="945"/>
                  <a:pt x="1066" y="1297"/>
                  <a:pt x="649" y="1297"/>
                </a:cubicBezTo>
                <a:cubicBezTo>
                  <a:pt x="522" y="1297"/>
                  <a:pt x="404" y="1260"/>
                  <a:pt x="304" y="1196"/>
                </a:cubicBezTo>
                <a:cubicBezTo>
                  <a:pt x="423" y="1210"/>
                  <a:pt x="542" y="1177"/>
                  <a:pt x="637" y="1103"/>
                </a:cubicBezTo>
                <a:cubicBezTo>
                  <a:pt x="539" y="1101"/>
                  <a:pt x="455" y="1036"/>
                  <a:pt x="427" y="947"/>
                </a:cubicBezTo>
                <a:cubicBezTo>
                  <a:pt x="462" y="954"/>
                  <a:pt x="497" y="952"/>
                  <a:pt x="528" y="943"/>
                </a:cubicBezTo>
                <a:cubicBezTo>
                  <a:pt x="420" y="921"/>
                  <a:pt x="346" y="824"/>
                  <a:pt x="348" y="720"/>
                </a:cubicBezTo>
                <a:cubicBezTo>
                  <a:pt x="378" y="737"/>
                  <a:pt x="413" y="747"/>
                  <a:pt x="450" y="748"/>
                </a:cubicBezTo>
                <a:cubicBezTo>
                  <a:pt x="350" y="681"/>
                  <a:pt x="321" y="549"/>
                  <a:pt x="380" y="448"/>
                </a:cubicBezTo>
                <a:cubicBezTo>
                  <a:pt x="491" y="584"/>
                  <a:pt x="657" y="673"/>
                  <a:pt x="844" y="683"/>
                </a:cubicBezTo>
                <a:cubicBezTo>
                  <a:pt x="811" y="542"/>
                  <a:pt x="918" y="407"/>
                  <a:pt x="1063" y="407"/>
                </a:cubicBezTo>
                <a:cubicBezTo>
                  <a:pt x="1127" y="407"/>
                  <a:pt x="1186" y="434"/>
                  <a:pt x="1227" y="478"/>
                </a:cubicBezTo>
                <a:cubicBezTo>
                  <a:pt x="1278" y="468"/>
                  <a:pt x="1326" y="449"/>
                  <a:pt x="1370" y="423"/>
                </a:cubicBezTo>
                <a:cubicBezTo>
                  <a:pt x="1353" y="476"/>
                  <a:pt x="1317" y="520"/>
                  <a:pt x="1271" y="548"/>
                </a:cubicBezTo>
                <a:cubicBezTo>
                  <a:pt x="1316" y="542"/>
                  <a:pt x="1360" y="530"/>
                  <a:pt x="1400" y="512"/>
                </a:cubicBezTo>
                <a:cubicBezTo>
                  <a:pt x="1370" y="557"/>
                  <a:pt x="1332" y="597"/>
                  <a:pt x="1288" y="62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3"/>
          <p:cNvSpPr>
            <a:spLocks noEditPoints="1"/>
          </p:cNvSpPr>
          <p:nvPr/>
        </p:nvSpPr>
        <p:spPr bwMode="auto">
          <a:xfrm>
            <a:off x="6919913" y="6405563"/>
            <a:ext cx="204787" cy="203200"/>
          </a:xfrm>
          <a:custGeom>
            <a:avLst/>
            <a:gdLst>
              <a:gd name="T0" fmla="*/ 2147483646 w 1648"/>
              <a:gd name="T1" fmla="*/ 0 h 1648"/>
              <a:gd name="T2" fmla="*/ 383768353 w 1648"/>
              <a:gd name="T3" fmla="*/ 0 h 1648"/>
              <a:gd name="T4" fmla="*/ 0 w 1648"/>
              <a:gd name="T5" fmla="*/ 374909179 h 1648"/>
              <a:gd name="T6" fmla="*/ 0 w 1648"/>
              <a:gd name="T7" fmla="*/ 2147483646 h 1648"/>
              <a:gd name="T8" fmla="*/ 383768353 w 1648"/>
              <a:gd name="T9" fmla="*/ 2147483646 h 1648"/>
              <a:gd name="T10" fmla="*/ 2147483646 w 1648"/>
              <a:gd name="T11" fmla="*/ 2147483646 h 1648"/>
              <a:gd name="T12" fmla="*/ 2147483646 w 1648"/>
              <a:gd name="T13" fmla="*/ 2147483646 h 1648"/>
              <a:gd name="T14" fmla="*/ 2147483646 w 1648"/>
              <a:gd name="T15" fmla="*/ 374909179 h 1648"/>
              <a:gd name="T16" fmla="*/ 2147483646 w 1648"/>
              <a:gd name="T17" fmla="*/ 0 h 1648"/>
              <a:gd name="T18" fmla="*/ 1005459808 w 1648"/>
              <a:gd name="T19" fmla="*/ 2147483646 h 1648"/>
              <a:gd name="T20" fmla="*/ 571815382 w 1648"/>
              <a:gd name="T21" fmla="*/ 2147483646 h 1648"/>
              <a:gd name="T22" fmla="*/ 571815382 w 1648"/>
              <a:gd name="T23" fmla="*/ 1201594594 h 1648"/>
              <a:gd name="T24" fmla="*/ 1005459808 w 1648"/>
              <a:gd name="T25" fmla="*/ 1201594594 h 1648"/>
              <a:gd name="T26" fmla="*/ 1005459808 w 1648"/>
              <a:gd name="T27" fmla="*/ 2147483646 h 1648"/>
              <a:gd name="T28" fmla="*/ 786715107 w 1648"/>
              <a:gd name="T29" fmla="*/ 1023505083 h 1648"/>
              <a:gd name="T30" fmla="*/ 529598194 w 1648"/>
              <a:gd name="T31" fmla="*/ 770448952 h 1648"/>
              <a:gd name="T32" fmla="*/ 786715107 w 1648"/>
              <a:gd name="T33" fmla="*/ 517377655 h 1648"/>
              <a:gd name="T34" fmla="*/ 1043847429 w 1648"/>
              <a:gd name="T35" fmla="*/ 770448952 h 1648"/>
              <a:gd name="T36" fmla="*/ 786715107 w 1648"/>
              <a:gd name="T37" fmla="*/ 1023505083 h 1648"/>
              <a:gd name="T38" fmla="*/ 2147483646 w 1648"/>
              <a:gd name="T39" fmla="*/ 2147483646 h 1648"/>
              <a:gd name="T40" fmla="*/ 2147483646 w 1648"/>
              <a:gd name="T41" fmla="*/ 2147483646 h 1648"/>
              <a:gd name="T42" fmla="*/ 2147483646 w 1648"/>
              <a:gd name="T43" fmla="*/ 1852060482 h 1648"/>
              <a:gd name="T44" fmla="*/ 1962958326 w 1648"/>
              <a:gd name="T45" fmla="*/ 1546507976 h 1648"/>
              <a:gd name="T46" fmla="*/ 1698166871 w 1648"/>
              <a:gd name="T47" fmla="*/ 1852060482 h 1648"/>
              <a:gd name="T48" fmla="*/ 1698166871 w 1648"/>
              <a:gd name="T49" fmla="*/ 2147483646 h 1648"/>
              <a:gd name="T50" fmla="*/ 1283700724 w 1648"/>
              <a:gd name="T51" fmla="*/ 2147483646 h 1648"/>
              <a:gd name="T52" fmla="*/ 1283700724 w 1648"/>
              <a:gd name="T53" fmla="*/ 1201594594 h 1648"/>
              <a:gd name="T54" fmla="*/ 1698166871 w 1648"/>
              <a:gd name="T55" fmla="*/ 1201594594 h 1648"/>
              <a:gd name="T56" fmla="*/ 1698166871 w 1648"/>
              <a:gd name="T57" fmla="*/ 1387179078 h 1648"/>
              <a:gd name="T58" fmla="*/ 2122222220 w 1648"/>
              <a:gd name="T59" fmla="*/ 1160348447 h 1648"/>
              <a:gd name="T60" fmla="*/ 2147483646 w 1648"/>
              <a:gd name="T61" fmla="*/ 1703981934 h 1648"/>
              <a:gd name="T62" fmla="*/ 2147483646 w 1648"/>
              <a:gd name="T63" fmla="*/ 2147483646 h 164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648" h="1648">
                <a:moveTo>
                  <a:pt x="1448" y="0"/>
                </a:moveTo>
                <a:cubicBezTo>
                  <a:pt x="200" y="0"/>
                  <a:pt x="200" y="0"/>
                  <a:pt x="200" y="0"/>
                </a:cubicBezTo>
                <a:cubicBezTo>
                  <a:pt x="89" y="0"/>
                  <a:pt x="0" y="90"/>
                  <a:pt x="0" y="200"/>
                </a:cubicBezTo>
                <a:cubicBezTo>
                  <a:pt x="0" y="1448"/>
                  <a:pt x="0" y="1448"/>
                  <a:pt x="0" y="1448"/>
                </a:cubicBezTo>
                <a:cubicBezTo>
                  <a:pt x="0" y="1558"/>
                  <a:pt x="89" y="1648"/>
                  <a:pt x="200" y="1648"/>
                </a:cubicBezTo>
                <a:cubicBezTo>
                  <a:pt x="1448" y="1648"/>
                  <a:pt x="1448" y="1648"/>
                  <a:pt x="1448" y="1648"/>
                </a:cubicBezTo>
                <a:cubicBezTo>
                  <a:pt x="1558" y="1648"/>
                  <a:pt x="1648" y="1558"/>
                  <a:pt x="1648" y="1448"/>
                </a:cubicBezTo>
                <a:cubicBezTo>
                  <a:pt x="1648" y="200"/>
                  <a:pt x="1648" y="200"/>
                  <a:pt x="1648" y="200"/>
                </a:cubicBezTo>
                <a:cubicBezTo>
                  <a:pt x="1648" y="90"/>
                  <a:pt x="1558" y="0"/>
                  <a:pt x="1448" y="0"/>
                </a:cubicBezTo>
                <a:close/>
                <a:moveTo>
                  <a:pt x="524" y="1372"/>
                </a:moveTo>
                <a:cubicBezTo>
                  <a:pt x="298" y="1372"/>
                  <a:pt x="298" y="1372"/>
                  <a:pt x="298" y="1372"/>
                </a:cubicBezTo>
                <a:cubicBezTo>
                  <a:pt x="298" y="641"/>
                  <a:pt x="298" y="641"/>
                  <a:pt x="298" y="641"/>
                </a:cubicBezTo>
                <a:cubicBezTo>
                  <a:pt x="524" y="641"/>
                  <a:pt x="524" y="641"/>
                  <a:pt x="524" y="641"/>
                </a:cubicBezTo>
                <a:lnTo>
                  <a:pt x="524" y="1372"/>
                </a:lnTo>
                <a:close/>
                <a:moveTo>
                  <a:pt x="410" y="546"/>
                </a:moveTo>
                <a:cubicBezTo>
                  <a:pt x="336" y="546"/>
                  <a:pt x="276" y="485"/>
                  <a:pt x="276" y="411"/>
                </a:cubicBezTo>
                <a:cubicBezTo>
                  <a:pt x="276" y="336"/>
                  <a:pt x="336" y="276"/>
                  <a:pt x="410" y="276"/>
                </a:cubicBezTo>
                <a:cubicBezTo>
                  <a:pt x="484" y="276"/>
                  <a:pt x="544" y="336"/>
                  <a:pt x="544" y="411"/>
                </a:cubicBezTo>
                <a:cubicBezTo>
                  <a:pt x="544" y="485"/>
                  <a:pt x="484" y="546"/>
                  <a:pt x="410" y="546"/>
                </a:cubicBezTo>
                <a:close/>
                <a:moveTo>
                  <a:pt x="1371" y="1372"/>
                </a:moveTo>
                <a:cubicBezTo>
                  <a:pt x="1146" y="1372"/>
                  <a:pt x="1146" y="1372"/>
                  <a:pt x="1146" y="1372"/>
                </a:cubicBezTo>
                <a:cubicBezTo>
                  <a:pt x="1146" y="1372"/>
                  <a:pt x="1146" y="1094"/>
                  <a:pt x="1146" y="988"/>
                </a:cubicBezTo>
                <a:cubicBezTo>
                  <a:pt x="1146" y="883"/>
                  <a:pt x="1106" y="825"/>
                  <a:pt x="1023" y="825"/>
                </a:cubicBezTo>
                <a:cubicBezTo>
                  <a:pt x="933" y="825"/>
                  <a:pt x="885" y="886"/>
                  <a:pt x="885" y="988"/>
                </a:cubicBezTo>
                <a:cubicBezTo>
                  <a:pt x="885" y="1101"/>
                  <a:pt x="885" y="1372"/>
                  <a:pt x="885" y="1372"/>
                </a:cubicBezTo>
                <a:cubicBezTo>
                  <a:pt x="669" y="1372"/>
                  <a:pt x="669" y="1372"/>
                  <a:pt x="669" y="1372"/>
                </a:cubicBezTo>
                <a:cubicBezTo>
                  <a:pt x="669" y="641"/>
                  <a:pt x="669" y="641"/>
                  <a:pt x="669" y="641"/>
                </a:cubicBezTo>
                <a:cubicBezTo>
                  <a:pt x="885" y="641"/>
                  <a:pt x="885" y="641"/>
                  <a:pt x="885" y="641"/>
                </a:cubicBezTo>
                <a:cubicBezTo>
                  <a:pt x="885" y="740"/>
                  <a:pt x="885" y="740"/>
                  <a:pt x="885" y="740"/>
                </a:cubicBezTo>
                <a:cubicBezTo>
                  <a:pt x="885" y="740"/>
                  <a:pt x="951" y="619"/>
                  <a:pt x="1106" y="619"/>
                </a:cubicBezTo>
                <a:cubicBezTo>
                  <a:pt x="1261" y="619"/>
                  <a:pt x="1371" y="714"/>
                  <a:pt x="1371" y="909"/>
                </a:cubicBezTo>
                <a:cubicBezTo>
                  <a:pt x="1371" y="1105"/>
                  <a:pt x="1371" y="1372"/>
                  <a:pt x="1371" y="137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11" name="Group 34"/>
          <p:cNvGrpSpPr/>
          <p:nvPr/>
        </p:nvGrpSpPr>
        <p:grpSpPr>
          <a:xfrm>
            <a:off x="6559130" y="6489121"/>
            <a:ext cx="179076" cy="47456"/>
            <a:chOff x="1818409" y="5694218"/>
            <a:chExt cx="179076" cy="47456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12" name="Oval 11"/>
            <p:cNvSpPr/>
            <p:nvPr/>
          </p:nvSpPr>
          <p:spPr>
            <a:xfrm>
              <a:off x="1818409" y="5694218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bg-BG">
                <a:solidFill>
                  <a:prstClr val="white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1887684" y="5694218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bg-BG">
                <a:solidFill>
                  <a:prstClr val="white"/>
                </a:solidFill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1951766" y="5695955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bg-BG">
                <a:solidFill>
                  <a:prstClr val="white"/>
                </a:solidFill>
              </a:endParaRPr>
            </a:p>
          </p:txBody>
        </p:sp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email">
            <a:extLst/>
          </a:blip>
          <a:stretch>
            <a:fillRect/>
          </a:stretch>
        </p:blipFill>
        <p:spPr>
          <a:xfrm>
            <a:off x="215089" y="6359103"/>
            <a:ext cx="1586818" cy="39829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3930" y="150815"/>
            <a:ext cx="9144001" cy="900747"/>
          </a:xfrm>
          <a:prstGeom prst="rect">
            <a:avLst/>
          </a:prstGeom>
        </p:spPr>
        <p:txBody>
          <a:bodyPr anchor="b"/>
          <a:lstStyle>
            <a:lvl1pPr algn="l">
              <a:defRPr sz="4000" baseline="0">
                <a:latin typeface="Open Sans Condensed Light" panose="020B0306030504020204" pitchFamily="34" charset="0"/>
                <a:ea typeface="Open Sans Condensed Light" panose="020B0306030504020204" pitchFamily="34" charset="0"/>
                <a:cs typeface="Open Sans Condensed Light" panose="020B03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bg-BG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6790" y="914400"/>
            <a:ext cx="9144001" cy="44577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accent2"/>
                </a:solidFill>
                <a:latin typeface="Myriad Pro Light" panose="020B04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bg-BG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138" y="552450"/>
            <a:ext cx="730250" cy="4651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2800">
                <a:solidFill>
                  <a:srgbClr val="000000"/>
                </a:solidFill>
                <a:latin typeface="Calibri" panose="020F0502020204030204" pitchFamily="34" charset="0"/>
                <a:ea typeface="Open Sans Condensed Light"/>
                <a:cs typeface="Open Sans Condensed Light"/>
              </a:defRPr>
            </a:lvl1pPr>
          </a:lstStyle>
          <a:p>
            <a:pPr>
              <a:defRPr/>
            </a:pPr>
            <a:fld id="{CD4DB013-3BC2-43A9-B57C-5B4C5ADBD09E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12908302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 Text 1 Column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355975" y="6070600"/>
            <a:ext cx="54800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99" tIns="60949" rIns="121899" bIns="6094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>
              <a:defRPr/>
            </a:pPr>
            <a:r>
              <a:rPr lang="id-ID" altLang="en-US" sz="1400">
                <a:solidFill>
                  <a:srgbClr val="000000"/>
                </a:solidFill>
                <a:latin typeface="Candara" panose="020E0502030303020204" pitchFamily="34" charset="0"/>
              </a:rPr>
              <a:t>DIVISI DIGITAL BUSINESS</a:t>
            </a:r>
            <a:endParaRPr lang="en-US" altLang="en-US" sz="1400">
              <a:solidFill>
                <a:srgbClr val="000000"/>
              </a:solidFill>
              <a:latin typeface="Candara" panose="020E0502030303020204" pitchFamily="34" charset="0"/>
            </a:endParaRPr>
          </a:p>
          <a:p>
            <a:pPr algn="ctr">
              <a:defRPr/>
            </a:pPr>
            <a:r>
              <a:rPr lang="id-ID" altLang="en-US" sz="1200">
                <a:solidFill>
                  <a:srgbClr val="000000"/>
                </a:solidFill>
                <a:latin typeface="Calibri Light" panose="020F0302020204030204" pitchFamily="34" charset="0"/>
              </a:rPr>
              <a:t>ddbaccelerator.com</a:t>
            </a:r>
            <a:r>
              <a:rPr lang="en-US" altLang="en-US" sz="1200">
                <a:solidFill>
                  <a:srgbClr val="000000"/>
                </a:solidFill>
                <a:latin typeface="Calibri Light" panose="020F0302020204030204" pitchFamily="34" charset="0"/>
              </a:rPr>
              <a:t> | e</a:t>
            </a:r>
            <a:r>
              <a:rPr lang="ru-RU" altLang="en-US" sz="1200">
                <a:solidFill>
                  <a:srgbClr val="000000"/>
                </a:solidFill>
                <a:latin typeface="Calibri Light" panose="020F0302020204030204" pitchFamily="34" charset="0"/>
              </a:rPr>
              <a:t>:</a:t>
            </a:r>
            <a:r>
              <a:rPr lang="en-US" altLang="en-US" sz="1200">
                <a:solidFill>
                  <a:srgbClr val="000000"/>
                </a:solidFill>
                <a:latin typeface="Calibri Light" panose="020F0302020204030204" pitchFamily="34" charset="0"/>
              </a:rPr>
              <a:t> </a:t>
            </a:r>
            <a:r>
              <a:rPr lang="id-ID" altLang="en-US" sz="1200">
                <a:solidFill>
                  <a:srgbClr val="000000"/>
                </a:solidFill>
                <a:latin typeface="Calibri Light" panose="020F0302020204030204" pitchFamily="34" charset="0"/>
              </a:rPr>
              <a:t>ddb@telkom.co.id | t: @ddbaccelerator | f: ddbaccelerator</a:t>
            </a:r>
            <a:endParaRPr lang="en-US" altLang="en-US" sz="1200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6" name="Group 20"/>
          <p:cNvGrpSpPr>
            <a:grpSpLocks/>
          </p:cNvGrpSpPr>
          <p:nvPr/>
        </p:nvGrpSpPr>
        <p:grpSpPr bwMode="auto">
          <a:xfrm>
            <a:off x="11210925" y="6130925"/>
            <a:ext cx="427038" cy="425450"/>
            <a:chOff x="8434574" y="6185274"/>
            <a:chExt cx="396000" cy="396000"/>
          </a:xfrm>
        </p:grpSpPr>
        <p:sp>
          <p:nvSpPr>
            <p:cNvPr id="7" name="Oval 6">
              <a:hlinkClick r:id="" action="ppaction://hlinkshowjump?jump=nextslide"/>
            </p:cNvPr>
            <p:cNvSpPr/>
            <p:nvPr userDrawn="1"/>
          </p:nvSpPr>
          <p:spPr>
            <a:xfrm>
              <a:off x="8434574" y="6185274"/>
              <a:ext cx="396000" cy="39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L-Shape 7">
              <a:hlinkClick r:id="" action="ppaction://hlinkshowjump?jump=nextslide"/>
            </p:cNvPr>
            <p:cNvSpPr/>
            <p:nvPr userDrawn="1"/>
          </p:nvSpPr>
          <p:spPr>
            <a:xfrm rot="13500000">
              <a:off x="8546186" y="6311141"/>
              <a:ext cx="144806" cy="144267"/>
            </a:xfrm>
            <a:prstGeom prst="corner">
              <a:avLst>
                <a:gd name="adj1" fmla="val 26188"/>
                <a:gd name="adj2" fmla="val 2883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9" name="Group 23"/>
          <p:cNvGrpSpPr>
            <a:grpSpLocks/>
          </p:cNvGrpSpPr>
          <p:nvPr/>
        </p:nvGrpSpPr>
        <p:grpSpPr bwMode="auto">
          <a:xfrm>
            <a:off x="10668000" y="6130925"/>
            <a:ext cx="425450" cy="425450"/>
            <a:chOff x="7909800" y="6172200"/>
            <a:chExt cx="396000" cy="396000"/>
          </a:xfrm>
        </p:grpSpPr>
        <p:sp>
          <p:nvSpPr>
            <p:cNvPr id="11" name="Oval 10">
              <a:hlinkClick r:id="" action="ppaction://hlinkshowjump?jump=previousslide"/>
            </p:cNvPr>
            <p:cNvSpPr/>
            <p:nvPr userDrawn="1"/>
          </p:nvSpPr>
          <p:spPr>
            <a:xfrm>
              <a:off x="7909800" y="6172200"/>
              <a:ext cx="396000" cy="39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" name="L-Shape 11">
              <a:hlinkClick r:id="" action="ppaction://hlinkshowjump?jump=previousslide"/>
            </p:cNvPr>
            <p:cNvSpPr/>
            <p:nvPr userDrawn="1"/>
          </p:nvSpPr>
          <p:spPr>
            <a:xfrm rot="2700000">
              <a:off x="8042785" y="6297797"/>
              <a:ext cx="144806" cy="144806"/>
            </a:xfrm>
            <a:prstGeom prst="corner">
              <a:avLst>
                <a:gd name="adj1" fmla="val 26188"/>
                <a:gd name="adj2" fmla="val 2883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3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0700" y="6015038"/>
            <a:ext cx="604838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663" y="6016625"/>
            <a:ext cx="1136650" cy="61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09600" y="2149419"/>
            <a:ext cx="10972801" cy="3489383"/>
          </a:xfrm>
          <a:prstGeom prst="rect">
            <a:avLst/>
          </a:prstGeom>
        </p:spPr>
        <p:txBody>
          <a:bodyPr wrap="square" lIns="121899" tIns="0" rIns="121899" bIns="0" numCol="1" spcCol="479916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None/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609600"/>
          </a:xfrm>
          <a:prstGeom prst="rect">
            <a:avLst/>
          </a:prstGeom>
        </p:spPr>
        <p:txBody>
          <a:bodyPr lIns="121899" tIns="60949" rIns="121899" bIns="60949">
            <a:noAutofit/>
          </a:bodyPr>
          <a:lstStyle>
            <a:lvl1pPr algn="ctr">
              <a:lnSpc>
                <a:spcPct val="100000"/>
              </a:lnSpc>
              <a:defRPr sz="4300" b="0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0" y="916715"/>
            <a:ext cx="10972801" cy="466725"/>
          </a:xfrm>
          <a:prstGeom prst="rect">
            <a:avLst/>
          </a:prstGeom>
        </p:spPr>
        <p:txBody>
          <a:bodyPr lIns="121899" tIns="60949" rIns="121899" bIns="60949">
            <a:noAutofit/>
          </a:bodyPr>
          <a:lstStyle>
            <a:lvl1pPr marL="0" indent="0" algn="ctr">
              <a:spcBef>
                <a:spcPts val="0"/>
              </a:spcBef>
              <a:buNone/>
              <a:defRPr sz="2700" b="0" spc="0">
                <a:solidFill>
                  <a:schemeClr val="tx1"/>
                </a:solidFill>
                <a:latin typeface="Calibri Light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9905683"/>
      </p:ext>
    </p:extLst>
  </p:cSld>
  <p:clrMapOvr>
    <a:masterClrMapping/>
  </p:clrMapOvr>
  <p:transition spd="med"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0088" y="73025"/>
            <a:ext cx="132238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808038" y="684213"/>
            <a:ext cx="10139362" cy="50800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914195">
              <a:defRPr/>
            </a:pPr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7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75" y="4763"/>
            <a:ext cx="692150" cy="69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8851900" y="6548438"/>
            <a:ext cx="2578100" cy="3698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1420" tIns="45711" rIns="91420" bIns="45711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195">
              <a:defRPr/>
            </a:pPr>
            <a:r>
              <a:rPr lang="en-US" altLang="id-ID" dirty="0">
                <a:solidFill>
                  <a:prstClr val="white"/>
                </a:solidFill>
                <a:ea typeface="+mn-ea"/>
                <a:cs typeface="+mn-cs"/>
              </a:rPr>
              <a:t>www.ddbaccelerator.com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279525" y="1450594"/>
            <a:ext cx="9794875" cy="4297363"/>
          </a:xfrm>
          <a:prstGeom prst="rect">
            <a:avLst/>
          </a:prstGeom>
        </p:spPr>
        <p:txBody>
          <a:bodyPr lIns="121899" tIns="60949" rIns="121899" bIns="60949"/>
          <a:lstStyle>
            <a:lvl1pPr>
              <a:defRPr sz="2400">
                <a:latin typeface="Trebuchet MS" panose="020B0603020202020204" pitchFamily="34" charset="0"/>
              </a:defRPr>
            </a:lvl1pPr>
            <a:lvl2pPr>
              <a:defRPr sz="2400">
                <a:latin typeface="Trebuchet MS" panose="020B0603020202020204" pitchFamily="34" charset="0"/>
              </a:defRPr>
            </a:lvl2pPr>
            <a:lvl3pPr>
              <a:defRPr sz="1900">
                <a:latin typeface="Trebuchet MS" panose="020B0603020202020204" pitchFamily="34" charset="0"/>
              </a:defRPr>
            </a:lvl3pPr>
            <a:lvl4pPr>
              <a:defRPr sz="1600">
                <a:latin typeface="Trebuchet MS" panose="020B0603020202020204" pitchFamily="34" charset="0"/>
              </a:defRPr>
            </a:lvl4pPr>
            <a:lvl5pPr>
              <a:defRPr sz="160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21"/>
          <p:cNvSpPr>
            <a:spLocks noGrp="1"/>
          </p:cNvSpPr>
          <p:nvPr>
            <p:ph type="title"/>
          </p:nvPr>
        </p:nvSpPr>
        <p:spPr bwMode="auto">
          <a:xfrm>
            <a:off x="1345477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 lIns="121899" tIns="60949" rIns="121899" bIns="60949"/>
          <a:lstStyle>
            <a:lvl1pPr algn="l">
              <a:defRPr sz="24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6202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37676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62013" y="715963"/>
            <a:ext cx="94726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21899" tIns="60949" rIns="121899" bIns="60949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20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1850" y="141288"/>
            <a:ext cx="1193800" cy="642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1462088" y="715963"/>
            <a:ext cx="96123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21899" tIns="60949" rIns="121899" bIns="60949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8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75" y="73025"/>
            <a:ext cx="690563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6526213"/>
            <a:ext cx="3397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930275" y="6526213"/>
            <a:ext cx="1662113" cy="4000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21899" tIns="60949" rIns="121899" bIns="6094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id-ID">
                <a:solidFill>
                  <a:prstClr val="white"/>
                </a:solidFill>
                <a:ea typeface="+mn-ea"/>
                <a:cs typeface="+mn-cs"/>
              </a:rPr>
              <a:t>ddbaccelerator</a:t>
            </a: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097213" y="6538913"/>
            <a:ext cx="1868487" cy="4000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21899" tIns="60949" rIns="121899" bIns="6094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id-ID">
                <a:solidFill>
                  <a:prstClr val="white"/>
                </a:solidFill>
                <a:ea typeface="+mn-ea"/>
                <a:cs typeface="+mn-cs"/>
              </a:rPr>
              <a:t>@ddbaccelerator</a:t>
            </a: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5399088" y="6550025"/>
            <a:ext cx="3040062" cy="4000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21899" tIns="60949" rIns="121899" bIns="6094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id-ID" dirty="0">
                <a:solidFill>
                  <a:prstClr val="white"/>
                </a:solidFill>
                <a:ea typeface="+mn-ea"/>
                <a:cs typeface="+mn-cs"/>
              </a:rPr>
              <a:t>support@ddbaccelerator.com</a:t>
            </a: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8851900" y="6548438"/>
            <a:ext cx="2638425" cy="4000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21899" tIns="60949" rIns="121899" bIns="6094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id-ID">
                <a:solidFill>
                  <a:prstClr val="white"/>
                </a:solidFill>
                <a:ea typeface="+mn-ea"/>
                <a:cs typeface="+mn-cs"/>
              </a:rPr>
              <a:t>www.ddbaccelerator.com</a:t>
            </a:r>
          </a:p>
        </p:txBody>
      </p:sp>
      <p:pic>
        <p:nvPicPr>
          <p:cNvPr id="16" name="Picture 10" descr="https://g.twimg.com/Twitter_logo_blu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5588" y="6534150"/>
            <a:ext cx="382587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39"/>
          <p:cNvSpPr>
            <a:spLocks noEditPoints="1"/>
          </p:cNvSpPr>
          <p:nvPr/>
        </p:nvSpPr>
        <p:spPr bwMode="auto">
          <a:xfrm>
            <a:off x="8532813" y="6534150"/>
            <a:ext cx="347662" cy="323850"/>
          </a:xfrm>
          <a:custGeom>
            <a:avLst/>
            <a:gdLst>
              <a:gd name="T0" fmla="*/ 2147483646 w 16128"/>
              <a:gd name="T1" fmla="*/ 2147483646 h 16128"/>
              <a:gd name="T2" fmla="*/ 2147483646 w 16128"/>
              <a:gd name="T3" fmla="*/ 2147483646 h 16128"/>
              <a:gd name="T4" fmla="*/ 2147483646 w 16128"/>
              <a:gd name="T5" fmla="*/ 2147483646 h 16128"/>
              <a:gd name="T6" fmla="*/ 2147483646 w 16128"/>
              <a:gd name="T7" fmla="*/ 2147483646 h 16128"/>
              <a:gd name="T8" fmla="*/ 2147483646 w 16128"/>
              <a:gd name="T9" fmla="*/ 2147483646 h 16128"/>
              <a:gd name="T10" fmla="*/ 2147483646 w 16128"/>
              <a:gd name="T11" fmla="*/ 2147483646 h 16128"/>
              <a:gd name="T12" fmla="*/ 2147483646 w 16128"/>
              <a:gd name="T13" fmla="*/ 2147483646 h 16128"/>
              <a:gd name="T14" fmla="*/ 2147483646 w 16128"/>
              <a:gd name="T15" fmla="*/ 2147483646 h 16128"/>
              <a:gd name="T16" fmla="*/ 2147483646 w 16128"/>
              <a:gd name="T17" fmla="*/ 2147483646 h 16128"/>
              <a:gd name="T18" fmla="*/ 2147483646 w 16128"/>
              <a:gd name="T19" fmla="*/ 2147483646 h 16128"/>
              <a:gd name="T20" fmla="*/ 2147483646 w 16128"/>
              <a:gd name="T21" fmla="*/ 2147483646 h 16128"/>
              <a:gd name="T22" fmla="*/ 2147483646 w 16128"/>
              <a:gd name="T23" fmla="*/ 2147483646 h 16128"/>
              <a:gd name="T24" fmla="*/ 2147483646 w 16128"/>
              <a:gd name="T25" fmla="*/ 2147483646 h 16128"/>
              <a:gd name="T26" fmla="*/ 2147483646 w 16128"/>
              <a:gd name="T27" fmla="*/ 2147483646 h 16128"/>
              <a:gd name="T28" fmla="*/ 2147483646 w 16128"/>
              <a:gd name="T29" fmla="*/ 2147483646 h 16128"/>
              <a:gd name="T30" fmla="*/ 2147483646 w 16128"/>
              <a:gd name="T31" fmla="*/ 2147483646 h 16128"/>
              <a:gd name="T32" fmla="*/ 2147483646 w 16128"/>
              <a:gd name="T33" fmla="*/ 2147483646 h 16128"/>
              <a:gd name="T34" fmla="*/ 2147483646 w 16128"/>
              <a:gd name="T35" fmla="*/ 2147483646 h 16128"/>
              <a:gd name="T36" fmla="*/ 2147483646 w 16128"/>
              <a:gd name="T37" fmla="*/ 2147483646 h 16128"/>
              <a:gd name="T38" fmla="*/ 2147483646 w 16128"/>
              <a:gd name="T39" fmla="*/ 2147483646 h 16128"/>
              <a:gd name="T40" fmla="*/ 2147483646 w 16128"/>
              <a:gd name="T41" fmla="*/ 2147483646 h 16128"/>
              <a:gd name="T42" fmla="*/ 2147483646 w 16128"/>
              <a:gd name="T43" fmla="*/ 2147483646 h 16128"/>
              <a:gd name="T44" fmla="*/ 2147483646 w 16128"/>
              <a:gd name="T45" fmla="*/ 2147483646 h 16128"/>
              <a:gd name="T46" fmla="*/ 2147483646 w 16128"/>
              <a:gd name="T47" fmla="*/ 2147483646 h 16128"/>
              <a:gd name="T48" fmla="*/ 2147483646 w 16128"/>
              <a:gd name="T49" fmla="*/ 2147483646 h 16128"/>
              <a:gd name="T50" fmla="*/ 2147483646 w 16128"/>
              <a:gd name="T51" fmla="*/ 2147483646 h 16128"/>
              <a:gd name="T52" fmla="*/ 2147483646 w 16128"/>
              <a:gd name="T53" fmla="*/ 2147483646 h 16128"/>
              <a:gd name="T54" fmla="*/ 2147483646 w 16128"/>
              <a:gd name="T55" fmla="*/ 2147483646 h 16128"/>
              <a:gd name="T56" fmla="*/ 2147483646 w 16128"/>
              <a:gd name="T57" fmla="*/ 2147483646 h 16128"/>
              <a:gd name="T58" fmla="*/ 2147483646 w 16128"/>
              <a:gd name="T59" fmla="*/ 2147483646 h 16128"/>
              <a:gd name="T60" fmla="*/ 2147483646 w 16128"/>
              <a:gd name="T61" fmla="*/ 2147483646 h 16128"/>
              <a:gd name="T62" fmla="*/ 2147483646 w 16128"/>
              <a:gd name="T63" fmla="*/ 2147483646 h 16128"/>
              <a:gd name="T64" fmla="*/ 2147483646 w 16128"/>
              <a:gd name="T65" fmla="*/ 2147483646 h 16128"/>
              <a:gd name="T66" fmla="*/ 2147483646 w 16128"/>
              <a:gd name="T67" fmla="*/ 2147483646 h 16128"/>
              <a:gd name="T68" fmla="*/ 2147483646 w 16128"/>
              <a:gd name="T69" fmla="*/ 2147483646 h 16128"/>
              <a:gd name="T70" fmla="*/ 2147483646 w 16128"/>
              <a:gd name="T71" fmla="*/ 2147483646 h 16128"/>
              <a:gd name="T72" fmla="*/ 2147483646 w 16128"/>
              <a:gd name="T73" fmla="*/ 2147483646 h 16128"/>
              <a:gd name="T74" fmla="*/ 2147483646 w 16128"/>
              <a:gd name="T75" fmla="*/ 2147483646 h 16128"/>
              <a:gd name="T76" fmla="*/ 2147483646 w 16128"/>
              <a:gd name="T77" fmla="*/ 2147483646 h 16128"/>
              <a:gd name="T78" fmla="*/ 2147483646 w 16128"/>
              <a:gd name="T79" fmla="*/ 2147483646 h 16128"/>
              <a:gd name="T80" fmla="*/ 2147483646 w 16128"/>
              <a:gd name="T81" fmla="*/ 2147483646 h 16128"/>
              <a:gd name="T82" fmla="*/ 2147483646 w 16128"/>
              <a:gd name="T83" fmla="*/ 2147483646 h 16128"/>
              <a:gd name="T84" fmla="*/ 2147483646 w 16128"/>
              <a:gd name="T85" fmla="*/ 2147483646 h 16128"/>
              <a:gd name="T86" fmla="*/ 2147483646 w 16128"/>
              <a:gd name="T87" fmla="*/ 2147483646 h 16128"/>
              <a:gd name="T88" fmla="*/ 2147483646 w 16128"/>
              <a:gd name="T89" fmla="*/ 2147483646 h 16128"/>
              <a:gd name="T90" fmla="*/ 2147483646 w 16128"/>
              <a:gd name="T91" fmla="*/ 2147483646 h 16128"/>
              <a:gd name="T92" fmla="*/ 2147483646 w 16128"/>
              <a:gd name="T93" fmla="*/ 2147483646 h 16128"/>
              <a:gd name="T94" fmla="*/ 2147483646 w 16128"/>
              <a:gd name="T95" fmla="*/ 2147483646 h 16128"/>
              <a:gd name="T96" fmla="*/ 2147483646 w 16128"/>
              <a:gd name="T97" fmla="*/ 2147483646 h 16128"/>
              <a:gd name="T98" fmla="*/ 2147483646 w 16128"/>
              <a:gd name="T99" fmla="*/ 2147483646 h 16128"/>
              <a:gd name="T100" fmla="*/ 2147483646 w 16128"/>
              <a:gd name="T101" fmla="*/ 2147483646 h 16128"/>
              <a:gd name="T102" fmla="*/ 2147483646 w 16128"/>
              <a:gd name="T103" fmla="*/ 2147483646 h 16128"/>
              <a:gd name="T104" fmla="*/ 2147483646 w 16128"/>
              <a:gd name="T105" fmla="*/ 2147483646 h 16128"/>
              <a:gd name="T106" fmla="*/ 2147483646 w 16128"/>
              <a:gd name="T107" fmla="*/ 2147483646 h 16128"/>
              <a:gd name="T108" fmla="*/ 2147483646 w 16128"/>
              <a:gd name="T109" fmla="*/ 2147483646 h 16128"/>
              <a:gd name="T110" fmla="*/ 2147483646 w 16128"/>
              <a:gd name="T111" fmla="*/ 2147483646 h 16128"/>
              <a:gd name="T112" fmla="*/ 2147483646 w 16128"/>
              <a:gd name="T113" fmla="*/ 2147483646 h 16128"/>
              <a:gd name="T114" fmla="*/ 2147483646 w 16128"/>
              <a:gd name="T115" fmla="*/ 2147483646 h 16128"/>
              <a:gd name="T116" fmla="*/ 2147483646 w 16128"/>
              <a:gd name="T117" fmla="*/ 2147483646 h 16128"/>
              <a:gd name="T118" fmla="*/ 2147483646 w 16128"/>
              <a:gd name="T119" fmla="*/ 2147483646 h 16128"/>
              <a:gd name="T120" fmla="*/ 2147483646 w 16128"/>
              <a:gd name="T121" fmla="*/ 2147483646 h 16128"/>
              <a:gd name="T122" fmla="*/ 2147483646 w 16128"/>
              <a:gd name="T123" fmla="*/ 2147483646 h 16128"/>
              <a:gd name="T124" fmla="*/ 2147483646 w 16128"/>
              <a:gd name="T125" fmla="*/ 2147483646 h 1612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128" h="16128">
                <a:moveTo>
                  <a:pt x="8064" y="0"/>
                </a:moveTo>
                <a:lnTo>
                  <a:pt x="7649" y="10"/>
                </a:lnTo>
                <a:lnTo>
                  <a:pt x="7239" y="41"/>
                </a:lnTo>
                <a:lnTo>
                  <a:pt x="6836" y="93"/>
                </a:lnTo>
                <a:lnTo>
                  <a:pt x="6439" y="164"/>
                </a:lnTo>
                <a:lnTo>
                  <a:pt x="6049" y="254"/>
                </a:lnTo>
                <a:lnTo>
                  <a:pt x="5666" y="363"/>
                </a:lnTo>
                <a:lnTo>
                  <a:pt x="5291" y="489"/>
                </a:lnTo>
                <a:lnTo>
                  <a:pt x="4925" y="634"/>
                </a:lnTo>
                <a:lnTo>
                  <a:pt x="4568" y="795"/>
                </a:lnTo>
                <a:lnTo>
                  <a:pt x="4220" y="974"/>
                </a:lnTo>
                <a:lnTo>
                  <a:pt x="3883" y="1167"/>
                </a:lnTo>
                <a:lnTo>
                  <a:pt x="3555" y="1377"/>
                </a:lnTo>
                <a:lnTo>
                  <a:pt x="3239" y="1602"/>
                </a:lnTo>
                <a:lnTo>
                  <a:pt x="2934" y="1842"/>
                </a:lnTo>
                <a:lnTo>
                  <a:pt x="2642" y="2095"/>
                </a:lnTo>
                <a:lnTo>
                  <a:pt x="2362" y="2362"/>
                </a:lnTo>
                <a:lnTo>
                  <a:pt x="2095" y="2642"/>
                </a:lnTo>
                <a:lnTo>
                  <a:pt x="1842" y="2934"/>
                </a:lnTo>
                <a:lnTo>
                  <a:pt x="1602" y="3239"/>
                </a:lnTo>
                <a:lnTo>
                  <a:pt x="1377" y="3555"/>
                </a:lnTo>
                <a:lnTo>
                  <a:pt x="1167" y="3883"/>
                </a:lnTo>
                <a:lnTo>
                  <a:pt x="974" y="4220"/>
                </a:lnTo>
                <a:lnTo>
                  <a:pt x="795" y="4568"/>
                </a:lnTo>
                <a:lnTo>
                  <a:pt x="634" y="4925"/>
                </a:lnTo>
                <a:lnTo>
                  <a:pt x="489" y="5291"/>
                </a:lnTo>
                <a:lnTo>
                  <a:pt x="363" y="5666"/>
                </a:lnTo>
                <a:lnTo>
                  <a:pt x="254" y="6049"/>
                </a:lnTo>
                <a:lnTo>
                  <a:pt x="164" y="6439"/>
                </a:lnTo>
                <a:lnTo>
                  <a:pt x="93" y="6836"/>
                </a:lnTo>
                <a:lnTo>
                  <a:pt x="41" y="7239"/>
                </a:lnTo>
                <a:lnTo>
                  <a:pt x="10" y="7649"/>
                </a:lnTo>
                <a:lnTo>
                  <a:pt x="0" y="8064"/>
                </a:lnTo>
                <a:lnTo>
                  <a:pt x="10" y="8479"/>
                </a:lnTo>
                <a:lnTo>
                  <a:pt x="41" y="8889"/>
                </a:lnTo>
                <a:lnTo>
                  <a:pt x="93" y="9292"/>
                </a:lnTo>
                <a:lnTo>
                  <a:pt x="164" y="9689"/>
                </a:lnTo>
                <a:lnTo>
                  <a:pt x="254" y="10079"/>
                </a:lnTo>
                <a:lnTo>
                  <a:pt x="363" y="10462"/>
                </a:lnTo>
                <a:lnTo>
                  <a:pt x="489" y="10837"/>
                </a:lnTo>
                <a:lnTo>
                  <a:pt x="634" y="11203"/>
                </a:lnTo>
                <a:lnTo>
                  <a:pt x="795" y="11560"/>
                </a:lnTo>
                <a:lnTo>
                  <a:pt x="974" y="11908"/>
                </a:lnTo>
                <a:lnTo>
                  <a:pt x="1167" y="12245"/>
                </a:lnTo>
                <a:lnTo>
                  <a:pt x="1377" y="12573"/>
                </a:lnTo>
                <a:lnTo>
                  <a:pt x="1602" y="12888"/>
                </a:lnTo>
                <a:lnTo>
                  <a:pt x="1842" y="13194"/>
                </a:lnTo>
                <a:lnTo>
                  <a:pt x="2095" y="13486"/>
                </a:lnTo>
                <a:lnTo>
                  <a:pt x="2362" y="13766"/>
                </a:lnTo>
                <a:lnTo>
                  <a:pt x="2642" y="14033"/>
                </a:lnTo>
                <a:lnTo>
                  <a:pt x="2934" y="14286"/>
                </a:lnTo>
                <a:lnTo>
                  <a:pt x="3239" y="14526"/>
                </a:lnTo>
                <a:lnTo>
                  <a:pt x="3555" y="14751"/>
                </a:lnTo>
                <a:lnTo>
                  <a:pt x="3883" y="14961"/>
                </a:lnTo>
                <a:lnTo>
                  <a:pt x="4220" y="15154"/>
                </a:lnTo>
                <a:lnTo>
                  <a:pt x="4568" y="15333"/>
                </a:lnTo>
                <a:lnTo>
                  <a:pt x="4925" y="15494"/>
                </a:lnTo>
                <a:lnTo>
                  <a:pt x="5291" y="15639"/>
                </a:lnTo>
                <a:lnTo>
                  <a:pt x="5666" y="15765"/>
                </a:lnTo>
                <a:lnTo>
                  <a:pt x="6049" y="15874"/>
                </a:lnTo>
                <a:lnTo>
                  <a:pt x="6439" y="15964"/>
                </a:lnTo>
                <a:lnTo>
                  <a:pt x="6836" y="16035"/>
                </a:lnTo>
                <a:lnTo>
                  <a:pt x="7239" y="16087"/>
                </a:lnTo>
                <a:lnTo>
                  <a:pt x="7649" y="16118"/>
                </a:lnTo>
                <a:lnTo>
                  <a:pt x="8064" y="16128"/>
                </a:lnTo>
                <a:lnTo>
                  <a:pt x="8479" y="16118"/>
                </a:lnTo>
                <a:lnTo>
                  <a:pt x="8889" y="16087"/>
                </a:lnTo>
                <a:lnTo>
                  <a:pt x="9292" y="16035"/>
                </a:lnTo>
                <a:lnTo>
                  <a:pt x="9689" y="15964"/>
                </a:lnTo>
                <a:lnTo>
                  <a:pt x="10079" y="15874"/>
                </a:lnTo>
                <a:lnTo>
                  <a:pt x="10462" y="15765"/>
                </a:lnTo>
                <a:lnTo>
                  <a:pt x="10837" y="15639"/>
                </a:lnTo>
                <a:lnTo>
                  <a:pt x="11203" y="15494"/>
                </a:lnTo>
                <a:lnTo>
                  <a:pt x="11560" y="15333"/>
                </a:lnTo>
                <a:lnTo>
                  <a:pt x="11908" y="15154"/>
                </a:lnTo>
                <a:lnTo>
                  <a:pt x="12245" y="14961"/>
                </a:lnTo>
                <a:lnTo>
                  <a:pt x="12573" y="14751"/>
                </a:lnTo>
                <a:lnTo>
                  <a:pt x="12889" y="14526"/>
                </a:lnTo>
                <a:lnTo>
                  <a:pt x="13194" y="14286"/>
                </a:lnTo>
                <a:lnTo>
                  <a:pt x="13486" y="14033"/>
                </a:lnTo>
                <a:lnTo>
                  <a:pt x="13766" y="13766"/>
                </a:lnTo>
                <a:lnTo>
                  <a:pt x="14033" y="13486"/>
                </a:lnTo>
                <a:lnTo>
                  <a:pt x="14286" y="13194"/>
                </a:lnTo>
                <a:lnTo>
                  <a:pt x="14526" y="12888"/>
                </a:lnTo>
                <a:lnTo>
                  <a:pt x="14751" y="12573"/>
                </a:lnTo>
                <a:lnTo>
                  <a:pt x="14961" y="12245"/>
                </a:lnTo>
                <a:lnTo>
                  <a:pt x="15154" y="11908"/>
                </a:lnTo>
                <a:lnTo>
                  <a:pt x="15333" y="11560"/>
                </a:lnTo>
                <a:lnTo>
                  <a:pt x="15494" y="11203"/>
                </a:lnTo>
                <a:lnTo>
                  <a:pt x="15639" y="10837"/>
                </a:lnTo>
                <a:lnTo>
                  <a:pt x="15765" y="10462"/>
                </a:lnTo>
                <a:lnTo>
                  <a:pt x="15874" y="10079"/>
                </a:lnTo>
                <a:lnTo>
                  <a:pt x="15964" y="9689"/>
                </a:lnTo>
                <a:lnTo>
                  <a:pt x="16035" y="9292"/>
                </a:lnTo>
                <a:lnTo>
                  <a:pt x="16087" y="8889"/>
                </a:lnTo>
                <a:lnTo>
                  <a:pt x="16118" y="8479"/>
                </a:lnTo>
                <a:lnTo>
                  <a:pt x="16128" y="8064"/>
                </a:lnTo>
                <a:lnTo>
                  <a:pt x="16118" y="7649"/>
                </a:lnTo>
                <a:lnTo>
                  <a:pt x="16087" y="7239"/>
                </a:lnTo>
                <a:lnTo>
                  <a:pt x="16035" y="6836"/>
                </a:lnTo>
                <a:lnTo>
                  <a:pt x="15964" y="6439"/>
                </a:lnTo>
                <a:lnTo>
                  <a:pt x="15874" y="6049"/>
                </a:lnTo>
                <a:lnTo>
                  <a:pt x="15765" y="5666"/>
                </a:lnTo>
                <a:lnTo>
                  <a:pt x="15639" y="5291"/>
                </a:lnTo>
                <a:lnTo>
                  <a:pt x="15494" y="4925"/>
                </a:lnTo>
                <a:lnTo>
                  <a:pt x="15333" y="4568"/>
                </a:lnTo>
                <a:lnTo>
                  <a:pt x="15154" y="4220"/>
                </a:lnTo>
                <a:lnTo>
                  <a:pt x="14961" y="3883"/>
                </a:lnTo>
                <a:lnTo>
                  <a:pt x="14751" y="3555"/>
                </a:lnTo>
                <a:lnTo>
                  <a:pt x="14526" y="3239"/>
                </a:lnTo>
                <a:lnTo>
                  <a:pt x="14286" y="2934"/>
                </a:lnTo>
                <a:lnTo>
                  <a:pt x="14033" y="2642"/>
                </a:lnTo>
                <a:lnTo>
                  <a:pt x="13766" y="2362"/>
                </a:lnTo>
                <a:lnTo>
                  <a:pt x="13486" y="2095"/>
                </a:lnTo>
                <a:lnTo>
                  <a:pt x="13194" y="1842"/>
                </a:lnTo>
                <a:lnTo>
                  <a:pt x="12889" y="1602"/>
                </a:lnTo>
                <a:lnTo>
                  <a:pt x="12573" y="1377"/>
                </a:lnTo>
                <a:lnTo>
                  <a:pt x="12245" y="1167"/>
                </a:lnTo>
                <a:lnTo>
                  <a:pt x="11908" y="974"/>
                </a:lnTo>
                <a:lnTo>
                  <a:pt x="11560" y="795"/>
                </a:lnTo>
                <a:lnTo>
                  <a:pt x="11203" y="634"/>
                </a:lnTo>
                <a:lnTo>
                  <a:pt x="10837" y="489"/>
                </a:lnTo>
                <a:lnTo>
                  <a:pt x="10462" y="363"/>
                </a:lnTo>
                <a:lnTo>
                  <a:pt x="10079" y="254"/>
                </a:lnTo>
                <a:lnTo>
                  <a:pt x="9689" y="164"/>
                </a:lnTo>
                <a:lnTo>
                  <a:pt x="9292" y="93"/>
                </a:lnTo>
                <a:lnTo>
                  <a:pt x="8889" y="41"/>
                </a:lnTo>
                <a:lnTo>
                  <a:pt x="8479" y="10"/>
                </a:lnTo>
                <a:lnTo>
                  <a:pt x="8064" y="0"/>
                </a:lnTo>
                <a:close/>
                <a:moveTo>
                  <a:pt x="9888" y="5193"/>
                </a:moveTo>
                <a:lnTo>
                  <a:pt x="9879" y="5196"/>
                </a:lnTo>
                <a:lnTo>
                  <a:pt x="9872" y="5197"/>
                </a:lnTo>
                <a:lnTo>
                  <a:pt x="9865" y="5198"/>
                </a:lnTo>
                <a:lnTo>
                  <a:pt x="9859" y="5198"/>
                </a:lnTo>
                <a:lnTo>
                  <a:pt x="9854" y="5198"/>
                </a:lnTo>
                <a:lnTo>
                  <a:pt x="9850" y="5197"/>
                </a:lnTo>
                <a:lnTo>
                  <a:pt x="9847" y="5195"/>
                </a:lnTo>
                <a:lnTo>
                  <a:pt x="9844" y="5193"/>
                </a:lnTo>
                <a:lnTo>
                  <a:pt x="9842" y="5190"/>
                </a:lnTo>
                <a:lnTo>
                  <a:pt x="9840" y="5187"/>
                </a:lnTo>
                <a:lnTo>
                  <a:pt x="9839" y="5183"/>
                </a:lnTo>
                <a:lnTo>
                  <a:pt x="9839" y="5179"/>
                </a:lnTo>
                <a:lnTo>
                  <a:pt x="9839" y="5170"/>
                </a:lnTo>
                <a:lnTo>
                  <a:pt x="9841" y="5159"/>
                </a:lnTo>
                <a:lnTo>
                  <a:pt x="9848" y="5136"/>
                </a:lnTo>
                <a:lnTo>
                  <a:pt x="9857" y="5111"/>
                </a:lnTo>
                <a:lnTo>
                  <a:pt x="9861" y="5097"/>
                </a:lnTo>
                <a:lnTo>
                  <a:pt x="9865" y="5085"/>
                </a:lnTo>
                <a:lnTo>
                  <a:pt x="9867" y="5073"/>
                </a:lnTo>
                <a:lnTo>
                  <a:pt x="9868" y="5063"/>
                </a:lnTo>
                <a:lnTo>
                  <a:pt x="9881" y="5063"/>
                </a:lnTo>
                <a:lnTo>
                  <a:pt x="9906" y="5064"/>
                </a:lnTo>
                <a:lnTo>
                  <a:pt x="9937" y="5064"/>
                </a:lnTo>
                <a:lnTo>
                  <a:pt x="9967" y="5063"/>
                </a:lnTo>
                <a:lnTo>
                  <a:pt x="9980" y="5061"/>
                </a:lnTo>
                <a:lnTo>
                  <a:pt x="9991" y="5060"/>
                </a:lnTo>
                <a:lnTo>
                  <a:pt x="9995" y="5058"/>
                </a:lnTo>
                <a:lnTo>
                  <a:pt x="9999" y="5057"/>
                </a:lnTo>
                <a:lnTo>
                  <a:pt x="10001" y="5056"/>
                </a:lnTo>
                <a:lnTo>
                  <a:pt x="10003" y="5054"/>
                </a:lnTo>
                <a:lnTo>
                  <a:pt x="10003" y="5052"/>
                </a:lnTo>
                <a:lnTo>
                  <a:pt x="10002" y="5050"/>
                </a:lnTo>
                <a:lnTo>
                  <a:pt x="9999" y="5047"/>
                </a:lnTo>
                <a:lnTo>
                  <a:pt x="9996" y="5045"/>
                </a:lnTo>
                <a:lnTo>
                  <a:pt x="9983" y="5039"/>
                </a:lnTo>
                <a:lnTo>
                  <a:pt x="9964" y="5032"/>
                </a:lnTo>
                <a:lnTo>
                  <a:pt x="9962" y="5011"/>
                </a:lnTo>
                <a:lnTo>
                  <a:pt x="9960" y="4993"/>
                </a:lnTo>
                <a:lnTo>
                  <a:pt x="9958" y="4975"/>
                </a:lnTo>
                <a:lnTo>
                  <a:pt x="9954" y="4960"/>
                </a:lnTo>
                <a:lnTo>
                  <a:pt x="9950" y="4946"/>
                </a:lnTo>
                <a:lnTo>
                  <a:pt x="9945" y="4934"/>
                </a:lnTo>
                <a:lnTo>
                  <a:pt x="9939" y="4924"/>
                </a:lnTo>
                <a:lnTo>
                  <a:pt x="9932" y="4915"/>
                </a:lnTo>
                <a:lnTo>
                  <a:pt x="9924" y="4907"/>
                </a:lnTo>
                <a:lnTo>
                  <a:pt x="9915" y="4900"/>
                </a:lnTo>
                <a:lnTo>
                  <a:pt x="9904" y="4895"/>
                </a:lnTo>
                <a:lnTo>
                  <a:pt x="9892" y="4891"/>
                </a:lnTo>
                <a:lnTo>
                  <a:pt x="9877" y="4887"/>
                </a:lnTo>
                <a:lnTo>
                  <a:pt x="9862" y="4885"/>
                </a:lnTo>
                <a:lnTo>
                  <a:pt x="9845" y="4884"/>
                </a:lnTo>
                <a:lnTo>
                  <a:pt x="9826" y="4883"/>
                </a:lnTo>
                <a:lnTo>
                  <a:pt x="9826" y="4870"/>
                </a:lnTo>
                <a:lnTo>
                  <a:pt x="9825" y="4858"/>
                </a:lnTo>
                <a:lnTo>
                  <a:pt x="9824" y="4847"/>
                </a:lnTo>
                <a:lnTo>
                  <a:pt x="9822" y="4837"/>
                </a:lnTo>
                <a:lnTo>
                  <a:pt x="9817" y="4821"/>
                </a:lnTo>
                <a:lnTo>
                  <a:pt x="9811" y="4807"/>
                </a:lnTo>
                <a:lnTo>
                  <a:pt x="9805" y="4793"/>
                </a:lnTo>
                <a:lnTo>
                  <a:pt x="9798" y="4776"/>
                </a:lnTo>
                <a:lnTo>
                  <a:pt x="9795" y="4766"/>
                </a:lnTo>
                <a:lnTo>
                  <a:pt x="9792" y="4754"/>
                </a:lnTo>
                <a:lnTo>
                  <a:pt x="9789" y="4741"/>
                </a:lnTo>
                <a:lnTo>
                  <a:pt x="9787" y="4727"/>
                </a:lnTo>
                <a:lnTo>
                  <a:pt x="9785" y="4715"/>
                </a:lnTo>
                <a:lnTo>
                  <a:pt x="9785" y="4705"/>
                </a:lnTo>
                <a:lnTo>
                  <a:pt x="9785" y="4697"/>
                </a:lnTo>
                <a:lnTo>
                  <a:pt x="9786" y="4690"/>
                </a:lnTo>
                <a:lnTo>
                  <a:pt x="9787" y="4684"/>
                </a:lnTo>
                <a:lnTo>
                  <a:pt x="9789" y="4679"/>
                </a:lnTo>
                <a:lnTo>
                  <a:pt x="9792" y="4675"/>
                </a:lnTo>
                <a:lnTo>
                  <a:pt x="9795" y="4672"/>
                </a:lnTo>
                <a:lnTo>
                  <a:pt x="9798" y="4670"/>
                </a:lnTo>
                <a:lnTo>
                  <a:pt x="9802" y="4668"/>
                </a:lnTo>
                <a:lnTo>
                  <a:pt x="9807" y="4667"/>
                </a:lnTo>
                <a:lnTo>
                  <a:pt x="9811" y="4666"/>
                </a:lnTo>
                <a:lnTo>
                  <a:pt x="9822" y="4666"/>
                </a:lnTo>
                <a:lnTo>
                  <a:pt x="9833" y="4666"/>
                </a:lnTo>
                <a:lnTo>
                  <a:pt x="9845" y="4666"/>
                </a:lnTo>
                <a:lnTo>
                  <a:pt x="9857" y="4665"/>
                </a:lnTo>
                <a:lnTo>
                  <a:pt x="9864" y="4664"/>
                </a:lnTo>
                <a:lnTo>
                  <a:pt x="9870" y="4663"/>
                </a:lnTo>
                <a:lnTo>
                  <a:pt x="9876" y="4661"/>
                </a:lnTo>
                <a:lnTo>
                  <a:pt x="9882" y="4658"/>
                </a:lnTo>
                <a:lnTo>
                  <a:pt x="9888" y="4654"/>
                </a:lnTo>
                <a:lnTo>
                  <a:pt x="9894" y="4650"/>
                </a:lnTo>
                <a:lnTo>
                  <a:pt x="9900" y="4644"/>
                </a:lnTo>
                <a:lnTo>
                  <a:pt x="9905" y="4638"/>
                </a:lnTo>
                <a:lnTo>
                  <a:pt x="9910" y="4630"/>
                </a:lnTo>
                <a:lnTo>
                  <a:pt x="9914" y="4621"/>
                </a:lnTo>
                <a:lnTo>
                  <a:pt x="9918" y="4610"/>
                </a:lnTo>
                <a:lnTo>
                  <a:pt x="9922" y="4597"/>
                </a:lnTo>
                <a:lnTo>
                  <a:pt x="9936" y="4598"/>
                </a:lnTo>
                <a:lnTo>
                  <a:pt x="9947" y="4601"/>
                </a:lnTo>
                <a:lnTo>
                  <a:pt x="9951" y="4602"/>
                </a:lnTo>
                <a:lnTo>
                  <a:pt x="9954" y="4604"/>
                </a:lnTo>
                <a:lnTo>
                  <a:pt x="9957" y="4606"/>
                </a:lnTo>
                <a:lnTo>
                  <a:pt x="9959" y="4608"/>
                </a:lnTo>
                <a:lnTo>
                  <a:pt x="9961" y="4610"/>
                </a:lnTo>
                <a:lnTo>
                  <a:pt x="9961" y="4613"/>
                </a:lnTo>
                <a:lnTo>
                  <a:pt x="9962" y="4615"/>
                </a:lnTo>
                <a:lnTo>
                  <a:pt x="9962" y="4618"/>
                </a:lnTo>
                <a:lnTo>
                  <a:pt x="9960" y="4624"/>
                </a:lnTo>
                <a:lnTo>
                  <a:pt x="9957" y="4630"/>
                </a:lnTo>
                <a:lnTo>
                  <a:pt x="9952" y="4636"/>
                </a:lnTo>
                <a:lnTo>
                  <a:pt x="9947" y="4641"/>
                </a:lnTo>
                <a:lnTo>
                  <a:pt x="9941" y="4647"/>
                </a:lnTo>
                <a:lnTo>
                  <a:pt x="9935" y="4651"/>
                </a:lnTo>
                <a:lnTo>
                  <a:pt x="9929" y="4655"/>
                </a:lnTo>
                <a:lnTo>
                  <a:pt x="9923" y="4659"/>
                </a:lnTo>
                <a:lnTo>
                  <a:pt x="9918" y="4661"/>
                </a:lnTo>
                <a:lnTo>
                  <a:pt x="9914" y="4661"/>
                </a:lnTo>
                <a:lnTo>
                  <a:pt x="9916" y="4663"/>
                </a:lnTo>
                <a:lnTo>
                  <a:pt x="9918" y="4666"/>
                </a:lnTo>
                <a:lnTo>
                  <a:pt x="9919" y="4669"/>
                </a:lnTo>
                <a:lnTo>
                  <a:pt x="9920" y="4673"/>
                </a:lnTo>
                <a:lnTo>
                  <a:pt x="9919" y="4683"/>
                </a:lnTo>
                <a:lnTo>
                  <a:pt x="9918" y="4694"/>
                </a:lnTo>
                <a:lnTo>
                  <a:pt x="9914" y="4717"/>
                </a:lnTo>
                <a:lnTo>
                  <a:pt x="9911" y="4736"/>
                </a:lnTo>
                <a:lnTo>
                  <a:pt x="9925" y="4735"/>
                </a:lnTo>
                <a:lnTo>
                  <a:pt x="9937" y="4733"/>
                </a:lnTo>
                <a:lnTo>
                  <a:pt x="9948" y="4731"/>
                </a:lnTo>
                <a:lnTo>
                  <a:pt x="9958" y="4727"/>
                </a:lnTo>
                <a:lnTo>
                  <a:pt x="9966" y="4723"/>
                </a:lnTo>
                <a:lnTo>
                  <a:pt x="9974" y="4718"/>
                </a:lnTo>
                <a:lnTo>
                  <a:pt x="9981" y="4713"/>
                </a:lnTo>
                <a:lnTo>
                  <a:pt x="9988" y="4708"/>
                </a:lnTo>
                <a:lnTo>
                  <a:pt x="10000" y="4698"/>
                </a:lnTo>
                <a:lnTo>
                  <a:pt x="10014" y="4687"/>
                </a:lnTo>
                <a:lnTo>
                  <a:pt x="10022" y="4683"/>
                </a:lnTo>
                <a:lnTo>
                  <a:pt x="10030" y="4678"/>
                </a:lnTo>
                <a:lnTo>
                  <a:pt x="10039" y="4675"/>
                </a:lnTo>
                <a:lnTo>
                  <a:pt x="10049" y="4672"/>
                </a:lnTo>
                <a:lnTo>
                  <a:pt x="10046" y="4684"/>
                </a:lnTo>
                <a:lnTo>
                  <a:pt x="10042" y="4696"/>
                </a:lnTo>
                <a:lnTo>
                  <a:pt x="10036" y="4706"/>
                </a:lnTo>
                <a:lnTo>
                  <a:pt x="10031" y="4715"/>
                </a:lnTo>
                <a:lnTo>
                  <a:pt x="10019" y="4733"/>
                </a:lnTo>
                <a:lnTo>
                  <a:pt x="10008" y="4749"/>
                </a:lnTo>
                <a:lnTo>
                  <a:pt x="10004" y="4756"/>
                </a:lnTo>
                <a:lnTo>
                  <a:pt x="10002" y="4764"/>
                </a:lnTo>
                <a:lnTo>
                  <a:pt x="10001" y="4771"/>
                </a:lnTo>
                <a:lnTo>
                  <a:pt x="10002" y="4779"/>
                </a:lnTo>
                <a:lnTo>
                  <a:pt x="10006" y="4788"/>
                </a:lnTo>
                <a:lnTo>
                  <a:pt x="10012" y="4797"/>
                </a:lnTo>
                <a:lnTo>
                  <a:pt x="10022" y="4806"/>
                </a:lnTo>
                <a:lnTo>
                  <a:pt x="10035" y="4817"/>
                </a:lnTo>
                <a:lnTo>
                  <a:pt x="10050" y="4829"/>
                </a:lnTo>
                <a:lnTo>
                  <a:pt x="10065" y="4842"/>
                </a:lnTo>
                <a:lnTo>
                  <a:pt x="10078" y="4857"/>
                </a:lnTo>
                <a:lnTo>
                  <a:pt x="10089" y="4871"/>
                </a:lnTo>
                <a:lnTo>
                  <a:pt x="10094" y="4878"/>
                </a:lnTo>
                <a:lnTo>
                  <a:pt x="10098" y="4886"/>
                </a:lnTo>
                <a:lnTo>
                  <a:pt x="10101" y="4894"/>
                </a:lnTo>
                <a:lnTo>
                  <a:pt x="10103" y="4902"/>
                </a:lnTo>
                <a:lnTo>
                  <a:pt x="10105" y="4910"/>
                </a:lnTo>
                <a:lnTo>
                  <a:pt x="10105" y="4919"/>
                </a:lnTo>
                <a:lnTo>
                  <a:pt x="10104" y="4927"/>
                </a:lnTo>
                <a:lnTo>
                  <a:pt x="10101" y="4936"/>
                </a:lnTo>
                <a:lnTo>
                  <a:pt x="10110" y="4936"/>
                </a:lnTo>
                <a:lnTo>
                  <a:pt x="10119" y="4937"/>
                </a:lnTo>
                <a:lnTo>
                  <a:pt x="10127" y="4939"/>
                </a:lnTo>
                <a:lnTo>
                  <a:pt x="10135" y="4941"/>
                </a:lnTo>
                <a:lnTo>
                  <a:pt x="10142" y="4943"/>
                </a:lnTo>
                <a:lnTo>
                  <a:pt x="10150" y="4946"/>
                </a:lnTo>
                <a:lnTo>
                  <a:pt x="10156" y="4949"/>
                </a:lnTo>
                <a:lnTo>
                  <a:pt x="10162" y="4953"/>
                </a:lnTo>
                <a:lnTo>
                  <a:pt x="10168" y="4957"/>
                </a:lnTo>
                <a:lnTo>
                  <a:pt x="10173" y="4962"/>
                </a:lnTo>
                <a:lnTo>
                  <a:pt x="10177" y="4967"/>
                </a:lnTo>
                <a:lnTo>
                  <a:pt x="10182" y="4973"/>
                </a:lnTo>
                <a:lnTo>
                  <a:pt x="10189" y="4986"/>
                </a:lnTo>
                <a:lnTo>
                  <a:pt x="10195" y="5000"/>
                </a:lnTo>
                <a:lnTo>
                  <a:pt x="10199" y="5015"/>
                </a:lnTo>
                <a:lnTo>
                  <a:pt x="10202" y="5031"/>
                </a:lnTo>
                <a:lnTo>
                  <a:pt x="10204" y="5048"/>
                </a:lnTo>
                <a:lnTo>
                  <a:pt x="10205" y="5067"/>
                </a:lnTo>
                <a:lnTo>
                  <a:pt x="10204" y="5086"/>
                </a:lnTo>
                <a:lnTo>
                  <a:pt x="10202" y="5107"/>
                </a:lnTo>
                <a:lnTo>
                  <a:pt x="10200" y="5127"/>
                </a:lnTo>
                <a:lnTo>
                  <a:pt x="10197" y="5148"/>
                </a:lnTo>
                <a:lnTo>
                  <a:pt x="10215" y="5148"/>
                </a:lnTo>
                <a:lnTo>
                  <a:pt x="10228" y="5148"/>
                </a:lnTo>
                <a:lnTo>
                  <a:pt x="10233" y="5147"/>
                </a:lnTo>
                <a:lnTo>
                  <a:pt x="10238" y="5146"/>
                </a:lnTo>
                <a:lnTo>
                  <a:pt x="10241" y="5145"/>
                </a:lnTo>
                <a:lnTo>
                  <a:pt x="10244" y="5143"/>
                </a:lnTo>
                <a:lnTo>
                  <a:pt x="10246" y="5140"/>
                </a:lnTo>
                <a:lnTo>
                  <a:pt x="10247" y="5137"/>
                </a:lnTo>
                <a:lnTo>
                  <a:pt x="10248" y="5132"/>
                </a:lnTo>
                <a:lnTo>
                  <a:pt x="10249" y="5127"/>
                </a:lnTo>
                <a:lnTo>
                  <a:pt x="10249" y="5114"/>
                </a:lnTo>
                <a:lnTo>
                  <a:pt x="10249" y="5095"/>
                </a:lnTo>
                <a:lnTo>
                  <a:pt x="10259" y="5098"/>
                </a:lnTo>
                <a:lnTo>
                  <a:pt x="10267" y="5102"/>
                </a:lnTo>
                <a:lnTo>
                  <a:pt x="10275" y="5107"/>
                </a:lnTo>
                <a:lnTo>
                  <a:pt x="10280" y="5112"/>
                </a:lnTo>
                <a:lnTo>
                  <a:pt x="10284" y="5117"/>
                </a:lnTo>
                <a:lnTo>
                  <a:pt x="10287" y="5122"/>
                </a:lnTo>
                <a:lnTo>
                  <a:pt x="10289" y="5127"/>
                </a:lnTo>
                <a:lnTo>
                  <a:pt x="10289" y="5133"/>
                </a:lnTo>
                <a:lnTo>
                  <a:pt x="10289" y="5138"/>
                </a:lnTo>
                <a:lnTo>
                  <a:pt x="10287" y="5143"/>
                </a:lnTo>
                <a:lnTo>
                  <a:pt x="10283" y="5147"/>
                </a:lnTo>
                <a:lnTo>
                  <a:pt x="10279" y="5151"/>
                </a:lnTo>
                <a:lnTo>
                  <a:pt x="10274" y="5154"/>
                </a:lnTo>
                <a:lnTo>
                  <a:pt x="10266" y="5157"/>
                </a:lnTo>
                <a:lnTo>
                  <a:pt x="10258" y="5158"/>
                </a:lnTo>
                <a:lnTo>
                  <a:pt x="10249" y="5159"/>
                </a:lnTo>
                <a:lnTo>
                  <a:pt x="10245" y="5168"/>
                </a:lnTo>
                <a:lnTo>
                  <a:pt x="10239" y="5176"/>
                </a:lnTo>
                <a:lnTo>
                  <a:pt x="10233" y="5184"/>
                </a:lnTo>
                <a:lnTo>
                  <a:pt x="10227" y="5191"/>
                </a:lnTo>
                <a:lnTo>
                  <a:pt x="10221" y="5198"/>
                </a:lnTo>
                <a:lnTo>
                  <a:pt x="10214" y="5204"/>
                </a:lnTo>
                <a:lnTo>
                  <a:pt x="10206" y="5210"/>
                </a:lnTo>
                <a:lnTo>
                  <a:pt x="10199" y="5215"/>
                </a:lnTo>
                <a:lnTo>
                  <a:pt x="10183" y="5224"/>
                </a:lnTo>
                <a:lnTo>
                  <a:pt x="10166" y="5233"/>
                </a:lnTo>
                <a:lnTo>
                  <a:pt x="10147" y="5239"/>
                </a:lnTo>
                <a:lnTo>
                  <a:pt x="10128" y="5244"/>
                </a:lnTo>
                <a:lnTo>
                  <a:pt x="10109" y="5247"/>
                </a:lnTo>
                <a:lnTo>
                  <a:pt x="10089" y="5250"/>
                </a:lnTo>
                <a:lnTo>
                  <a:pt x="10070" y="5252"/>
                </a:lnTo>
                <a:lnTo>
                  <a:pt x="10050" y="5253"/>
                </a:lnTo>
                <a:lnTo>
                  <a:pt x="10011" y="5254"/>
                </a:lnTo>
                <a:lnTo>
                  <a:pt x="9974" y="5254"/>
                </a:lnTo>
                <a:lnTo>
                  <a:pt x="9974" y="5241"/>
                </a:lnTo>
                <a:lnTo>
                  <a:pt x="9973" y="5228"/>
                </a:lnTo>
                <a:lnTo>
                  <a:pt x="9972" y="5217"/>
                </a:lnTo>
                <a:lnTo>
                  <a:pt x="9970" y="5209"/>
                </a:lnTo>
                <a:lnTo>
                  <a:pt x="9968" y="5201"/>
                </a:lnTo>
                <a:lnTo>
                  <a:pt x="9965" y="5195"/>
                </a:lnTo>
                <a:lnTo>
                  <a:pt x="9962" y="5190"/>
                </a:lnTo>
                <a:lnTo>
                  <a:pt x="9958" y="5187"/>
                </a:lnTo>
                <a:lnTo>
                  <a:pt x="9952" y="5184"/>
                </a:lnTo>
                <a:lnTo>
                  <a:pt x="9946" y="5183"/>
                </a:lnTo>
                <a:lnTo>
                  <a:pt x="9939" y="5182"/>
                </a:lnTo>
                <a:lnTo>
                  <a:pt x="9932" y="5183"/>
                </a:lnTo>
                <a:lnTo>
                  <a:pt x="9912" y="5187"/>
                </a:lnTo>
                <a:lnTo>
                  <a:pt x="9888" y="5193"/>
                </a:lnTo>
                <a:close/>
                <a:moveTo>
                  <a:pt x="9889" y="5286"/>
                </a:moveTo>
                <a:lnTo>
                  <a:pt x="9889" y="5290"/>
                </a:lnTo>
                <a:lnTo>
                  <a:pt x="9887" y="5295"/>
                </a:lnTo>
                <a:lnTo>
                  <a:pt x="9884" y="5299"/>
                </a:lnTo>
                <a:lnTo>
                  <a:pt x="9881" y="5303"/>
                </a:lnTo>
                <a:lnTo>
                  <a:pt x="9877" y="5307"/>
                </a:lnTo>
                <a:lnTo>
                  <a:pt x="9872" y="5310"/>
                </a:lnTo>
                <a:lnTo>
                  <a:pt x="9867" y="5312"/>
                </a:lnTo>
                <a:lnTo>
                  <a:pt x="9862" y="5314"/>
                </a:lnTo>
                <a:lnTo>
                  <a:pt x="9856" y="5315"/>
                </a:lnTo>
                <a:lnTo>
                  <a:pt x="9851" y="5315"/>
                </a:lnTo>
                <a:lnTo>
                  <a:pt x="9845" y="5315"/>
                </a:lnTo>
                <a:lnTo>
                  <a:pt x="9840" y="5313"/>
                </a:lnTo>
                <a:lnTo>
                  <a:pt x="9836" y="5311"/>
                </a:lnTo>
                <a:lnTo>
                  <a:pt x="9832" y="5307"/>
                </a:lnTo>
                <a:lnTo>
                  <a:pt x="9829" y="5302"/>
                </a:lnTo>
                <a:lnTo>
                  <a:pt x="9826" y="5296"/>
                </a:lnTo>
                <a:lnTo>
                  <a:pt x="9830" y="5297"/>
                </a:lnTo>
                <a:lnTo>
                  <a:pt x="9833" y="5297"/>
                </a:lnTo>
                <a:lnTo>
                  <a:pt x="9835" y="5297"/>
                </a:lnTo>
                <a:lnTo>
                  <a:pt x="9837" y="5296"/>
                </a:lnTo>
                <a:lnTo>
                  <a:pt x="9838" y="5294"/>
                </a:lnTo>
                <a:lnTo>
                  <a:pt x="9838" y="5292"/>
                </a:lnTo>
                <a:lnTo>
                  <a:pt x="9837" y="5289"/>
                </a:lnTo>
                <a:lnTo>
                  <a:pt x="9836" y="5286"/>
                </a:lnTo>
                <a:lnTo>
                  <a:pt x="9850" y="5286"/>
                </a:lnTo>
                <a:lnTo>
                  <a:pt x="9863" y="5286"/>
                </a:lnTo>
                <a:lnTo>
                  <a:pt x="9876" y="5286"/>
                </a:lnTo>
                <a:lnTo>
                  <a:pt x="9889" y="5286"/>
                </a:lnTo>
                <a:close/>
                <a:moveTo>
                  <a:pt x="10684" y="6122"/>
                </a:moveTo>
                <a:lnTo>
                  <a:pt x="10687" y="6135"/>
                </a:lnTo>
                <a:lnTo>
                  <a:pt x="10691" y="6145"/>
                </a:lnTo>
                <a:lnTo>
                  <a:pt x="10694" y="6153"/>
                </a:lnTo>
                <a:lnTo>
                  <a:pt x="10697" y="6159"/>
                </a:lnTo>
                <a:lnTo>
                  <a:pt x="10699" y="6163"/>
                </a:lnTo>
                <a:lnTo>
                  <a:pt x="10702" y="6165"/>
                </a:lnTo>
                <a:lnTo>
                  <a:pt x="10704" y="6165"/>
                </a:lnTo>
                <a:lnTo>
                  <a:pt x="10706" y="6164"/>
                </a:lnTo>
                <a:lnTo>
                  <a:pt x="10708" y="6161"/>
                </a:lnTo>
                <a:lnTo>
                  <a:pt x="10710" y="6156"/>
                </a:lnTo>
                <a:lnTo>
                  <a:pt x="10712" y="6150"/>
                </a:lnTo>
                <a:lnTo>
                  <a:pt x="10713" y="6142"/>
                </a:lnTo>
                <a:lnTo>
                  <a:pt x="10715" y="6124"/>
                </a:lnTo>
                <a:lnTo>
                  <a:pt x="10715" y="6100"/>
                </a:lnTo>
                <a:lnTo>
                  <a:pt x="10719" y="6101"/>
                </a:lnTo>
                <a:lnTo>
                  <a:pt x="10723" y="6102"/>
                </a:lnTo>
                <a:lnTo>
                  <a:pt x="10726" y="6105"/>
                </a:lnTo>
                <a:lnTo>
                  <a:pt x="10729" y="6108"/>
                </a:lnTo>
                <a:lnTo>
                  <a:pt x="10732" y="6114"/>
                </a:lnTo>
                <a:lnTo>
                  <a:pt x="10735" y="6119"/>
                </a:lnTo>
                <a:lnTo>
                  <a:pt x="10738" y="6124"/>
                </a:lnTo>
                <a:lnTo>
                  <a:pt x="10740" y="6131"/>
                </a:lnTo>
                <a:lnTo>
                  <a:pt x="10743" y="6145"/>
                </a:lnTo>
                <a:lnTo>
                  <a:pt x="10745" y="6160"/>
                </a:lnTo>
                <a:lnTo>
                  <a:pt x="10745" y="6177"/>
                </a:lnTo>
                <a:lnTo>
                  <a:pt x="10744" y="6193"/>
                </a:lnTo>
                <a:lnTo>
                  <a:pt x="10742" y="6201"/>
                </a:lnTo>
                <a:lnTo>
                  <a:pt x="10740" y="6209"/>
                </a:lnTo>
                <a:lnTo>
                  <a:pt x="10738" y="6217"/>
                </a:lnTo>
                <a:lnTo>
                  <a:pt x="10735" y="6224"/>
                </a:lnTo>
                <a:lnTo>
                  <a:pt x="10731" y="6231"/>
                </a:lnTo>
                <a:lnTo>
                  <a:pt x="10727" y="6239"/>
                </a:lnTo>
                <a:lnTo>
                  <a:pt x="10723" y="6245"/>
                </a:lnTo>
                <a:lnTo>
                  <a:pt x="10718" y="6250"/>
                </a:lnTo>
                <a:lnTo>
                  <a:pt x="10712" y="6254"/>
                </a:lnTo>
                <a:lnTo>
                  <a:pt x="10705" y="6258"/>
                </a:lnTo>
                <a:lnTo>
                  <a:pt x="10698" y="6261"/>
                </a:lnTo>
                <a:lnTo>
                  <a:pt x="10690" y="6263"/>
                </a:lnTo>
                <a:lnTo>
                  <a:pt x="10682" y="6264"/>
                </a:lnTo>
                <a:lnTo>
                  <a:pt x="10673" y="6264"/>
                </a:lnTo>
                <a:lnTo>
                  <a:pt x="10663" y="6262"/>
                </a:lnTo>
                <a:lnTo>
                  <a:pt x="10652" y="6259"/>
                </a:lnTo>
                <a:lnTo>
                  <a:pt x="10649" y="6217"/>
                </a:lnTo>
                <a:lnTo>
                  <a:pt x="10644" y="6172"/>
                </a:lnTo>
                <a:lnTo>
                  <a:pt x="10644" y="6162"/>
                </a:lnTo>
                <a:lnTo>
                  <a:pt x="10646" y="6153"/>
                </a:lnTo>
                <a:lnTo>
                  <a:pt x="10649" y="6144"/>
                </a:lnTo>
                <a:lnTo>
                  <a:pt x="10653" y="6137"/>
                </a:lnTo>
                <a:lnTo>
                  <a:pt x="10655" y="6134"/>
                </a:lnTo>
                <a:lnTo>
                  <a:pt x="10658" y="6131"/>
                </a:lnTo>
                <a:lnTo>
                  <a:pt x="10661" y="6128"/>
                </a:lnTo>
                <a:lnTo>
                  <a:pt x="10665" y="6126"/>
                </a:lnTo>
                <a:lnTo>
                  <a:pt x="10669" y="6124"/>
                </a:lnTo>
                <a:lnTo>
                  <a:pt x="10673" y="6123"/>
                </a:lnTo>
                <a:lnTo>
                  <a:pt x="10678" y="6122"/>
                </a:lnTo>
                <a:lnTo>
                  <a:pt x="10684" y="6122"/>
                </a:lnTo>
                <a:close/>
                <a:moveTo>
                  <a:pt x="10663" y="5973"/>
                </a:moveTo>
                <a:lnTo>
                  <a:pt x="10680" y="5980"/>
                </a:lnTo>
                <a:lnTo>
                  <a:pt x="10694" y="5984"/>
                </a:lnTo>
                <a:lnTo>
                  <a:pt x="10700" y="5986"/>
                </a:lnTo>
                <a:lnTo>
                  <a:pt x="10706" y="5986"/>
                </a:lnTo>
                <a:lnTo>
                  <a:pt x="10711" y="5986"/>
                </a:lnTo>
                <a:lnTo>
                  <a:pt x="10715" y="5984"/>
                </a:lnTo>
                <a:lnTo>
                  <a:pt x="10719" y="5982"/>
                </a:lnTo>
                <a:lnTo>
                  <a:pt x="10722" y="5980"/>
                </a:lnTo>
                <a:lnTo>
                  <a:pt x="10724" y="5977"/>
                </a:lnTo>
                <a:lnTo>
                  <a:pt x="10726" y="5973"/>
                </a:lnTo>
                <a:lnTo>
                  <a:pt x="10727" y="5969"/>
                </a:lnTo>
                <a:lnTo>
                  <a:pt x="10727" y="5964"/>
                </a:lnTo>
                <a:lnTo>
                  <a:pt x="10727" y="5958"/>
                </a:lnTo>
                <a:lnTo>
                  <a:pt x="10726" y="5952"/>
                </a:lnTo>
                <a:lnTo>
                  <a:pt x="10736" y="5956"/>
                </a:lnTo>
                <a:lnTo>
                  <a:pt x="10744" y="5961"/>
                </a:lnTo>
                <a:lnTo>
                  <a:pt x="10746" y="5964"/>
                </a:lnTo>
                <a:lnTo>
                  <a:pt x="10748" y="5966"/>
                </a:lnTo>
                <a:lnTo>
                  <a:pt x="10750" y="5969"/>
                </a:lnTo>
                <a:lnTo>
                  <a:pt x="10751" y="5972"/>
                </a:lnTo>
                <a:lnTo>
                  <a:pt x="10752" y="5978"/>
                </a:lnTo>
                <a:lnTo>
                  <a:pt x="10750" y="5986"/>
                </a:lnTo>
                <a:lnTo>
                  <a:pt x="10748" y="5993"/>
                </a:lnTo>
                <a:lnTo>
                  <a:pt x="10744" y="6000"/>
                </a:lnTo>
                <a:lnTo>
                  <a:pt x="10734" y="6016"/>
                </a:lnTo>
                <a:lnTo>
                  <a:pt x="10722" y="6033"/>
                </a:lnTo>
                <a:lnTo>
                  <a:pt x="10717" y="6042"/>
                </a:lnTo>
                <a:lnTo>
                  <a:pt x="10712" y="6051"/>
                </a:lnTo>
                <a:lnTo>
                  <a:pt x="10708" y="6060"/>
                </a:lnTo>
                <a:lnTo>
                  <a:pt x="10705" y="6069"/>
                </a:lnTo>
                <a:lnTo>
                  <a:pt x="10694" y="6057"/>
                </a:lnTo>
                <a:lnTo>
                  <a:pt x="10687" y="6047"/>
                </a:lnTo>
                <a:lnTo>
                  <a:pt x="10682" y="6038"/>
                </a:lnTo>
                <a:lnTo>
                  <a:pt x="10679" y="6028"/>
                </a:lnTo>
                <a:lnTo>
                  <a:pt x="10673" y="6006"/>
                </a:lnTo>
                <a:lnTo>
                  <a:pt x="10663" y="5973"/>
                </a:lnTo>
                <a:close/>
                <a:moveTo>
                  <a:pt x="10768" y="6503"/>
                </a:moveTo>
                <a:lnTo>
                  <a:pt x="10768" y="6495"/>
                </a:lnTo>
                <a:lnTo>
                  <a:pt x="10768" y="6486"/>
                </a:lnTo>
                <a:lnTo>
                  <a:pt x="10768" y="6478"/>
                </a:lnTo>
                <a:lnTo>
                  <a:pt x="10768" y="6470"/>
                </a:lnTo>
                <a:lnTo>
                  <a:pt x="10776" y="6473"/>
                </a:lnTo>
                <a:lnTo>
                  <a:pt x="10784" y="6477"/>
                </a:lnTo>
                <a:lnTo>
                  <a:pt x="10792" y="6483"/>
                </a:lnTo>
                <a:lnTo>
                  <a:pt x="10801" y="6491"/>
                </a:lnTo>
                <a:lnTo>
                  <a:pt x="10810" y="6500"/>
                </a:lnTo>
                <a:lnTo>
                  <a:pt x="10819" y="6510"/>
                </a:lnTo>
                <a:lnTo>
                  <a:pt x="10828" y="6521"/>
                </a:lnTo>
                <a:lnTo>
                  <a:pt x="10837" y="6533"/>
                </a:lnTo>
                <a:lnTo>
                  <a:pt x="10855" y="6560"/>
                </a:lnTo>
                <a:lnTo>
                  <a:pt x="10874" y="6591"/>
                </a:lnTo>
                <a:lnTo>
                  <a:pt x="10892" y="6624"/>
                </a:lnTo>
                <a:lnTo>
                  <a:pt x="10910" y="6658"/>
                </a:lnTo>
                <a:lnTo>
                  <a:pt x="10926" y="6692"/>
                </a:lnTo>
                <a:lnTo>
                  <a:pt x="10940" y="6726"/>
                </a:lnTo>
                <a:lnTo>
                  <a:pt x="10953" y="6760"/>
                </a:lnTo>
                <a:lnTo>
                  <a:pt x="10964" y="6792"/>
                </a:lnTo>
                <a:lnTo>
                  <a:pt x="10972" y="6820"/>
                </a:lnTo>
                <a:lnTo>
                  <a:pt x="10978" y="6846"/>
                </a:lnTo>
                <a:lnTo>
                  <a:pt x="10980" y="6857"/>
                </a:lnTo>
                <a:lnTo>
                  <a:pt x="10981" y="6868"/>
                </a:lnTo>
                <a:lnTo>
                  <a:pt x="10981" y="6877"/>
                </a:lnTo>
                <a:lnTo>
                  <a:pt x="10980" y="6884"/>
                </a:lnTo>
                <a:lnTo>
                  <a:pt x="11002" y="6884"/>
                </a:lnTo>
                <a:lnTo>
                  <a:pt x="11024" y="6883"/>
                </a:lnTo>
                <a:lnTo>
                  <a:pt x="11047" y="6881"/>
                </a:lnTo>
                <a:lnTo>
                  <a:pt x="11067" y="6880"/>
                </a:lnTo>
                <a:lnTo>
                  <a:pt x="11087" y="6880"/>
                </a:lnTo>
                <a:lnTo>
                  <a:pt x="11105" y="6880"/>
                </a:lnTo>
                <a:lnTo>
                  <a:pt x="11123" y="6881"/>
                </a:lnTo>
                <a:lnTo>
                  <a:pt x="11138" y="6884"/>
                </a:lnTo>
                <a:lnTo>
                  <a:pt x="11139" y="6890"/>
                </a:lnTo>
                <a:lnTo>
                  <a:pt x="11140" y="6896"/>
                </a:lnTo>
                <a:lnTo>
                  <a:pt x="11142" y="6902"/>
                </a:lnTo>
                <a:lnTo>
                  <a:pt x="11144" y="6907"/>
                </a:lnTo>
                <a:lnTo>
                  <a:pt x="11147" y="6912"/>
                </a:lnTo>
                <a:lnTo>
                  <a:pt x="11150" y="6917"/>
                </a:lnTo>
                <a:lnTo>
                  <a:pt x="11156" y="6922"/>
                </a:lnTo>
                <a:lnTo>
                  <a:pt x="11160" y="6926"/>
                </a:lnTo>
                <a:lnTo>
                  <a:pt x="11171" y="6934"/>
                </a:lnTo>
                <a:lnTo>
                  <a:pt x="11183" y="6941"/>
                </a:lnTo>
                <a:lnTo>
                  <a:pt x="11196" y="6947"/>
                </a:lnTo>
                <a:lnTo>
                  <a:pt x="11210" y="6952"/>
                </a:lnTo>
                <a:lnTo>
                  <a:pt x="11225" y="6957"/>
                </a:lnTo>
                <a:lnTo>
                  <a:pt x="11241" y="6961"/>
                </a:lnTo>
                <a:lnTo>
                  <a:pt x="11256" y="6964"/>
                </a:lnTo>
                <a:lnTo>
                  <a:pt x="11271" y="6966"/>
                </a:lnTo>
                <a:lnTo>
                  <a:pt x="11301" y="6970"/>
                </a:lnTo>
                <a:lnTo>
                  <a:pt x="11326" y="6971"/>
                </a:lnTo>
                <a:lnTo>
                  <a:pt x="11343" y="6972"/>
                </a:lnTo>
                <a:lnTo>
                  <a:pt x="11363" y="6972"/>
                </a:lnTo>
                <a:lnTo>
                  <a:pt x="11385" y="6972"/>
                </a:lnTo>
                <a:lnTo>
                  <a:pt x="11411" y="6970"/>
                </a:lnTo>
                <a:lnTo>
                  <a:pt x="11436" y="6968"/>
                </a:lnTo>
                <a:lnTo>
                  <a:pt x="11463" y="6965"/>
                </a:lnTo>
                <a:lnTo>
                  <a:pt x="11490" y="6961"/>
                </a:lnTo>
                <a:lnTo>
                  <a:pt x="11516" y="6955"/>
                </a:lnTo>
                <a:lnTo>
                  <a:pt x="11543" y="6948"/>
                </a:lnTo>
                <a:lnTo>
                  <a:pt x="11567" y="6940"/>
                </a:lnTo>
                <a:lnTo>
                  <a:pt x="11578" y="6935"/>
                </a:lnTo>
                <a:lnTo>
                  <a:pt x="11588" y="6930"/>
                </a:lnTo>
                <a:lnTo>
                  <a:pt x="11598" y="6924"/>
                </a:lnTo>
                <a:lnTo>
                  <a:pt x="11608" y="6918"/>
                </a:lnTo>
                <a:lnTo>
                  <a:pt x="11616" y="6912"/>
                </a:lnTo>
                <a:lnTo>
                  <a:pt x="11624" y="6905"/>
                </a:lnTo>
                <a:lnTo>
                  <a:pt x="11630" y="6898"/>
                </a:lnTo>
                <a:lnTo>
                  <a:pt x="11636" y="6890"/>
                </a:lnTo>
                <a:lnTo>
                  <a:pt x="11640" y="6881"/>
                </a:lnTo>
                <a:lnTo>
                  <a:pt x="11643" y="6872"/>
                </a:lnTo>
                <a:lnTo>
                  <a:pt x="11645" y="6861"/>
                </a:lnTo>
                <a:lnTo>
                  <a:pt x="11646" y="6851"/>
                </a:lnTo>
                <a:lnTo>
                  <a:pt x="11659" y="6852"/>
                </a:lnTo>
                <a:lnTo>
                  <a:pt x="11670" y="6853"/>
                </a:lnTo>
                <a:lnTo>
                  <a:pt x="11681" y="6856"/>
                </a:lnTo>
                <a:lnTo>
                  <a:pt x="11691" y="6859"/>
                </a:lnTo>
                <a:lnTo>
                  <a:pt x="11701" y="6864"/>
                </a:lnTo>
                <a:lnTo>
                  <a:pt x="11711" y="6870"/>
                </a:lnTo>
                <a:lnTo>
                  <a:pt x="11719" y="6876"/>
                </a:lnTo>
                <a:lnTo>
                  <a:pt x="11727" y="6883"/>
                </a:lnTo>
                <a:lnTo>
                  <a:pt x="11734" y="6891"/>
                </a:lnTo>
                <a:lnTo>
                  <a:pt x="11741" y="6900"/>
                </a:lnTo>
                <a:lnTo>
                  <a:pt x="11746" y="6909"/>
                </a:lnTo>
                <a:lnTo>
                  <a:pt x="11750" y="6920"/>
                </a:lnTo>
                <a:lnTo>
                  <a:pt x="11752" y="6931"/>
                </a:lnTo>
                <a:lnTo>
                  <a:pt x="11754" y="6942"/>
                </a:lnTo>
                <a:lnTo>
                  <a:pt x="11754" y="6955"/>
                </a:lnTo>
                <a:lnTo>
                  <a:pt x="11752" y="6968"/>
                </a:lnTo>
                <a:lnTo>
                  <a:pt x="11795" y="6971"/>
                </a:lnTo>
                <a:lnTo>
                  <a:pt x="11860" y="6975"/>
                </a:lnTo>
                <a:lnTo>
                  <a:pt x="11898" y="6978"/>
                </a:lnTo>
                <a:lnTo>
                  <a:pt x="11939" y="6981"/>
                </a:lnTo>
                <a:lnTo>
                  <a:pt x="11981" y="6985"/>
                </a:lnTo>
                <a:lnTo>
                  <a:pt x="12023" y="6990"/>
                </a:lnTo>
                <a:lnTo>
                  <a:pt x="12065" y="6997"/>
                </a:lnTo>
                <a:lnTo>
                  <a:pt x="12103" y="7004"/>
                </a:lnTo>
                <a:lnTo>
                  <a:pt x="12121" y="7007"/>
                </a:lnTo>
                <a:lnTo>
                  <a:pt x="12137" y="7012"/>
                </a:lnTo>
                <a:lnTo>
                  <a:pt x="12153" y="7016"/>
                </a:lnTo>
                <a:lnTo>
                  <a:pt x="12168" y="7021"/>
                </a:lnTo>
                <a:lnTo>
                  <a:pt x="12181" y="7026"/>
                </a:lnTo>
                <a:lnTo>
                  <a:pt x="12193" y="7032"/>
                </a:lnTo>
                <a:lnTo>
                  <a:pt x="12202" y="7038"/>
                </a:lnTo>
                <a:lnTo>
                  <a:pt x="12210" y="7044"/>
                </a:lnTo>
                <a:lnTo>
                  <a:pt x="12215" y="7051"/>
                </a:lnTo>
                <a:lnTo>
                  <a:pt x="12218" y="7058"/>
                </a:lnTo>
                <a:lnTo>
                  <a:pt x="12219" y="7066"/>
                </a:lnTo>
                <a:lnTo>
                  <a:pt x="12218" y="7074"/>
                </a:lnTo>
                <a:lnTo>
                  <a:pt x="12223" y="7074"/>
                </a:lnTo>
                <a:lnTo>
                  <a:pt x="12229" y="7075"/>
                </a:lnTo>
                <a:lnTo>
                  <a:pt x="12234" y="7076"/>
                </a:lnTo>
                <a:lnTo>
                  <a:pt x="12239" y="7078"/>
                </a:lnTo>
                <a:lnTo>
                  <a:pt x="12248" y="7083"/>
                </a:lnTo>
                <a:lnTo>
                  <a:pt x="12257" y="7090"/>
                </a:lnTo>
                <a:lnTo>
                  <a:pt x="12265" y="7098"/>
                </a:lnTo>
                <a:lnTo>
                  <a:pt x="12272" y="7107"/>
                </a:lnTo>
                <a:lnTo>
                  <a:pt x="12280" y="7117"/>
                </a:lnTo>
                <a:lnTo>
                  <a:pt x="12288" y="7127"/>
                </a:lnTo>
                <a:lnTo>
                  <a:pt x="12295" y="7137"/>
                </a:lnTo>
                <a:lnTo>
                  <a:pt x="12302" y="7147"/>
                </a:lnTo>
                <a:lnTo>
                  <a:pt x="12310" y="7156"/>
                </a:lnTo>
                <a:lnTo>
                  <a:pt x="12318" y="7164"/>
                </a:lnTo>
                <a:lnTo>
                  <a:pt x="12326" y="7170"/>
                </a:lnTo>
                <a:lnTo>
                  <a:pt x="12335" y="7176"/>
                </a:lnTo>
                <a:lnTo>
                  <a:pt x="12340" y="7177"/>
                </a:lnTo>
                <a:lnTo>
                  <a:pt x="12345" y="7179"/>
                </a:lnTo>
                <a:lnTo>
                  <a:pt x="12350" y="7180"/>
                </a:lnTo>
                <a:lnTo>
                  <a:pt x="12356" y="7180"/>
                </a:lnTo>
                <a:lnTo>
                  <a:pt x="12355" y="7187"/>
                </a:lnTo>
                <a:lnTo>
                  <a:pt x="12354" y="7195"/>
                </a:lnTo>
                <a:lnTo>
                  <a:pt x="12355" y="7203"/>
                </a:lnTo>
                <a:lnTo>
                  <a:pt x="12355" y="7212"/>
                </a:lnTo>
                <a:lnTo>
                  <a:pt x="12358" y="7231"/>
                </a:lnTo>
                <a:lnTo>
                  <a:pt x="12363" y="7253"/>
                </a:lnTo>
                <a:lnTo>
                  <a:pt x="12369" y="7274"/>
                </a:lnTo>
                <a:lnTo>
                  <a:pt x="12377" y="7296"/>
                </a:lnTo>
                <a:lnTo>
                  <a:pt x="12386" y="7318"/>
                </a:lnTo>
                <a:lnTo>
                  <a:pt x="12395" y="7339"/>
                </a:lnTo>
                <a:lnTo>
                  <a:pt x="12406" y="7360"/>
                </a:lnTo>
                <a:lnTo>
                  <a:pt x="12419" y="7381"/>
                </a:lnTo>
                <a:lnTo>
                  <a:pt x="12431" y="7398"/>
                </a:lnTo>
                <a:lnTo>
                  <a:pt x="12443" y="7414"/>
                </a:lnTo>
                <a:lnTo>
                  <a:pt x="12450" y="7420"/>
                </a:lnTo>
                <a:lnTo>
                  <a:pt x="12456" y="7426"/>
                </a:lnTo>
                <a:lnTo>
                  <a:pt x="12462" y="7432"/>
                </a:lnTo>
                <a:lnTo>
                  <a:pt x="12468" y="7436"/>
                </a:lnTo>
                <a:lnTo>
                  <a:pt x="12475" y="7440"/>
                </a:lnTo>
                <a:lnTo>
                  <a:pt x="12481" y="7442"/>
                </a:lnTo>
                <a:lnTo>
                  <a:pt x="12487" y="7444"/>
                </a:lnTo>
                <a:lnTo>
                  <a:pt x="12493" y="7444"/>
                </a:lnTo>
                <a:lnTo>
                  <a:pt x="12494" y="7457"/>
                </a:lnTo>
                <a:lnTo>
                  <a:pt x="12495" y="7470"/>
                </a:lnTo>
                <a:lnTo>
                  <a:pt x="12497" y="7485"/>
                </a:lnTo>
                <a:lnTo>
                  <a:pt x="12500" y="7501"/>
                </a:lnTo>
                <a:lnTo>
                  <a:pt x="12504" y="7516"/>
                </a:lnTo>
                <a:lnTo>
                  <a:pt x="12508" y="7532"/>
                </a:lnTo>
                <a:lnTo>
                  <a:pt x="12514" y="7548"/>
                </a:lnTo>
                <a:lnTo>
                  <a:pt x="12520" y="7564"/>
                </a:lnTo>
                <a:lnTo>
                  <a:pt x="12526" y="7579"/>
                </a:lnTo>
                <a:lnTo>
                  <a:pt x="12533" y="7595"/>
                </a:lnTo>
                <a:lnTo>
                  <a:pt x="12542" y="7609"/>
                </a:lnTo>
                <a:lnTo>
                  <a:pt x="12551" y="7624"/>
                </a:lnTo>
                <a:lnTo>
                  <a:pt x="12559" y="7637"/>
                </a:lnTo>
                <a:lnTo>
                  <a:pt x="12569" y="7648"/>
                </a:lnTo>
                <a:lnTo>
                  <a:pt x="12579" y="7658"/>
                </a:lnTo>
                <a:lnTo>
                  <a:pt x="12589" y="7667"/>
                </a:lnTo>
                <a:lnTo>
                  <a:pt x="12595" y="7685"/>
                </a:lnTo>
                <a:lnTo>
                  <a:pt x="12603" y="7705"/>
                </a:lnTo>
                <a:lnTo>
                  <a:pt x="12612" y="7726"/>
                </a:lnTo>
                <a:lnTo>
                  <a:pt x="12623" y="7750"/>
                </a:lnTo>
                <a:lnTo>
                  <a:pt x="12634" y="7774"/>
                </a:lnTo>
                <a:lnTo>
                  <a:pt x="12647" y="7799"/>
                </a:lnTo>
                <a:lnTo>
                  <a:pt x="12661" y="7824"/>
                </a:lnTo>
                <a:lnTo>
                  <a:pt x="12676" y="7849"/>
                </a:lnTo>
                <a:lnTo>
                  <a:pt x="12692" y="7873"/>
                </a:lnTo>
                <a:lnTo>
                  <a:pt x="12708" y="7898"/>
                </a:lnTo>
                <a:lnTo>
                  <a:pt x="12724" y="7920"/>
                </a:lnTo>
                <a:lnTo>
                  <a:pt x="12741" y="7941"/>
                </a:lnTo>
                <a:lnTo>
                  <a:pt x="12758" y="7961"/>
                </a:lnTo>
                <a:lnTo>
                  <a:pt x="12775" y="7978"/>
                </a:lnTo>
                <a:lnTo>
                  <a:pt x="12784" y="7986"/>
                </a:lnTo>
                <a:lnTo>
                  <a:pt x="12794" y="7993"/>
                </a:lnTo>
                <a:lnTo>
                  <a:pt x="12802" y="7999"/>
                </a:lnTo>
                <a:lnTo>
                  <a:pt x="12811" y="8006"/>
                </a:lnTo>
                <a:lnTo>
                  <a:pt x="12808" y="8013"/>
                </a:lnTo>
                <a:lnTo>
                  <a:pt x="12805" y="8020"/>
                </a:lnTo>
                <a:lnTo>
                  <a:pt x="12803" y="8026"/>
                </a:lnTo>
                <a:lnTo>
                  <a:pt x="12802" y="8033"/>
                </a:lnTo>
                <a:lnTo>
                  <a:pt x="12802" y="8040"/>
                </a:lnTo>
                <a:lnTo>
                  <a:pt x="12802" y="8046"/>
                </a:lnTo>
                <a:lnTo>
                  <a:pt x="12803" y="8053"/>
                </a:lnTo>
                <a:lnTo>
                  <a:pt x="12804" y="8060"/>
                </a:lnTo>
                <a:lnTo>
                  <a:pt x="12808" y="8073"/>
                </a:lnTo>
                <a:lnTo>
                  <a:pt x="12814" y="8085"/>
                </a:lnTo>
                <a:lnTo>
                  <a:pt x="12821" y="8098"/>
                </a:lnTo>
                <a:lnTo>
                  <a:pt x="12829" y="8111"/>
                </a:lnTo>
                <a:lnTo>
                  <a:pt x="12847" y="8137"/>
                </a:lnTo>
                <a:lnTo>
                  <a:pt x="12866" y="8163"/>
                </a:lnTo>
                <a:lnTo>
                  <a:pt x="12875" y="8176"/>
                </a:lnTo>
                <a:lnTo>
                  <a:pt x="12883" y="8189"/>
                </a:lnTo>
                <a:lnTo>
                  <a:pt x="12890" y="8203"/>
                </a:lnTo>
                <a:lnTo>
                  <a:pt x="12895" y="8217"/>
                </a:lnTo>
                <a:lnTo>
                  <a:pt x="12894" y="8221"/>
                </a:lnTo>
                <a:lnTo>
                  <a:pt x="12896" y="8234"/>
                </a:lnTo>
                <a:lnTo>
                  <a:pt x="12901" y="8252"/>
                </a:lnTo>
                <a:lnTo>
                  <a:pt x="12907" y="8275"/>
                </a:lnTo>
                <a:lnTo>
                  <a:pt x="12917" y="8297"/>
                </a:lnTo>
                <a:lnTo>
                  <a:pt x="12926" y="8317"/>
                </a:lnTo>
                <a:lnTo>
                  <a:pt x="12932" y="8326"/>
                </a:lnTo>
                <a:lnTo>
                  <a:pt x="12937" y="8334"/>
                </a:lnTo>
                <a:lnTo>
                  <a:pt x="12943" y="8340"/>
                </a:lnTo>
                <a:lnTo>
                  <a:pt x="12948" y="8344"/>
                </a:lnTo>
                <a:lnTo>
                  <a:pt x="12949" y="8351"/>
                </a:lnTo>
                <a:lnTo>
                  <a:pt x="12950" y="8360"/>
                </a:lnTo>
                <a:lnTo>
                  <a:pt x="12952" y="8370"/>
                </a:lnTo>
                <a:lnTo>
                  <a:pt x="12955" y="8382"/>
                </a:lnTo>
                <a:lnTo>
                  <a:pt x="12963" y="8407"/>
                </a:lnTo>
                <a:lnTo>
                  <a:pt x="12974" y="8435"/>
                </a:lnTo>
                <a:lnTo>
                  <a:pt x="12987" y="8466"/>
                </a:lnTo>
                <a:lnTo>
                  <a:pt x="13002" y="8497"/>
                </a:lnTo>
                <a:lnTo>
                  <a:pt x="13019" y="8531"/>
                </a:lnTo>
                <a:lnTo>
                  <a:pt x="13037" y="8563"/>
                </a:lnTo>
                <a:lnTo>
                  <a:pt x="13057" y="8594"/>
                </a:lnTo>
                <a:lnTo>
                  <a:pt x="13077" y="8624"/>
                </a:lnTo>
                <a:lnTo>
                  <a:pt x="13097" y="8652"/>
                </a:lnTo>
                <a:lnTo>
                  <a:pt x="13117" y="8676"/>
                </a:lnTo>
                <a:lnTo>
                  <a:pt x="13127" y="8687"/>
                </a:lnTo>
                <a:lnTo>
                  <a:pt x="13137" y="8696"/>
                </a:lnTo>
                <a:lnTo>
                  <a:pt x="13147" y="8705"/>
                </a:lnTo>
                <a:lnTo>
                  <a:pt x="13156" y="8712"/>
                </a:lnTo>
                <a:lnTo>
                  <a:pt x="13165" y="8717"/>
                </a:lnTo>
                <a:lnTo>
                  <a:pt x="13175" y="8721"/>
                </a:lnTo>
                <a:lnTo>
                  <a:pt x="13184" y="8724"/>
                </a:lnTo>
                <a:lnTo>
                  <a:pt x="13192" y="8725"/>
                </a:lnTo>
                <a:lnTo>
                  <a:pt x="13192" y="8731"/>
                </a:lnTo>
                <a:lnTo>
                  <a:pt x="13190" y="8738"/>
                </a:lnTo>
                <a:lnTo>
                  <a:pt x="13187" y="8744"/>
                </a:lnTo>
                <a:lnTo>
                  <a:pt x="13183" y="8749"/>
                </a:lnTo>
                <a:lnTo>
                  <a:pt x="13175" y="8760"/>
                </a:lnTo>
                <a:lnTo>
                  <a:pt x="13168" y="8768"/>
                </a:lnTo>
                <a:lnTo>
                  <a:pt x="13165" y="8771"/>
                </a:lnTo>
                <a:lnTo>
                  <a:pt x="13165" y="8774"/>
                </a:lnTo>
                <a:lnTo>
                  <a:pt x="13168" y="8777"/>
                </a:lnTo>
                <a:lnTo>
                  <a:pt x="13172" y="8780"/>
                </a:lnTo>
                <a:lnTo>
                  <a:pt x="13179" y="8782"/>
                </a:lnTo>
                <a:lnTo>
                  <a:pt x="13190" y="8784"/>
                </a:lnTo>
                <a:lnTo>
                  <a:pt x="13205" y="8786"/>
                </a:lnTo>
                <a:lnTo>
                  <a:pt x="13223" y="8788"/>
                </a:lnTo>
                <a:lnTo>
                  <a:pt x="13248" y="8788"/>
                </a:lnTo>
                <a:lnTo>
                  <a:pt x="13287" y="8785"/>
                </a:lnTo>
                <a:lnTo>
                  <a:pt x="13307" y="8782"/>
                </a:lnTo>
                <a:lnTo>
                  <a:pt x="13324" y="8779"/>
                </a:lnTo>
                <a:lnTo>
                  <a:pt x="13331" y="8777"/>
                </a:lnTo>
                <a:lnTo>
                  <a:pt x="13336" y="8774"/>
                </a:lnTo>
                <a:lnTo>
                  <a:pt x="13339" y="8771"/>
                </a:lnTo>
                <a:lnTo>
                  <a:pt x="13340" y="8768"/>
                </a:lnTo>
                <a:lnTo>
                  <a:pt x="13376" y="8767"/>
                </a:lnTo>
                <a:lnTo>
                  <a:pt x="13413" y="8765"/>
                </a:lnTo>
                <a:lnTo>
                  <a:pt x="13454" y="8762"/>
                </a:lnTo>
                <a:lnTo>
                  <a:pt x="13494" y="8758"/>
                </a:lnTo>
                <a:lnTo>
                  <a:pt x="13534" y="8751"/>
                </a:lnTo>
                <a:lnTo>
                  <a:pt x="13574" y="8744"/>
                </a:lnTo>
                <a:lnTo>
                  <a:pt x="13593" y="8739"/>
                </a:lnTo>
                <a:lnTo>
                  <a:pt x="13612" y="8735"/>
                </a:lnTo>
                <a:lnTo>
                  <a:pt x="13629" y="8730"/>
                </a:lnTo>
                <a:lnTo>
                  <a:pt x="13647" y="8725"/>
                </a:lnTo>
                <a:lnTo>
                  <a:pt x="13646" y="8737"/>
                </a:lnTo>
                <a:lnTo>
                  <a:pt x="13645" y="8750"/>
                </a:lnTo>
                <a:lnTo>
                  <a:pt x="13644" y="8762"/>
                </a:lnTo>
                <a:lnTo>
                  <a:pt x="13642" y="8774"/>
                </a:lnTo>
                <a:lnTo>
                  <a:pt x="13636" y="8796"/>
                </a:lnTo>
                <a:lnTo>
                  <a:pt x="13629" y="8818"/>
                </a:lnTo>
                <a:lnTo>
                  <a:pt x="13621" y="8839"/>
                </a:lnTo>
                <a:lnTo>
                  <a:pt x="13612" y="8859"/>
                </a:lnTo>
                <a:lnTo>
                  <a:pt x="13602" y="8880"/>
                </a:lnTo>
                <a:lnTo>
                  <a:pt x="13592" y="8900"/>
                </a:lnTo>
                <a:lnTo>
                  <a:pt x="13583" y="8920"/>
                </a:lnTo>
                <a:lnTo>
                  <a:pt x="13574" y="8940"/>
                </a:lnTo>
                <a:lnTo>
                  <a:pt x="13566" y="8961"/>
                </a:lnTo>
                <a:lnTo>
                  <a:pt x="13559" y="8981"/>
                </a:lnTo>
                <a:lnTo>
                  <a:pt x="13556" y="8992"/>
                </a:lnTo>
                <a:lnTo>
                  <a:pt x="13554" y="9003"/>
                </a:lnTo>
                <a:lnTo>
                  <a:pt x="13552" y="9015"/>
                </a:lnTo>
                <a:lnTo>
                  <a:pt x="13551" y="9026"/>
                </a:lnTo>
                <a:lnTo>
                  <a:pt x="13550" y="9038"/>
                </a:lnTo>
                <a:lnTo>
                  <a:pt x="13550" y="9050"/>
                </a:lnTo>
                <a:lnTo>
                  <a:pt x="13551" y="9062"/>
                </a:lnTo>
                <a:lnTo>
                  <a:pt x="13552" y="9074"/>
                </a:lnTo>
                <a:lnTo>
                  <a:pt x="13538" y="9075"/>
                </a:lnTo>
                <a:lnTo>
                  <a:pt x="13528" y="9078"/>
                </a:lnTo>
                <a:lnTo>
                  <a:pt x="13523" y="9080"/>
                </a:lnTo>
                <a:lnTo>
                  <a:pt x="13519" y="9082"/>
                </a:lnTo>
                <a:lnTo>
                  <a:pt x="13516" y="9084"/>
                </a:lnTo>
                <a:lnTo>
                  <a:pt x="13513" y="9087"/>
                </a:lnTo>
                <a:lnTo>
                  <a:pt x="13508" y="9093"/>
                </a:lnTo>
                <a:lnTo>
                  <a:pt x="13504" y="9100"/>
                </a:lnTo>
                <a:lnTo>
                  <a:pt x="13503" y="9108"/>
                </a:lnTo>
                <a:lnTo>
                  <a:pt x="13502" y="9117"/>
                </a:lnTo>
                <a:lnTo>
                  <a:pt x="13505" y="9152"/>
                </a:lnTo>
                <a:lnTo>
                  <a:pt x="13509" y="9180"/>
                </a:lnTo>
                <a:lnTo>
                  <a:pt x="13500" y="9186"/>
                </a:lnTo>
                <a:lnTo>
                  <a:pt x="13492" y="9193"/>
                </a:lnTo>
                <a:lnTo>
                  <a:pt x="13485" y="9199"/>
                </a:lnTo>
                <a:lnTo>
                  <a:pt x="13478" y="9207"/>
                </a:lnTo>
                <a:lnTo>
                  <a:pt x="13466" y="9222"/>
                </a:lnTo>
                <a:lnTo>
                  <a:pt x="13455" y="9238"/>
                </a:lnTo>
                <a:lnTo>
                  <a:pt x="13443" y="9254"/>
                </a:lnTo>
                <a:lnTo>
                  <a:pt x="13430" y="9270"/>
                </a:lnTo>
                <a:lnTo>
                  <a:pt x="13422" y="9278"/>
                </a:lnTo>
                <a:lnTo>
                  <a:pt x="13413" y="9284"/>
                </a:lnTo>
                <a:lnTo>
                  <a:pt x="13403" y="9291"/>
                </a:lnTo>
                <a:lnTo>
                  <a:pt x="13393" y="9297"/>
                </a:lnTo>
                <a:lnTo>
                  <a:pt x="13392" y="9302"/>
                </a:lnTo>
                <a:lnTo>
                  <a:pt x="13391" y="9309"/>
                </a:lnTo>
                <a:lnTo>
                  <a:pt x="13389" y="9315"/>
                </a:lnTo>
                <a:lnTo>
                  <a:pt x="13387" y="9321"/>
                </a:lnTo>
                <a:lnTo>
                  <a:pt x="13380" y="9335"/>
                </a:lnTo>
                <a:lnTo>
                  <a:pt x="13371" y="9348"/>
                </a:lnTo>
                <a:lnTo>
                  <a:pt x="13360" y="9363"/>
                </a:lnTo>
                <a:lnTo>
                  <a:pt x="13347" y="9377"/>
                </a:lnTo>
                <a:lnTo>
                  <a:pt x="13334" y="9393"/>
                </a:lnTo>
                <a:lnTo>
                  <a:pt x="13319" y="9408"/>
                </a:lnTo>
                <a:lnTo>
                  <a:pt x="13289" y="9437"/>
                </a:lnTo>
                <a:lnTo>
                  <a:pt x="13260" y="9465"/>
                </a:lnTo>
                <a:lnTo>
                  <a:pt x="13246" y="9478"/>
                </a:lnTo>
                <a:lnTo>
                  <a:pt x="13234" y="9490"/>
                </a:lnTo>
                <a:lnTo>
                  <a:pt x="13224" y="9501"/>
                </a:lnTo>
                <a:lnTo>
                  <a:pt x="13215" y="9512"/>
                </a:lnTo>
                <a:lnTo>
                  <a:pt x="13206" y="9524"/>
                </a:lnTo>
                <a:lnTo>
                  <a:pt x="13194" y="9536"/>
                </a:lnTo>
                <a:lnTo>
                  <a:pt x="13181" y="9550"/>
                </a:lnTo>
                <a:lnTo>
                  <a:pt x="13166" y="9563"/>
                </a:lnTo>
                <a:lnTo>
                  <a:pt x="13136" y="9593"/>
                </a:lnTo>
                <a:lnTo>
                  <a:pt x="13104" y="9624"/>
                </a:lnTo>
                <a:lnTo>
                  <a:pt x="13088" y="9640"/>
                </a:lnTo>
                <a:lnTo>
                  <a:pt x="13073" y="9656"/>
                </a:lnTo>
                <a:lnTo>
                  <a:pt x="13059" y="9672"/>
                </a:lnTo>
                <a:lnTo>
                  <a:pt x="13047" y="9688"/>
                </a:lnTo>
                <a:lnTo>
                  <a:pt x="13034" y="9703"/>
                </a:lnTo>
                <a:lnTo>
                  <a:pt x="13025" y="9718"/>
                </a:lnTo>
                <a:lnTo>
                  <a:pt x="13021" y="9726"/>
                </a:lnTo>
                <a:lnTo>
                  <a:pt x="13018" y="9733"/>
                </a:lnTo>
                <a:lnTo>
                  <a:pt x="13015" y="9740"/>
                </a:lnTo>
                <a:lnTo>
                  <a:pt x="13013" y="9747"/>
                </a:lnTo>
                <a:lnTo>
                  <a:pt x="13011" y="9747"/>
                </a:lnTo>
                <a:lnTo>
                  <a:pt x="13008" y="9750"/>
                </a:lnTo>
                <a:lnTo>
                  <a:pt x="13004" y="9754"/>
                </a:lnTo>
                <a:lnTo>
                  <a:pt x="12992" y="9766"/>
                </a:lnTo>
                <a:lnTo>
                  <a:pt x="12977" y="9783"/>
                </a:lnTo>
                <a:lnTo>
                  <a:pt x="12939" y="9825"/>
                </a:lnTo>
                <a:lnTo>
                  <a:pt x="12896" y="9875"/>
                </a:lnTo>
                <a:lnTo>
                  <a:pt x="12876" y="9902"/>
                </a:lnTo>
                <a:lnTo>
                  <a:pt x="12857" y="9927"/>
                </a:lnTo>
                <a:lnTo>
                  <a:pt x="12840" y="9950"/>
                </a:lnTo>
                <a:lnTo>
                  <a:pt x="12827" y="9971"/>
                </a:lnTo>
                <a:lnTo>
                  <a:pt x="12822" y="9981"/>
                </a:lnTo>
                <a:lnTo>
                  <a:pt x="12818" y="9990"/>
                </a:lnTo>
                <a:lnTo>
                  <a:pt x="12815" y="9997"/>
                </a:lnTo>
                <a:lnTo>
                  <a:pt x="12813" y="10003"/>
                </a:lnTo>
                <a:lnTo>
                  <a:pt x="12813" y="10009"/>
                </a:lnTo>
                <a:lnTo>
                  <a:pt x="12814" y="10012"/>
                </a:lnTo>
                <a:lnTo>
                  <a:pt x="12817" y="10015"/>
                </a:lnTo>
                <a:lnTo>
                  <a:pt x="12822" y="10016"/>
                </a:lnTo>
                <a:lnTo>
                  <a:pt x="12819" y="10052"/>
                </a:lnTo>
                <a:lnTo>
                  <a:pt x="12812" y="10113"/>
                </a:lnTo>
                <a:lnTo>
                  <a:pt x="12808" y="10151"/>
                </a:lnTo>
                <a:lnTo>
                  <a:pt x="12804" y="10190"/>
                </a:lnTo>
                <a:lnTo>
                  <a:pt x="12800" y="10232"/>
                </a:lnTo>
                <a:lnTo>
                  <a:pt x="12797" y="10275"/>
                </a:lnTo>
                <a:lnTo>
                  <a:pt x="12796" y="10316"/>
                </a:lnTo>
                <a:lnTo>
                  <a:pt x="12795" y="10355"/>
                </a:lnTo>
                <a:lnTo>
                  <a:pt x="12796" y="10374"/>
                </a:lnTo>
                <a:lnTo>
                  <a:pt x="12797" y="10392"/>
                </a:lnTo>
                <a:lnTo>
                  <a:pt x="12798" y="10410"/>
                </a:lnTo>
                <a:lnTo>
                  <a:pt x="12800" y="10425"/>
                </a:lnTo>
                <a:lnTo>
                  <a:pt x="12803" y="10440"/>
                </a:lnTo>
                <a:lnTo>
                  <a:pt x="12806" y="10453"/>
                </a:lnTo>
                <a:lnTo>
                  <a:pt x="12810" y="10464"/>
                </a:lnTo>
                <a:lnTo>
                  <a:pt x="12815" y="10474"/>
                </a:lnTo>
                <a:lnTo>
                  <a:pt x="12821" y="10481"/>
                </a:lnTo>
                <a:lnTo>
                  <a:pt x="12827" y="10487"/>
                </a:lnTo>
                <a:lnTo>
                  <a:pt x="12834" y="10491"/>
                </a:lnTo>
                <a:lnTo>
                  <a:pt x="12843" y="10492"/>
                </a:lnTo>
                <a:lnTo>
                  <a:pt x="12846" y="10519"/>
                </a:lnTo>
                <a:lnTo>
                  <a:pt x="12854" y="10569"/>
                </a:lnTo>
                <a:lnTo>
                  <a:pt x="12865" y="10632"/>
                </a:lnTo>
                <a:lnTo>
                  <a:pt x="12876" y="10702"/>
                </a:lnTo>
                <a:lnTo>
                  <a:pt x="12881" y="10736"/>
                </a:lnTo>
                <a:lnTo>
                  <a:pt x="12885" y="10769"/>
                </a:lnTo>
                <a:lnTo>
                  <a:pt x="12888" y="10801"/>
                </a:lnTo>
                <a:lnTo>
                  <a:pt x="12889" y="10828"/>
                </a:lnTo>
                <a:lnTo>
                  <a:pt x="12889" y="10840"/>
                </a:lnTo>
                <a:lnTo>
                  <a:pt x="12889" y="10851"/>
                </a:lnTo>
                <a:lnTo>
                  <a:pt x="12888" y="10860"/>
                </a:lnTo>
                <a:lnTo>
                  <a:pt x="12886" y="10869"/>
                </a:lnTo>
                <a:lnTo>
                  <a:pt x="12884" y="10875"/>
                </a:lnTo>
                <a:lnTo>
                  <a:pt x="12881" y="10880"/>
                </a:lnTo>
                <a:lnTo>
                  <a:pt x="12878" y="10883"/>
                </a:lnTo>
                <a:lnTo>
                  <a:pt x="12874" y="10884"/>
                </a:lnTo>
                <a:lnTo>
                  <a:pt x="12873" y="10905"/>
                </a:lnTo>
                <a:lnTo>
                  <a:pt x="12871" y="10925"/>
                </a:lnTo>
                <a:lnTo>
                  <a:pt x="12867" y="10944"/>
                </a:lnTo>
                <a:lnTo>
                  <a:pt x="12862" y="10962"/>
                </a:lnTo>
                <a:lnTo>
                  <a:pt x="12857" y="10980"/>
                </a:lnTo>
                <a:lnTo>
                  <a:pt x="12851" y="10997"/>
                </a:lnTo>
                <a:lnTo>
                  <a:pt x="12844" y="11013"/>
                </a:lnTo>
                <a:lnTo>
                  <a:pt x="12837" y="11030"/>
                </a:lnTo>
                <a:lnTo>
                  <a:pt x="12824" y="11062"/>
                </a:lnTo>
                <a:lnTo>
                  <a:pt x="12812" y="11093"/>
                </a:lnTo>
                <a:lnTo>
                  <a:pt x="12807" y="11109"/>
                </a:lnTo>
                <a:lnTo>
                  <a:pt x="12804" y="11125"/>
                </a:lnTo>
                <a:lnTo>
                  <a:pt x="12801" y="11141"/>
                </a:lnTo>
                <a:lnTo>
                  <a:pt x="12801" y="11159"/>
                </a:lnTo>
                <a:lnTo>
                  <a:pt x="12771" y="11176"/>
                </a:lnTo>
                <a:lnTo>
                  <a:pt x="12740" y="11192"/>
                </a:lnTo>
                <a:lnTo>
                  <a:pt x="12726" y="11200"/>
                </a:lnTo>
                <a:lnTo>
                  <a:pt x="12714" y="11210"/>
                </a:lnTo>
                <a:lnTo>
                  <a:pt x="12708" y="11215"/>
                </a:lnTo>
                <a:lnTo>
                  <a:pt x="12703" y="11220"/>
                </a:lnTo>
                <a:lnTo>
                  <a:pt x="12698" y="11226"/>
                </a:lnTo>
                <a:lnTo>
                  <a:pt x="12694" y="11233"/>
                </a:lnTo>
                <a:lnTo>
                  <a:pt x="12689" y="11233"/>
                </a:lnTo>
                <a:lnTo>
                  <a:pt x="12683" y="11234"/>
                </a:lnTo>
                <a:lnTo>
                  <a:pt x="12677" y="11236"/>
                </a:lnTo>
                <a:lnTo>
                  <a:pt x="12672" y="11239"/>
                </a:lnTo>
                <a:lnTo>
                  <a:pt x="12661" y="11245"/>
                </a:lnTo>
                <a:lnTo>
                  <a:pt x="12651" y="11254"/>
                </a:lnTo>
                <a:lnTo>
                  <a:pt x="12642" y="11265"/>
                </a:lnTo>
                <a:lnTo>
                  <a:pt x="12634" y="11276"/>
                </a:lnTo>
                <a:lnTo>
                  <a:pt x="12626" y="11289"/>
                </a:lnTo>
                <a:lnTo>
                  <a:pt x="12618" y="11302"/>
                </a:lnTo>
                <a:lnTo>
                  <a:pt x="12604" y="11327"/>
                </a:lnTo>
                <a:lnTo>
                  <a:pt x="12591" y="11349"/>
                </a:lnTo>
                <a:lnTo>
                  <a:pt x="12585" y="11358"/>
                </a:lnTo>
                <a:lnTo>
                  <a:pt x="12579" y="11365"/>
                </a:lnTo>
                <a:lnTo>
                  <a:pt x="12576" y="11367"/>
                </a:lnTo>
                <a:lnTo>
                  <a:pt x="12573" y="11369"/>
                </a:lnTo>
                <a:lnTo>
                  <a:pt x="12571" y="11370"/>
                </a:lnTo>
                <a:lnTo>
                  <a:pt x="12568" y="11371"/>
                </a:lnTo>
                <a:lnTo>
                  <a:pt x="12567" y="11397"/>
                </a:lnTo>
                <a:lnTo>
                  <a:pt x="12566" y="11425"/>
                </a:lnTo>
                <a:lnTo>
                  <a:pt x="12564" y="11450"/>
                </a:lnTo>
                <a:lnTo>
                  <a:pt x="12561" y="11475"/>
                </a:lnTo>
                <a:lnTo>
                  <a:pt x="12554" y="11525"/>
                </a:lnTo>
                <a:lnTo>
                  <a:pt x="12547" y="11575"/>
                </a:lnTo>
                <a:lnTo>
                  <a:pt x="12539" y="11625"/>
                </a:lnTo>
                <a:lnTo>
                  <a:pt x="12531" y="11678"/>
                </a:lnTo>
                <a:lnTo>
                  <a:pt x="12528" y="11706"/>
                </a:lnTo>
                <a:lnTo>
                  <a:pt x="12526" y="11734"/>
                </a:lnTo>
                <a:lnTo>
                  <a:pt x="12525" y="11763"/>
                </a:lnTo>
                <a:lnTo>
                  <a:pt x="12525" y="11794"/>
                </a:lnTo>
                <a:lnTo>
                  <a:pt x="12525" y="11795"/>
                </a:lnTo>
                <a:lnTo>
                  <a:pt x="12526" y="11797"/>
                </a:lnTo>
                <a:lnTo>
                  <a:pt x="12525" y="11800"/>
                </a:lnTo>
                <a:lnTo>
                  <a:pt x="12524" y="11804"/>
                </a:lnTo>
                <a:lnTo>
                  <a:pt x="12521" y="11816"/>
                </a:lnTo>
                <a:lnTo>
                  <a:pt x="12516" y="11831"/>
                </a:lnTo>
                <a:lnTo>
                  <a:pt x="12503" y="11870"/>
                </a:lnTo>
                <a:lnTo>
                  <a:pt x="12487" y="11915"/>
                </a:lnTo>
                <a:lnTo>
                  <a:pt x="12470" y="11961"/>
                </a:lnTo>
                <a:lnTo>
                  <a:pt x="12455" y="12001"/>
                </a:lnTo>
                <a:lnTo>
                  <a:pt x="12445" y="12032"/>
                </a:lnTo>
                <a:lnTo>
                  <a:pt x="12441" y="12048"/>
                </a:lnTo>
                <a:lnTo>
                  <a:pt x="12425" y="12059"/>
                </a:lnTo>
                <a:lnTo>
                  <a:pt x="12406" y="12074"/>
                </a:lnTo>
                <a:lnTo>
                  <a:pt x="12386" y="12090"/>
                </a:lnTo>
                <a:lnTo>
                  <a:pt x="12364" y="12109"/>
                </a:lnTo>
                <a:lnTo>
                  <a:pt x="12342" y="12130"/>
                </a:lnTo>
                <a:lnTo>
                  <a:pt x="12319" y="12152"/>
                </a:lnTo>
                <a:lnTo>
                  <a:pt x="12297" y="12176"/>
                </a:lnTo>
                <a:lnTo>
                  <a:pt x="12273" y="12200"/>
                </a:lnTo>
                <a:lnTo>
                  <a:pt x="12252" y="12225"/>
                </a:lnTo>
                <a:lnTo>
                  <a:pt x="12232" y="12250"/>
                </a:lnTo>
                <a:lnTo>
                  <a:pt x="12213" y="12275"/>
                </a:lnTo>
                <a:lnTo>
                  <a:pt x="12197" y="12300"/>
                </a:lnTo>
                <a:lnTo>
                  <a:pt x="12190" y="12312"/>
                </a:lnTo>
                <a:lnTo>
                  <a:pt x="12184" y="12324"/>
                </a:lnTo>
                <a:lnTo>
                  <a:pt x="12179" y="12335"/>
                </a:lnTo>
                <a:lnTo>
                  <a:pt x="12174" y="12346"/>
                </a:lnTo>
                <a:lnTo>
                  <a:pt x="12170" y="12357"/>
                </a:lnTo>
                <a:lnTo>
                  <a:pt x="12168" y="12367"/>
                </a:lnTo>
                <a:lnTo>
                  <a:pt x="12166" y="12377"/>
                </a:lnTo>
                <a:lnTo>
                  <a:pt x="12166" y="12386"/>
                </a:lnTo>
                <a:lnTo>
                  <a:pt x="12160" y="12395"/>
                </a:lnTo>
                <a:lnTo>
                  <a:pt x="12143" y="12418"/>
                </a:lnTo>
                <a:lnTo>
                  <a:pt x="12120" y="12450"/>
                </a:lnTo>
                <a:lnTo>
                  <a:pt x="12094" y="12487"/>
                </a:lnTo>
                <a:lnTo>
                  <a:pt x="12066" y="12526"/>
                </a:lnTo>
                <a:lnTo>
                  <a:pt x="12041" y="12563"/>
                </a:lnTo>
                <a:lnTo>
                  <a:pt x="12019" y="12591"/>
                </a:lnTo>
                <a:lnTo>
                  <a:pt x="12006" y="12609"/>
                </a:lnTo>
                <a:lnTo>
                  <a:pt x="11979" y="12611"/>
                </a:lnTo>
                <a:lnTo>
                  <a:pt x="11933" y="12619"/>
                </a:lnTo>
                <a:lnTo>
                  <a:pt x="11874" y="12629"/>
                </a:lnTo>
                <a:lnTo>
                  <a:pt x="11811" y="12642"/>
                </a:lnTo>
                <a:lnTo>
                  <a:pt x="11779" y="12649"/>
                </a:lnTo>
                <a:lnTo>
                  <a:pt x="11749" y="12656"/>
                </a:lnTo>
                <a:lnTo>
                  <a:pt x="11722" y="12664"/>
                </a:lnTo>
                <a:lnTo>
                  <a:pt x="11697" y="12670"/>
                </a:lnTo>
                <a:lnTo>
                  <a:pt x="11676" y="12677"/>
                </a:lnTo>
                <a:lnTo>
                  <a:pt x="11661" y="12683"/>
                </a:lnTo>
                <a:lnTo>
                  <a:pt x="11654" y="12686"/>
                </a:lnTo>
                <a:lnTo>
                  <a:pt x="11650" y="12689"/>
                </a:lnTo>
                <a:lnTo>
                  <a:pt x="11647" y="12691"/>
                </a:lnTo>
                <a:lnTo>
                  <a:pt x="11646" y="12694"/>
                </a:lnTo>
                <a:lnTo>
                  <a:pt x="11632" y="12694"/>
                </a:lnTo>
                <a:lnTo>
                  <a:pt x="11616" y="12696"/>
                </a:lnTo>
                <a:lnTo>
                  <a:pt x="11598" y="12698"/>
                </a:lnTo>
                <a:lnTo>
                  <a:pt x="11579" y="12701"/>
                </a:lnTo>
                <a:lnTo>
                  <a:pt x="11538" y="12707"/>
                </a:lnTo>
                <a:lnTo>
                  <a:pt x="11494" y="12713"/>
                </a:lnTo>
                <a:lnTo>
                  <a:pt x="11472" y="12714"/>
                </a:lnTo>
                <a:lnTo>
                  <a:pt x="11452" y="12715"/>
                </a:lnTo>
                <a:lnTo>
                  <a:pt x="11432" y="12714"/>
                </a:lnTo>
                <a:lnTo>
                  <a:pt x="11414" y="12712"/>
                </a:lnTo>
                <a:lnTo>
                  <a:pt x="11406" y="12710"/>
                </a:lnTo>
                <a:lnTo>
                  <a:pt x="11397" y="12708"/>
                </a:lnTo>
                <a:lnTo>
                  <a:pt x="11389" y="12706"/>
                </a:lnTo>
                <a:lnTo>
                  <a:pt x="11382" y="12702"/>
                </a:lnTo>
                <a:lnTo>
                  <a:pt x="11376" y="12699"/>
                </a:lnTo>
                <a:lnTo>
                  <a:pt x="11370" y="12694"/>
                </a:lnTo>
                <a:lnTo>
                  <a:pt x="11365" y="12689"/>
                </a:lnTo>
                <a:lnTo>
                  <a:pt x="11361" y="12683"/>
                </a:lnTo>
                <a:lnTo>
                  <a:pt x="11360" y="12671"/>
                </a:lnTo>
                <a:lnTo>
                  <a:pt x="11359" y="12657"/>
                </a:lnTo>
                <a:lnTo>
                  <a:pt x="11357" y="12643"/>
                </a:lnTo>
                <a:lnTo>
                  <a:pt x="11355" y="12629"/>
                </a:lnTo>
                <a:lnTo>
                  <a:pt x="11349" y="12601"/>
                </a:lnTo>
                <a:lnTo>
                  <a:pt x="11342" y="12571"/>
                </a:lnTo>
                <a:lnTo>
                  <a:pt x="11334" y="12540"/>
                </a:lnTo>
                <a:lnTo>
                  <a:pt x="11327" y="12506"/>
                </a:lnTo>
                <a:lnTo>
                  <a:pt x="11325" y="12490"/>
                </a:lnTo>
                <a:lnTo>
                  <a:pt x="11322" y="12474"/>
                </a:lnTo>
                <a:lnTo>
                  <a:pt x="11320" y="12457"/>
                </a:lnTo>
                <a:lnTo>
                  <a:pt x="11319" y="12440"/>
                </a:lnTo>
                <a:lnTo>
                  <a:pt x="11316" y="12440"/>
                </a:lnTo>
                <a:lnTo>
                  <a:pt x="11313" y="12438"/>
                </a:lnTo>
                <a:lnTo>
                  <a:pt x="11310" y="12437"/>
                </a:lnTo>
                <a:lnTo>
                  <a:pt x="11308" y="12434"/>
                </a:lnTo>
                <a:lnTo>
                  <a:pt x="11303" y="12427"/>
                </a:lnTo>
                <a:lnTo>
                  <a:pt x="11298" y="12419"/>
                </a:lnTo>
                <a:lnTo>
                  <a:pt x="11291" y="12396"/>
                </a:lnTo>
                <a:lnTo>
                  <a:pt x="11283" y="12371"/>
                </a:lnTo>
                <a:lnTo>
                  <a:pt x="11275" y="12346"/>
                </a:lnTo>
                <a:lnTo>
                  <a:pt x="11266" y="12324"/>
                </a:lnTo>
                <a:lnTo>
                  <a:pt x="11262" y="12315"/>
                </a:lnTo>
                <a:lnTo>
                  <a:pt x="11256" y="12308"/>
                </a:lnTo>
                <a:lnTo>
                  <a:pt x="11254" y="12306"/>
                </a:lnTo>
                <a:lnTo>
                  <a:pt x="11251" y="12304"/>
                </a:lnTo>
                <a:lnTo>
                  <a:pt x="11248" y="12303"/>
                </a:lnTo>
                <a:lnTo>
                  <a:pt x="11244" y="12303"/>
                </a:lnTo>
                <a:lnTo>
                  <a:pt x="11242" y="12293"/>
                </a:lnTo>
                <a:lnTo>
                  <a:pt x="11236" y="12275"/>
                </a:lnTo>
                <a:lnTo>
                  <a:pt x="11226" y="12251"/>
                </a:lnTo>
                <a:lnTo>
                  <a:pt x="11214" y="12222"/>
                </a:lnTo>
                <a:lnTo>
                  <a:pt x="11183" y="12151"/>
                </a:lnTo>
                <a:lnTo>
                  <a:pt x="11147" y="12074"/>
                </a:lnTo>
                <a:lnTo>
                  <a:pt x="11130" y="12036"/>
                </a:lnTo>
                <a:lnTo>
                  <a:pt x="11114" y="11997"/>
                </a:lnTo>
                <a:lnTo>
                  <a:pt x="11100" y="11963"/>
                </a:lnTo>
                <a:lnTo>
                  <a:pt x="11088" y="11932"/>
                </a:lnTo>
                <a:lnTo>
                  <a:pt x="11079" y="11905"/>
                </a:lnTo>
                <a:lnTo>
                  <a:pt x="11073" y="11885"/>
                </a:lnTo>
                <a:lnTo>
                  <a:pt x="11072" y="11878"/>
                </a:lnTo>
                <a:lnTo>
                  <a:pt x="11072" y="11872"/>
                </a:lnTo>
                <a:lnTo>
                  <a:pt x="11073" y="11869"/>
                </a:lnTo>
                <a:lnTo>
                  <a:pt x="11075" y="11868"/>
                </a:lnTo>
                <a:lnTo>
                  <a:pt x="11074" y="11848"/>
                </a:lnTo>
                <a:lnTo>
                  <a:pt x="11070" y="11822"/>
                </a:lnTo>
                <a:lnTo>
                  <a:pt x="11064" y="11793"/>
                </a:lnTo>
                <a:lnTo>
                  <a:pt x="11057" y="11762"/>
                </a:lnTo>
                <a:lnTo>
                  <a:pt x="11049" y="11734"/>
                </a:lnTo>
                <a:lnTo>
                  <a:pt x="11043" y="11710"/>
                </a:lnTo>
                <a:lnTo>
                  <a:pt x="11040" y="11701"/>
                </a:lnTo>
                <a:lnTo>
                  <a:pt x="11037" y="11694"/>
                </a:lnTo>
                <a:lnTo>
                  <a:pt x="11035" y="11690"/>
                </a:lnTo>
                <a:lnTo>
                  <a:pt x="11033" y="11688"/>
                </a:lnTo>
                <a:lnTo>
                  <a:pt x="11033" y="11675"/>
                </a:lnTo>
                <a:lnTo>
                  <a:pt x="11032" y="11661"/>
                </a:lnTo>
                <a:lnTo>
                  <a:pt x="11031" y="11647"/>
                </a:lnTo>
                <a:lnTo>
                  <a:pt x="11029" y="11634"/>
                </a:lnTo>
                <a:lnTo>
                  <a:pt x="11023" y="11608"/>
                </a:lnTo>
                <a:lnTo>
                  <a:pt x="11016" y="11583"/>
                </a:lnTo>
                <a:lnTo>
                  <a:pt x="11008" y="11557"/>
                </a:lnTo>
                <a:lnTo>
                  <a:pt x="10999" y="11533"/>
                </a:lnTo>
                <a:lnTo>
                  <a:pt x="10989" y="11507"/>
                </a:lnTo>
                <a:lnTo>
                  <a:pt x="10980" y="11483"/>
                </a:lnTo>
                <a:lnTo>
                  <a:pt x="10970" y="11458"/>
                </a:lnTo>
                <a:lnTo>
                  <a:pt x="10960" y="11434"/>
                </a:lnTo>
                <a:lnTo>
                  <a:pt x="10951" y="11410"/>
                </a:lnTo>
                <a:lnTo>
                  <a:pt x="10943" y="11385"/>
                </a:lnTo>
                <a:lnTo>
                  <a:pt x="10937" y="11360"/>
                </a:lnTo>
                <a:lnTo>
                  <a:pt x="10932" y="11336"/>
                </a:lnTo>
                <a:lnTo>
                  <a:pt x="10930" y="11324"/>
                </a:lnTo>
                <a:lnTo>
                  <a:pt x="10928" y="11311"/>
                </a:lnTo>
                <a:lnTo>
                  <a:pt x="10927" y="11299"/>
                </a:lnTo>
                <a:lnTo>
                  <a:pt x="10927" y="11286"/>
                </a:lnTo>
                <a:lnTo>
                  <a:pt x="10924" y="11286"/>
                </a:lnTo>
                <a:lnTo>
                  <a:pt x="10921" y="11283"/>
                </a:lnTo>
                <a:lnTo>
                  <a:pt x="10918" y="11279"/>
                </a:lnTo>
                <a:lnTo>
                  <a:pt x="10914" y="11273"/>
                </a:lnTo>
                <a:lnTo>
                  <a:pt x="10907" y="11258"/>
                </a:lnTo>
                <a:lnTo>
                  <a:pt x="10900" y="11239"/>
                </a:lnTo>
                <a:lnTo>
                  <a:pt x="10891" y="11217"/>
                </a:lnTo>
                <a:lnTo>
                  <a:pt x="10884" y="11192"/>
                </a:lnTo>
                <a:lnTo>
                  <a:pt x="10877" y="11166"/>
                </a:lnTo>
                <a:lnTo>
                  <a:pt x="10871" y="11137"/>
                </a:lnTo>
                <a:lnTo>
                  <a:pt x="10865" y="11110"/>
                </a:lnTo>
                <a:lnTo>
                  <a:pt x="10861" y="11083"/>
                </a:lnTo>
                <a:lnTo>
                  <a:pt x="10857" y="11059"/>
                </a:lnTo>
                <a:lnTo>
                  <a:pt x="10855" y="11036"/>
                </a:lnTo>
                <a:lnTo>
                  <a:pt x="10854" y="11017"/>
                </a:lnTo>
                <a:lnTo>
                  <a:pt x="10855" y="11002"/>
                </a:lnTo>
                <a:lnTo>
                  <a:pt x="10857" y="10997"/>
                </a:lnTo>
                <a:lnTo>
                  <a:pt x="10858" y="10993"/>
                </a:lnTo>
                <a:lnTo>
                  <a:pt x="10861" y="10990"/>
                </a:lnTo>
                <a:lnTo>
                  <a:pt x="10863" y="10990"/>
                </a:lnTo>
                <a:lnTo>
                  <a:pt x="10864" y="10961"/>
                </a:lnTo>
                <a:lnTo>
                  <a:pt x="10866" y="10934"/>
                </a:lnTo>
                <a:lnTo>
                  <a:pt x="10868" y="10908"/>
                </a:lnTo>
                <a:lnTo>
                  <a:pt x="10872" y="10881"/>
                </a:lnTo>
                <a:lnTo>
                  <a:pt x="10876" y="10856"/>
                </a:lnTo>
                <a:lnTo>
                  <a:pt x="10882" y="10831"/>
                </a:lnTo>
                <a:lnTo>
                  <a:pt x="10887" y="10807"/>
                </a:lnTo>
                <a:lnTo>
                  <a:pt x="10893" y="10782"/>
                </a:lnTo>
                <a:lnTo>
                  <a:pt x="10907" y="10731"/>
                </a:lnTo>
                <a:lnTo>
                  <a:pt x="10919" y="10679"/>
                </a:lnTo>
                <a:lnTo>
                  <a:pt x="10925" y="10651"/>
                </a:lnTo>
                <a:lnTo>
                  <a:pt x="10931" y="10622"/>
                </a:lnTo>
                <a:lnTo>
                  <a:pt x="10936" y="10592"/>
                </a:lnTo>
                <a:lnTo>
                  <a:pt x="10941" y="10560"/>
                </a:lnTo>
                <a:lnTo>
                  <a:pt x="10944" y="10526"/>
                </a:lnTo>
                <a:lnTo>
                  <a:pt x="10947" y="10492"/>
                </a:lnTo>
                <a:lnTo>
                  <a:pt x="10948" y="10461"/>
                </a:lnTo>
                <a:lnTo>
                  <a:pt x="10948" y="10431"/>
                </a:lnTo>
                <a:lnTo>
                  <a:pt x="10948" y="10402"/>
                </a:lnTo>
                <a:lnTo>
                  <a:pt x="10946" y="10373"/>
                </a:lnTo>
                <a:lnTo>
                  <a:pt x="10943" y="10346"/>
                </a:lnTo>
                <a:lnTo>
                  <a:pt x="10940" y="10320"/>
                </a:lnTo>
                <a:lnTo>
                  <a:pt x="10935" y="10295"/>
                </a:lnTo>
                <a:lnTo>
                  <a:pt x="10931" y="10270"/>
                </a:lnTo>
                <a:lnTo>
                  <a:pt x="10926" y="10244"/>
                </a:lnTo>
                <a:lnTo>
                  <a:pt x="10920" y="10220"/>
                </a:lnTo>
                <a:lnTo>
                  <a:pt x="10908" y="10171"/>
                </a:lnTo>
                <a:lnTo>
                  <a:pt x="10895" y="10121"/>
                </a:lnTo>
                <a:lnTo>
                  <a:pt x="10891" y="10120"/>
                </a:lnTo>
                <a:lnTo>
                  <a:pt x="10886" y="10117"/>
                </a:lnTo>
                <a:lnTo>
                  <a:pt x="10881" y="10112"/>
                </a:lnTo>
                <a:lnTo>
                  <a:pt x="10875" y="10105"/>
                </a:lnTo>
                <a:lnTo>
                  <a:pt x="10862" y="10088"/>
                </a:lnTo>
                <a:lnTo>
                  <a:pt x="10848" y="10068"/>
                </a:lnTo>
                <a:lnTo>
                  <a:pt x="10835" y="10047"/>
                </a:lnTo>
                <a:lnTo>
                  <a:pt x="10824" y="10026"/>
                </a:lnTo>
                <a:lnTo>
                  <a:pt x="10815" y="10007"/>
                </a:lnTo>
                <a:lnTo>
                  <a:pt x="10811" y="9995"/>
                </a:lnTo>
                <a:lnTo>
                  <a:pt x="10795" y="9983"/>
                </a:lnTo>
                <a:lnTo>
                  <a:pt x="10781" y="9971"/>
                </a:lnTo>
                <a:lnTo>
                  <a:pt x="10768" y="9958"/>
                </a:lnTo>
                <a:lnTo>
                  <a:pt x="10756" y="9943"/>
                </a:lnTo>
                <a:lnTo>
                  <a:pt x="10746" y="9928"/>
                </a:lnTo>
                <a:lnTo>
                  <a:pt x="10736" y="9911"/>
                </a:lnTo>
                <a:lnTo>
                  <a:pt x="10728" y="9894"/>
                </a:lnTo>
                <a:lnTo>
                  <a:pt x="10720" y="9876"/>
                </a:lnTo>
                <a:lnTo>
                  <a:pt x="10714" y="9857"/>
                </a:lnTo>
                <a:lnTo>
                  <a:pt x="10709" y="9839"/>
                </a:lnTo>
                <a:lnTo>
                  <a:pt x="10704" y="9819"/>
                </a:lnTo>
                <a:lnTo>
                  <a:pt x="10701" y="9800"/>
                </a:lnTo>
                <a:lnTo>
                  <a:pt x="10698" y="9780"/>
                </a:lnTo>
                <a:lnTo>
                  <a:pt x="10696" y="9759"/>
                </a:lnTo>
                <a:lnTo>
                  <a:pt x="10695" y="9740"/>
                </a:lnTo>
                <a:lnTo>
                  <a:pt x="10694" y="9720"/>
                </a:lnTo>
                <a:lnTo>
                  <a:pt x="10699" y="9713"/>
                </a:lnTo>
                <a:lnTo>
                  <a:pt x="10704" y="9706"/>
                </a:lnTo>
                <a:lnTo>
                  <a:pt x="10709" y="9698"/>
                </a:lnTo>
                <a:lnTo>
                  <a:pt x="10713" y="9689"/>
                </a:lnTo>
                <a:lnTo>
                  <a:pt x="10722" y="9668"/>
                </a:lnTo>
                <a:lnTo>
                  <a:pt x="10729" y="9645"/>
                </a:lnTo>
                <a:lnTo>
                  <a:pt x="10736" y="9619"/>
                </a:lnTo>
                <a:lnTo>
                  <a:pt x="10742" y="9592"/>
                </a:lnTo>
                <a:lnTo>
                  <a:pt x="10747" y="9564"/>
                </a:lnTo>
                <a:lnTo>
                  <a:pt x="10752" y="9536"/>
                </a:lnTo>
                <a:lnTo>
                  <a:pt x="10755" y="9506"/>
                </a:lnTo>
                <a:lnTo>
                  <a:pt x="10758" y="9477"/>
                </a:lnTo>
                <a:lnTo>
                  <a:pt x="10760" y="9449"/>
                </a:lnTo>
                <a:lnTo>
                  <a:pt x="10761" y="9423"/>
                </a:lnTo>
                <a:lnTo>
                  <a:pt x="10761" y="9398"/>
                </a:lnTo>
                <a:lnTo>
                  <a:pt x="10761" y="9375"/>
                </a:lnTo>
                <a:lnTo>
                  <a:pt x="10759" y="9355"/>
                </a:lnTo>
                <a:lnTo>
                  <a:pt x="10757" y="9339"/>
                </a:lnTo>
                <a:lnTo>
                  <a:pt x="10738" y="9330"/>
                </a:lnTo>
                <a:lnTo>
                  <a:pt x="10720" y="9323"/>
                </a:lnTo>
                <a:lnTo>
                  <a:pt x="10704" y="9317"/>
                </a:lnTo>
                <a:lnTo>
                  <a:pt x="10688" y="9312"/>
                </a:lnTo>
                <a:lnTo>
                  <a:pt x="10673" y="9309"/>
                </a:lnTo>
                <a:lnTo>
                  <a:pt x="10658" y="9306"/>
                </a:lnTo>
                <a:lnTo>
                  <a:pt x="10643" y="9305"/>
                </a:lnTo>
                <a:lnTo>
                  <a:pt x="10628" y="9304"/>
                </a:lnTo>
                <a:lnTo>
                  <a:pt x="10599" y="9304"/>
                </a:lnTo>
                <a:lnTo>
                  <a:pt x="10568" y="9305"/>
                </a:lnTo>
                <a:lnTo>
                  <a:pt x="10533" y="9306"/>
                </a:lnTo>
                <a:lnTo>
                  <a:pt x="10493" y="9307"/>
                </a:lnTo>
                <a:lnTo>
                  <a:pt x="10485" y="9295"/>
                </a:lnTo>
                <a:lnTo>
                  <a:pt x="10476" y="9284"/>
                </a:lnTo>
                <a:lnTo>
                  <a:pt x="10464" y="9274"/>
                </a:lnTo>
                <a:lnTo>
                  <a:pt x="10451" y="9266"/>
                </a:lnTo>
                <a:lnTo>
                  <a:pt x="10435" y="9257"/>
                </a:lnTo>
                <a:lnTo>
                  <a:pt x="10418" y="9251"/>
                </a:lnTo>
                <a:lnTo>
                  <a:pt x="10400" y="9245"/>
                </a:lnTo>
                <a:lnTo>
                  <a:pt x="10379" y="9241"/>
                </a:lnTo>
                <a:lnTo>
                  <a:pt x="10359" y="9237"/>
                </a:lnTo>
                <a:lnTo>
                  <a:pt x="10337" y="9234"/>
                </a:lnTo>
                <a:lnTo>
                  <a:pt x="10314" y="9231"/>
                </a:lnTo>
                <a:lnTo>
                  <a:pt x="10290" y="9230"/>
                </a:lnTo>
                <a:lnTo>
                  <a:pt x="10264" y="9229"/>
                </a:lnTo>
                <a:lnTo>
                  <a:pt x="10239" y="9228"/>
                </a:lnTo>
                <a:lnTo>
                  <a:pt x="10214" y="9228"/>
                </a:lnTo>
                <a:lnTo>
                  <a:pt x="10188" y="9229"/>
                </a:lnTo>
                <a:lnTo>
                  <a:pt x="10135" y="9231"/>
                </a:lnTo>
                <a:lnTo>
                  <a:pt x="10083" y="9234"/>
                </a:lnTo>
                <a:lnTo>
                  <a:pt x="10033" y="9238"/>
                </a:lnTo>
                <a:lnTo>
                  <a:pt x="9984" y="9243"/>
                </a:lnTo>
                <a:lnTo>
                  <a:pt x="9940" y="9247"/>
                </a:lnTo>
                <a:lnTo>
                  <a:pt x="9900" y="9250"/>
                </a:lnTo>
                <a:lnTo>
                  <a:pt x="9864" y="9253"/>
                </a:lnTo>
                <a:lnTo>
                  <a:pt x="9836" y="9254"/>
                </a:lnTo>
                <a:lnTo>
                  <a:pt x="9836" y="9260"/>
                </a:lnTo>
                <a:lnTo>
                  <a:pt x="9833" y="9267"/>
                </a:lnTo>
                <a:lnTo>
                  <a:pt x="9829" y="9271"/>
                </a:lnTo>
                <a:lnTo>
                  <a:pt x="9823" y="9275"/>
                </a:lnTo>
                <a:lnTo>
                  <a:pt x="9816" y="9278"/>
                </a:lnTo>
                <a:lnTo>
                  <a:pt x="9807" y="9281"/>
                </a:lnTo>
                <a:lnTo>
                  <a:pt x="9797" y="9282"/>
                </a:lnTo>
                <a:lnTo>
                  <a:pt x="9787" y="9283"/>
                </a:lnTo>
                <a:lnTo>
                  <a:pt x="9775" y="9283"/>
                </a:lnTo>
                <a:lnTo>
                  <a:pt x="9761" y="9283"/>
                </a:lnTo>
                <a:lnTo>
                  <a:pt x="9748" y="9281"/>
                </a:lnTo>
                <a:lnTo>
                  <a:pt x="9734" y="9280"/>
                </a:lnTo>
                <a:lnTo>
                  <a:pt x="9704" y="9275"/>
                </a:lnTo>
                <a:lnTo>
                  <a:pt x="9674" y="9268"/>
                </a:lnTo>
                <a:lnTo>
                  <a:pt x="9642" y="9259"/>
                </a:lnTo>
                <a:lnTo>
                  <a:pt x="9611" y="9249"/>
                </a:lnTo>
                <a:lnTo>
                  <a:pt x="9582" y="9238"/>
                </a:lnTo>
                <a:lnTo>
                  <a:pt x="9555" y="9227"/>
                </a:lnTo>
                <a:lnTo>
                  <a:pt x="9543" y="9221"/>
                </a:lnTo>
                <a:lnTo>
                  <a:pt x="9531" y="9215"/>
                </a:lnTo>
                <a:lnTo>
                  <a:pt x="9521" y="9209"/>
                </a:lnTo>
                <a:lnTo>
                  <a:pt x="9511" y="9203"/>
                </a:lnTo>
                <a:lnTo>
                  <a:pt x="9503" y="9197"/>
                </a:lnTo>
                <a:lnTo>
                  <a:pt x="9496" y="9191"/>
                </a:lnTo>
                <a:lnTo>
                  <a:pt x="9491" y="9186"/>
                </a:lnTo>
                <a:lnTo>
                  <a:pt x="9487" y="9180"/>
                </a:lnTo>
                <a:lnTo>
                  <a:pt x="9480" y="9179"/>
                </a:lnTo>
                <a:lnTo>
                  <a:pt x="9472" y="9178"/>
                </a:lnTo>
                <a:lnTo>
                  <a:pt x="9464" y="9176"/>
                </a:lnTo>
                <a:lnTo>
                  <a:pt x="9455" y="9173"/>
                </a:lnTo>
                <a:lnTo>
                  <a:pt x="9446" y="9169"/>
                </a:lnTo>
                <a:lnTo>
                  <a:pt x="9437" y="9164"/>
                </a:lnTo>
                <a:lnTo>
                  <a:pt x="9428" y="9159"/>
                </a:lnTo>
                <a:lnTo>
                  <a:pt x="9418" y="9153"/>
                </a:lnTo>
                <a:lnTo>
                  <a:pt x="9399" y="9139"/>
                </a:lnTo>
                <a:lnTo>
                  <a:pt x="9379" y="9123"/>
                </a:lnTo>
                <a:lnTo>
                  <a:pt x="9360" y="9106"/>
                </a:lnTo>
                <a:lnTo>
                  <a:pt x="9342" y="9087"/>
                </a:lnTo>
                <a:lnTo>
                  <a:pt x="9324" y="9068"/>
                </a:lnTo>
                <a:lnTo>
                  <a:pt x="9308" y="9048"/>
                </a:lnTo>
                <a:lnTo>
                  <a:pt x="9293" y="9028"/>
                </a:lnTo>
                <a:lnTo>
                  <a:pt x="9280" y="9007"/>
                </a:lnTo>
                <a:lnTo>
                  <a:pt x="9270" y="8987"/>
                </a:lnTo>
                <a:lnTo>
                  <a:pt x="9262" y="8969"/>
                </a:lnTo>
                <a:lnTo>
                  <a:pt x="9258" y="8960"/>
                </a:lnTo>
                <a:lnTo>
                  <a:pt x="9256" y="8952"/>
                </a:lnTo>
                <a:lnTo>
                  <a:pt x="9255" y="8944"/>
                </a:lnTo>
                <a:lnTo>
                  <a:pt x="9254" y="8937"/>
                </a:lnTo>
                <a:lnTo>
                  <a:pt x="9246" y="8931"/>
                </a:lnTo>
                <a:lnTo>
                  <a:pt x="9238" y="8923"/>
                </a:lnTo>
                <a:lnTo>
                  <a:pt x="9229" y="8915"/>
                </a:lnTo>
                <a:lnTo>
                  <a:pt x="9220" y="8906"/>
                </a:lnTo>
                <a:lnTo>
                  <a:pt x="9202" y="8884"/>
                </a:lnTo>
                <a:lnTo>
                  <a:pt x="9184" y="8858"/>
                </a:lnTo>
                <a:lnTo>
                  <a:pt x="9166" y="8830"/>
                </a:lnTo>
                <a:lnTo>
                  <a:pt x="9147" y="8799"/>
                </a:lnTo>
                <a:lnTo>
                  <a:pt x="9129" y="8767"/>
                </a:lnTo>
                <a:lnTo>
                  <a:pt x="9111" y="8733"/>
                </a:lnTo>
                <a:lnTo>
                  <a:pt x="9095" y="8700"/>
                </a:lnTo>
                <a:lnTo>
                  <a:pt x="9080" y="8666"/>
                </a:lnTo>
                <a:lnTo>
                  <a:pt x="9067" y="8634"/>
                </a:lnTo>
                <a:lnTo>
                  <a:pt x="9056" y="8602"/>
                </a:lnTo>
                <a:lnTo>
                  <a:pt x="9046" y="8573"/>
                </a:lnTo>
                <a:lnTo>
                  <a:pt x="9039" y="8546"/>
                </a:lnTo>
                <a:lnTo>
                  <a:pt x="9037" y="8534"/>
                </a:lnTo>
                <a:lnTo>
                  <a:pt x="9035" y="8523"/>
                </a:lnTo>
                <a:lnTo>
                  <a:pt x="9033" y="8512"/>
                </a:lnTo>
                <a:lnTo>
                  <a:pt x="9033" y="8502"/>
                </a:lnTo>
                <a:lnTo>
                  <a:pt x="9026" y="8498"/>
                </a:lnTo>
                <a:lnTo>
                  <a:pt x="9020" y="8494"/>
                </a:lnTo>
                <a:lnTo>
                  <a:pt x="9015" y="8489"/>
                </a:lnTo>
                <a:lnTo>
                  <a:pt x="9010" y="8484"/>
                </a:lnTo>
                <a:lnTo>
                  <a:pt x="9004" y="8478"/>
                </a:lnTo>
                <a:lnTo>
                  <a:pt x="9000" y="8472"/>
                </a:lnTo>
                <a:lnTo>
                  <a:pt x="8997" y="8465"/>
                </a:lnTo>
                <a:lnTo>
                  <a:pt x="8994" y="8459"/>
                </a:lnTo>
                <a:lnTo>
                  <a:pt x="8989" y="8444"/>
                </a:lnTo>
                <a:lnTo>
                  <a:pt x="8986" y="8429"/>
                </a:lnTo>
                <a:lnTo>
                  <a:pt x="8984" y="8414"/>
                </a:lnTo>
                <a:lnTo>
                  <a:pt x="8984" y="8399"/>
                </a:lnTo>
                <a:lnTo>
                  <a:pt x="8985" y="8384"/>
                </a:lnTo>
                <a:lnTo>
                  <a:pt x="8988" y="8369"/>
                </a:lnTo>
                <a:lnTo>
                  <a:pt x="8991" y="8357"/>
                </a:lnTo>
                <a:lnTo>
                  <a:pt x="8996" y="8345"/>
                </a:lnTo>
                <a:lnTo>
                  <a:pt x="9001" y="8336"/>
                </a:lnTo>
                <a:lnTo>
                  <a:pt x="9007" y="8329"/>
                </a:lnTo>
                <a:lnTo>
                  <a:pt x="9011" y="8326"/>
                </a:lnTo>
                <a:lnTo>
                  <a:pt x="9015" y="8324"/>
                </a:lnTo>
                <a:lnTo>
                  <a:pt x="9019" y="8323"/>
                </a:lnTo>
                <a:lnTo>
                  <a:pt x="9022" y="8323"/>
                </a:lnTo>
                <a:lnTo>
                  <a:pt x="9024" y="8314"/>
                </a:lnTo>
                <a:lnTo>
                  <a:pt x="9024" y="8304"/>
                </a:lnTo>
                <a:lnTo>
                  <a:pt x="9024" y="8293"/>
                </a:lnTo>
                <a:lnTo>
                  <a:pt x="9022" y="8280"/>
                </a:lnTo>
                <a:lnTo>
                  <a:pt x="9018" y="8249"/>
                </a:lnTo>
                <a:lnTo>
                  <a:pt x="9011" y="8218"/>
                </a:lnTo>
                <a:lnTo>
                  <a:pt x="9002" y="8185"/>
                </a:lnTo>
                <a:lnTo>
                  <a:pt x="8994" y="8153"/>
                </a:lnTo>
                <a:lnTo>
                  <a:pt x="8986" y="8123"/>
                </a:lnTo>
                <a:lnTo>
                  <a:pt x="8978" y="8098"/>
                </a:lnTo>
                <a:lnTo>
                  <a:pt x="8977" y="8090"/>
                </a:lnTo>
                <a:lnTo>
                  <a:pt x="8977" y="8081"/>
                </a:lnTo>
                <a:lnTo>
                  <a:pt x="8978" y="8073"/>
                </a:lnTo>
                <a:lnTo>
                  <a:pt x="8980" y="8064"/>
                </a:lnTo>
                <a:lnTo>
                  <a:pt x="8986" y="8047"/>
                </a:lnTo>
                <a:lnTo>
                  <a:pt x="8995" y="8029"/>
                </a:lnTo>
                <a:lnTo>
                  <a:pt x="9004" y="8010"/>
                </a:lnTo>
                <a:lnTo>
                  <a:pt x="9014" y="7991"/>
                </a:lnTo>
                <a:lnTo>
                  <a:pt x="9017" y="7981"/>
                </a:lnTo>
                <a:lnTo>
                  <a:pt x="9020" y="7972"/>
                </a:lnTo>
                <a:lnTo>
                  <a:pt x="9022" y="7962"/>
                </a:lnTo>
                <a:lnTo>
                  <a:pt x="9022" y="7952"/>
                </a:lnTo>
                <a:lnTo>
                  <a:pt x="9023" y="7901"/>
                </a:lnTo>
                <a:lnTo>
                  <a:pt x="9024" y="7854"/>
                </a:lnTo>
                <a:lnTo>
                  <a:pt x="9026" y="7832"/>
                </a:lnTo>
                <a:lnTo>
                  <a:pt x="9028" y="7811"/>
                </a:lnTo>
                <a:lnTo>
                  <a:pt x="9031" y="7791"/>
                </a:lnTo>
                <a:lnTo>
                  <a:pt x="9034" y="7770"/>
                </a:lnTo>
                <a:lnTo>
                  <a:pt x="9039" y="7748"/>
                </a:lnTo>
                <a:lnTo>
                  <a:pt x="9045" y="7727"/>
                </a:lnTo>
                <a:lnTo>
                  <a:pt x="9052" y="7706"/>
                </a:lnTo>
                <a:lnTo>
                  <a:pt x="9060" y="7683"/>
                </a:lnTo>
                <a:lnTo>
                  <a:pt x="9069" y="7660"/>
                </a:lnTo>
                <a:lnTo>
                  <a:pt x="9080" y="7635"/>
                </a:lnTo>
                <a:lnTo>
                  <a:pt x="9093" y="7608"/>
                </a:lnTo>
                <a:lnTo>
                  <a:pt x="9107" y="7579"/>
                </a:lnTo>
                <a:lnTo>
                  <a:pt x="9117" y="7561"/>
                </a:lnTo>
                <a:lnTo>
                  <a:pt x="9128" y="7543"/>
                </a:lnTo>
                <a:lnTo>
                  <a:pt x="9139" y="7524"/>
                </a:lnTo>
                <a:lnTo>
                  <a:pt x="9150" y="7506"/>
                </a:lnTo>
                <a:lnTo>
                  <a:pt x="9161" y="7485"/>
                </a:lnTo>
                <a:lnTo>
                  <a:pt x="9172" y="7465"/>
                </a:lnTo>
                <a:lnTo>
                  <a:pt x="9182" y="7444"/>
                </a:lnTo>
                <a:lnTo>
                  <a:pt x="9191" y="7422"/>
                </a:lnTo>
                <a:lnTo>
                  <a:pt x="9199" y="7403"/>
                </a:lnTo>
                <a:lnTo>
                  <a:pt x="9206" y="7390"/>
                </a:lnTo>
                <a:lnTo>
                  <a:pt x="9213" y="7380"/>
                </a:lnTo>
                <a:lnTo>
                  <a:pt x="9219" y="7373"/>
                </a:lnTo>
                <a:lnTo>
                  <a:pt x="9226" y="7368"/>
                </a:lnTo>
                <a:lnTo>
                  <a:pt x="9231" y="7366"/>
                </a:lnTo>
                <a:lnTo>
                  <a:pt x="9237" y="7365"/>
                </a:lnTo>
                <a:lnTo>
                  <a:pt x="9243" y="7365"/>
                </a:lnTo>
                <a:lnTo>
                  <a:pt x="9249" y="7365"/>
                </a:lnTo>
                <a:lnTo>
                  <a:pt x="9256" y="7364"/>
                </a:lnTo>
                <a:lnTo>
                  <a:pt x="9264" y="7363"/>
                </a:lnTo>
                <a:lnTo>
                  <a:pt x="9271" y="7359"/>
                </a:lnTo>
                <a:lnTo>
                  <a:pt x="9279" y="7354"/>
                </a:lnTo>
                <a:lnTo>
                  <a:pt x="9288" y="7345"/>
                </a:lnTo>
                <a:lnTo>
                  <a:pt x="9297" y="7334"/>
                </a:lnTo>
                <a:lnTo>
                  <a:pt x="9308" y="7317"/>
                </a:lnTo>
                <a:lnTo>
                  <a:pt x="9318" y="7311"/>
                </a:lnTo>
                <a:lnTo>
                  <a:pt x="9328" y="7304"/>
                </a:lnTo>
                <a:lnTo>
                  <a:pt x="9337" y="7295"/>
                </a:lnTo>
                <a:lnTo>
                  <a:pt x="9346" y="7286"/>
                </a:lnTo>
                <a:lnTo>
                  <a:pt x="9364" y="7264"/>
                </a:lnTo>
                <a:lnTo>
                  <a:pt x="9381" y="7239"/>
                </a:lnTo>
                <a:lnTo>
                  <a:pt x="9399" y="7214"/>
                </a:lnTo>
                <a:lnTo>
                  <a:pt x="9417" y="7190"/>
                </a:lnTo>
                <a:lnTo>
                  <a:pt x="9426" y="7179"/>
                </a:lnTo>
                <a:lnTo>
                  <a:pt x="9435" y="7168"/>
                </a:lnTo>
                <a:lnTo>
                  <a:pt x="9445" y="7158"/>
                </a:lnTo>
                <a:lnTo>
                  <a:pt x="9456" y="7148"/>
                </a:lnTo>
                <a:lnTo>
                  <a:pt x="9464" y="7137"/>
                </a:lnTo>
                <a:lnTo>
                  <a:pt x="9470" y="7126"/>
                </a:lnTo>
                <a:lnTo>
                  <a:pt x="9472" y="7122"/>
                </a:lnTo>
                <a:lnTo>
                  <a:pt x="9474" y="7116"/>
                </a:lnTo>
                <a:lnTo>
                  <a:pt x="9475" y="7112"/>
                </a:lnTo>
                <a:lnTo>
                  <a:pt x="9475" y="7108"/>
                </a:lnTo>
                <a:lnTo>
                  <a:pt x="9475" y="7104"/>
                </a:lnTo>
                <a:lnTo>
                  <a:pt x="9474" y="7100"/>
                </a:lnTo>
                <a:lnTo>
                  <a:pt x="9473" y="7095"/>
                </a:lnTo>
                <a:lnTo>
                  <a:pt x="9471" y="7091"/>
                </a:lnTo>
                <a:lnTo>
                  <a:pt x="9465" y="7083"/>
                </a:lnTo>
                <a:lnTo>
                  <a:pt x="9456" y="7074"/>
                </a:lnTo>
                <a:lnTo>
                  <a:pt x="9459" y="7072"/>
                </a:lnTo>
                <a:lnTo>
                  <a:pt x="9463" y="7067"/>
                </a:lnTo>
                <a:lnTo>
                  <a:pt x="9467" y="7058"/>
                </a:lnTo>
                <a:lnTo>
                  <a:pt x="9472" y="7048"/>
                </a:lnTo>
                <a:lnTo>
                  <a:pt x="9484" y="7021"/>
                </a:lnTo>
                <a:lnTo>
                  <a:pt x="9497" y="6987"/>
                </a:lnTo>
                <a:lnTo>
                  <a:pt x="9509" y="6953"/>
                </a:lnTo>
                <a:lnTo>
                  <a:pt x="9521" y="6920"/>
                </a:lnTo>
                <a:lnTo>
                  <a:pt x="9525" y="6906"/>
                </a:lnTo>
                <a:lnTo>
                  <a:pt x="9528" y="6893"/>
                </a:lnTo>
                <a:lnTo>
                  <a:pt x="9530" y="6882"/>
                </a:lnTo>
                <a:lnTo>
                  <a:pt x="9530" y="6874"/>
                </a:lnTo>
                <a:lnTo>
                  <a:pt x="9555" y="6837"/>
                </a:lnTo>
                <a:lnTo>
                  <a:pt x="9570" y="6815"/>
                </a:lnTo>
                <a:lnTo>
                  <a:pt x="9575" y="6808"/>
                </a:lnTo>
                <a:lnTo>
                  <a:pt x="9578" y="6803"/>
                </a:lnTo>
                <a:lnTo>
                  <a:pt x="9581" y="6801"/>
                </a:lnTo>
                <a:lnTo>
                  <a:pt x="9583" y="6800"/>
                </a:lnTo>
                <a:lnTo>
                  <a:pt x="9588" y="6802"/>
                </a:lnTo>
                <a:lnTo>
                  <a:pt x="9596" y="6808"/>
                </a:lnTo>
                <a:lnTo>
                  <a:pt x="9602" y="6811"/>
                </a:lnTo>
                <a:lnTo>
                  <a:pt x="9611" y="6815"/>
                </a:lnTo>
                <a:lnTo>
                  <a:pt x="9622" y="6818"/>
                </a:lnTo>
                <a:lnTo>
                  <a:pt x="9635" y="6820"/>
                </a:lnTo>
                <a:lnTo>
                  <a:pt x="9662" y="6788"/>
                </a:lnTo>
                <a:lnTo>
                  <a:pt x="9693" y="6750"/>
                </a:lnTo>
                <a:lnTo>
                  <a:pt x="9701" y="6740"/>
                </a:lnTo>
                <a:lnTo>
                  <a:pt x="9709" y="6731"/>
                </a:lnTo>
                <a:lnTo>
                  <a:pt x="9718" y="6724"/>
                </a:lnTo>
                <a:lnTo>
                  <a:pt x="9727" y="6717"/>
                </a:lnTo>
                <a:lnTo>
                  <a:pt x="9736" y="6711"/>
                </a:lnTo>
                <a:lnTo>
                  <a:pt x="9744" y="6707"/>
                </a:lnTo>
                <a:lnTo>
                  <a:pt x="9753" y="6704"/>
                </a:lnTo>
                <a:lnTo>
                  <a:pt x="9762" y="6703"/>
                </a:lnTo>
                <a:lnTo>
                  <a:pt x="9767" y="6696"/>
                </a:lnTo>
                <a:lnTo>
                  <a:pt x="9772" y="6689"/>
                </a:lnTo>
                <a:lnTo>
                  <a:pt x="9778" y="6683"/>
                </a:lnTo>
                <a:lnTo>
                  <a:pt x="9784" y="6676"/>
                </a:lnTo>
                <a:lnTo>
                  <a:pt x="9790" y="6671"/>
                </a:lnTo>
                <a:lnTo>
                  <a:pt x="9797" y="6666"/>
                </a:lnTo>
                <a:lnTo>
                  <a:pt x="9805" y="6661"/>
                </a:lnTo>
                <a:lnTo>
                  <a:pt x="9812" y="6657"/>
                </a:lnTo>
                <a:lnTo>
                  <a:pt x="9820" y="6653"/>
                </a:lnTo>
                <a:lnTo>
                  <a:pt x="9828" y="6650"/>
                </a:lnTo>
                <a:lnTo>
                  <a:pt x="9837" y="6647"/>
                </a:lnTo>
                <a:lnTo>
                  <a:pt x="9845" y="6645"/>
                </a:lnTo>
                <a:lnTo>
                  <a:pt x="9862" y="6642"/>
                </a:lnTo>
                <a:lnTo>
                  <a:pt x="9879" y="6641"/>
                </a:lnTo>
                <a:lnTo>
                  <a:pt x="9879" y="6646"/>
                </a:lnTo>
                <a:lnTo>
                  <a:pt x="9880" y="6651"/>
                </a:lnTo>
                <a:lnTo>
                  <a:pt x="9883" y="6655"/>
                </a:lnTo>
                <a:lnTo>
                  <a:pt x="9886" y="6658"/>
                </a:lnTo>
                <a:lnTo>
                  <a:pt x="9890" y="6660"/>
                </a:lnTo>
                <a:lnTo>
                  <a:pt x="9895" y="6662"/>
                </a:lnTo>
                <a:lnTo>
                  <a:pt x="9901" y="6663"/>
                </a:lnTo>
                <a:lnTo>
                  <a:pt x="9907" y="6664"/>
                </a:lnTo>
                <a:lnTo>
                  <a:pt x="9920" y="6664"/>
                </a:lnTo>
                <a:lnTo>
                  <a:pt x="9935" y="6662"/>
                </a:lnTo>
                <a:lnTo>
                  <a:pt x="9951" y="6658"/>
                </a:lnTo>
                <a:lnTo>
                  <a:pt x="9967" y="6654"/>
                </a:lnTo>
                <a:lnTo>
                  <a:pt x="10001" y="6643"/>
                </a:lnTo>
                <a:lnTo>
                  <a:pt x="10033" y="6632"/>
                </a:lnTo>
                <a:lnTo>
                  <a:pt x="10056" y="6623"/>
                </a:lnTo>
                <a:lnTo>
                  <a:pt x="10070" y="6620"/>
                </a:lnTo>
                <a:lnTo>
                  <a:pt x="10073" y="6613"/>
                </a:lnTo>
                <a:lnTo>
                  <a:pt x="10077" y="6608"/>
                </a:lnTo>
                <a:lnTo>
                  <a:pt x="10082" y="6602"/>
                </a:lnTo>
                <a:lnTo>
                  <a:pt x="10088" y="6596"/>
                </a:lnTo>
                <a:lnTo>
                  <a:pt x="10101" y="6585"/>
                </a:lnTo>
                <a:lnTo>
                  <a:pt x="10117" y="6574"/>
                </a:lnTo>
                <a:lnTo>
                  <a:pt x="10135" y="6563"/>
                </a:lnTo>
                <a:lnTo>
                  <a:pt x="10155" y="6553"/>
                </a:lnTo>
                <a:lnTo>
                  <a:pt x="10175" y="6543"/>
                </a:lnTo>
                <a:lnTo>
                  <a:pt x="10196" y="6533"/>
                </a:lnTo>
                <a:lnTo>
                  <a:pt x="10217" y="6525"/>
                </a:lnTo>
                <a:lnTo>
                  <a:pt x="10238" y="6517"/>
                </a:lnTo>
                <a:lnTo>
                  <a:pt x="10258" y="6510"/>
                </a:lnTo>
                <a:lnTo>
                  <a:pt x="10278" y="6504"/>
                </a:lnTo>
                <a:lnTo>
                  <a:pt x="10296" y="6499"/>
                </a:lnTo>
                <a:lnTo>
                  <a:pt x="10311" y="6496"/>
                </a:lnTo>
                <a:lnTo>
                  <a:pt x="10324" y="6493"/>
                </a:lnTo>
                <a:lnTo>
                  <a:pt x="10334" y="6493"/>
                </a:lnTo>
                <a:lnTo>
                  <a:pt x="10335" y="6485"/>
                </a:lnTo>
                <a:lnTo>
                  <a:pt x="10338" y="6480"/>
                </a:lnTo>
                <a:lnTo>
                  <a:pt x="10343" y="6475"/>
                </a:lnTo>
                <a:lnTo>
                  <a:pt x="10350" y="6472"/>
                </a:lnTo>
                <a:lnTo>
                  <a:pt x="10359" y="6469"/>
                </a:lnTo>
                <a:lnTo>
                  <a:pt x="10369" y="6467"/>
                </a:lnTo>
                <a:lnTo>
                  <a:pt x="10380" y="6465"/>
                </a:lnTo>
                <a:lnTo>
                  <a:pt x="10393" y="6464"/>
                </a:lnTo>
                <a:lnTo>
                  <a:pt x="10423" y="6464"/>
                </a:lnTo>
                <a:lnTo>
                  <a:pt x="10456" y="6466"/>
                </a:lnTo>
                <a:lnTo>
                  <a:pt x="10491" y="6469"/>
                </a:lnTo>
                <a:lnTo>
                  <a:pt x="10529" y="6473"/>
                </a:lnTo>
                <a:lnTo>
                  <a:pt x="10605" y="6484"/>
                </a:lnTo>
                <a:lnTo>
                  <a:pt x="10676" y="6495"/>
                </a:lnTo>
                <a:lnTo>
                  <a:pt x="10706" y="6499"/>
                </a:lnTo>
                <a:lnTo>
                  <a:pt x="10732" y="6502"/>
                </a:lnTo>
                <a:lnTo>
                  <a:pt x="10753" y="6504"/>
                </a:lnTo>
                <a:lnTo>
                  <a:pt x="10768" y="6503"/>
                </a:lnTo>
                <a:close/>
                <a:moveTo>
                  <a:pt x="10938" y="6418"/>
                </a:moveTo>
                <a:lnTo>
                  <a:pt x="10941" y="6408"/>
                </a:lnTo>
                <a:lnTo>
                  <a:pt x="10945" y="6400"/>
                </a:lnTo>
                <a:lnTo>
                  <a:pt x="10949" y="6394"/>
                </a:lnTo>
                <a:lnTo>
                  <a:pt x="10953" y="6390"/>
                </a:lnTo>
                <a:lnTo>
                  <a:pt x="10958" y="6387"/>
                </a:lnTo>
                <a:lnTo>
                  <a:pt x="10963" y="6387"/>
                </a:lnTo>
                <a:lnTo>
                  <a:pt x="10969" y="6387"/>
                </a:lnTo>
                <a:lnTo>
                  <a:pt x="10974" y="6389"/>
                </a:lnTo>
                <a:lnTo>
                  <a:pt x="10999" y="6402"/>
                </a:lnTo>
                <a:lnTo>
                  <a:pt x="11026" y="6415"/>
                </a:lnTo>
                <a:lnTo>
                  <a:pt x="11040" y="6419"/>
                </a:lnTo>
                <a:lnTo>
                  <a:pt x="11052" y="6423"/>
                </a:lnTo>
                <a:lnTo>
                  <a:pt x="11061" y="6425"/>
                </a:lnTo>
                <a:lnTo>
                  <a:pt x="11069" y="6426"/>
                </a:lnTo>
                <a:lnTo>
                  <a:pt x="11076" y="6426"/>
                </a:lnTo>
                <a:lnTo>
                  <a:pt x="11081" y="6425"/>
                </a:lnTo>
                <a:lnTo>
                  <a:pt x="11086" y="6423"/>
                </a:lnTo>
                <a:lnTo>
                  <a:pt x="11090" y="6421"/>
                </a:lnTo>
                <a:lnTo>
                  <a:pt x="11098" y="6415"/>
                </a:lnTo>
                <a:lnTo>
                  <a:pt x="11107" y="6406"/>
                </a:lnTo>
                <a:lnTo>
                  <a:pt x="11113" y="6402"/>
                </a:lnTo>
                <a:lnTo>
                  <a:pt x="11120" y="6397"/>
                </a:lnTo>
                <a:lnTo>
                  <a:pt x="11128" y="6392"/>
                </a:lnTo>
                <a:lnTo>
                  <a:pt x="11138" y="6387"/>
                </a:lnTo>
                <a:lnTo>
                  <a:pt x="11138" y="6402"/>
                </a:lnTo>
                <a:lnTo>
                  <a:pt x="11137" y="6415"/>
                </a:lnTo>
                <a:lnTo>
                  <a:pt x="11136" y="6427"/>
                </a:lnTo>
                <a:lnTo>
                  <a:pt x="11134" y="6437"/>
                </a:lnTo>
                <a:lnTo>
                  <a:pt x="11132" y="6446"/>
                </a:lnTo>
                <a:lnTo>
                  <a:pt x="11129" y="6454"/>
                </a:lnTo>
                <a:lnTo>
                  <a:pt x="11125" y="6460"/>
                </a:lnTo>
                <a:lnTo>
                  <a:pt x="11121" y="6465"/>
                </a:lnTo>
                <a:lnTo>
                  <a:pt x="11117" y="6469"/>
                </a:lnTo>
                <a:lnTo>
                  <a:pt x="11113" y="6472"/>
                </a:lnTo>
                <a:lnTo>
                  <a:pt x="11108" y="6473"/>
                </a:lnTo>
                <a:lnTo>
                  <a:pt x="11102" y="6474"/>
                </a:lnTo>
                <a:lnTo>
                  <a:pt x="11096" y="6474"/>
                </a:lnTo>
                <a:lnTo>
                  <a:pt x="11090" y="6474"/>
                </a:lnTo>
                <a:lnTo>
                  <a:pt x="11084" y="6472"/>
                </a:lnTo>
                <a:lnTo>
                  <a:pt x="11077" y="6470"/>
                </a:lnTo>
                <a:lnTo>
                  <a:pt x="11047" y="6458"/>
                </a:lnTo>
                <a:lnTo>
                  <a:pt x="11012" y="6441"/>
                </a:lnTo>
                <a:lnTo>
                  <a:pt x="10994" y="6433"/>
                </a:lnTo>
                <a:lnTo>
                  <a:pt x="10976" y="6427"/>
                </a:lnTo>
                <a:lnTo>
                  <a:pt x="10966" y="6424"/>
                </a:lnTo>
                <a:lnTo>
                  <a:pt x="10957" y="6421"/>
                </a:lnTo>
                <a:lnTo>
                  <a:pt x="10947" y="6419"/>
                </a:lnTo>
                <a:lnTo>
                  <a:pt x="10938" y="6418"/>
                </a:lnTo>
                <a:close/>
                <a:moveTo>
                  <a:pt x="13446" y="10831"/>
                </a:moveTo>
                <a:lnTo>
                  <a:pt x="13446" y="10819"/>
                </a:lnTo>
                <a:lnTo>
                  <a:pt x="13447" y="10809"/>
                </a:lnTo>
                <a:lnTo>
                  <a:pt x="13449" y="10803"/>
                </a:lnTo>
                <a:lnTo>
                  <a:pt x="13452" y="10798"/>
                </a:lnTo>
                <a:lnTo>
                  <a:pt x="13462" y="10789"/>
                </a:lnTo>
                <a:lnTo>
                  <a:pt x="13477" y="10778"/>
                </a:lnTo>
                <a:lnTo>
                  <a:pt x="13481" y="10797"/>
                </a:lnTo>
                <a:lnTo>
                  <a:pt x="13485" y="10812"/>
                </a:lnTo>
                <a:lnTo>
                  <a:pt x="13486" y="10818"/>
                </a:lnTo>
                <a:lnTo>
                  <a:pt x="13486" y="10824"/>
                </a:lnTo>
                <a:lnTo>
                  <a:pt x="13486" y="10828"/>
                </a:lnTo>
                <a:lnTo>
                  <a:pt x="13485" y="10832"/>
                </a:lnTo>
                <a:lnTo>
                  <a:pt x="13484" y="10834"/>
                </a:lnTo>
                <a:lnTo>
                  <a:pt x="13482" y="10836"/>
                </a:lnTo>
                <a:lnTo>
                  <a:pt x="13479" y="10838"/>
                </a:lnTo>
                <a:lnTo>
                  <a:pt x="13474" y="10838"/>
                </a:lnTo>
                <a:lnTo>
                  <a:pt x="13463" y="10836"/>
                </a:lnTo>
                <a:lnTo>
                  <a:pt x="13446" y="10831"/>
                </a:lnTo>
                <a:close/>
                <a:moveTo>
                  <a:pt x="9520" y="5179"/>
                </a:moveTo>
                <a:lnTo>
                  <a:pt x="9509" y="5169"/>
                </a:lnTo>
                <a:lnTo>
                  <a:pt x="9503" y="5159"/>
                </a:lnTo>
                <a:lnTo>
                  <a:pt x="9498" y="5150"/>
                </a:lnTo>
                <a:lnTo>
                  <a:pt x="9495" y="5141"/>
                </a:lnTo>
                <a:lnTo>
                  <a:pt x="9494" y="5133"/>
                </a:lnTo>
                <a:lnTo>
                  <a:pt x="9494" y="5124"/>
                </a:lnTo>
                <a:lnTo>
                  <a:pt x="9495" y="5116"/>
                </a:lnTo>
                <a:lnTo>
                  <a:pt x="9498" y="5107"/>
                </a:lnTo>
                <a:lnTo>
                  <a:pt x="9505" y="5090"/>
                </a:lnTo>
                <a:lnTo>
                  <a:pt x="9515" y="5072"/>
                </a:lnTo>
                <a:lnTo>
                  <a:pt x="9520" y="5063"/>
                </a:lnTo>
                <a:lnTo>
                  <a:pt x="9524" y="5053"/>
                </a:lnTo>
                <a:lnTo>
                  <a:pt x="9528" y="5043"/>
                </a:lnTo>
                <a:lnTo>
                  <a:pt x="9530" y="5032"/>
                </a:lnTo>
                <a:lnTo>
                  <a:pt x="9522" y="5029"/>
                </a:lnTo>
                <a:lnTo>
                  <a:pt x="9515" y="5026"/>
                </a:lnTo>
                <a:lnTo>
                  <a:pt x="9508" y="5024"/>
                </a:lnTo>
                <a:lnTo>
                  <a:pt x="9504" y="5021"/>
                </a:lnTo>
                <a:lnTo>
                  <a:pt x="9502" y="5019"/>
                </a:lnTo>
                <a:lnTo>
                  <a:pt x="9501" y="5016"/>
                </a:lnTo>
                <a:lnTo>
                  <a:pt x="9501" y="5014"/>
                </a:lnTo>
                <a:lnTo>
                  <a:pt x="9502" y="5011"/>
                </a:lnTo>
                <a:lnTo>
                  <a:pt x="9508" y="5006"/>
                </a:lnTo>
                <a:lnTo>
                  <a:pt x="9519" y="5000"/>
                </a:lnTo>
                <a:lnTo>
                  <a:pt x="9531" y="4995"/>
                </a:lnTo>
                <a:lnTo>
                  <a:pt x="9546" y="4989"/>
                </a:lnTo>
                <a:lnTo>
                  <a:pt x="9578" y="4979"/>
                </a:lnTo>
                <a:lnTo>
                  <a:pt x="9609" y="4967"/>
                </a:lnTo>
                <a:lnTo>
                  <a:pt x="9623" y="4962"/>
                </a:lnTo>
                <a:lnTo>
                  <a:pt x="9634" y="4957"/>
                </a:lnTo>
                <a:lnTo>
                  <a:pt x="9638" y="4954"/>
                </a:lnTo>
                <a:lnTo>
                  <a:pt x="9643" y="4952"/>
                </a:lnTo>
                <a:lnTo>
                  <a:pt x="9645" y="4949"/>
                </a:lnTo>
                <a:lnTo>
                  <a:pt x="9647" y="4947"/>
                </a:lnTo>
                <a:lnTo>
                  <a:pt x="9640" y="4946"/>
                </a:lnTo>
                <a:lnTo>
                  <a:pt x="9633" y="4945"/>
                </a:lnTo>
                <a:lnTo>
                  <a:pt x="9627" y="4943"/>
                </a:lnTo>
                <a:lnTo>
                  <a:pt x="9622" y="4940"/>
                </a:lnTo>
                <a:lnTo>
                  <a:pt x="9617" y="4937"/>
                </a:lnTo>
                <a:lnTo>
                  <a:pt x="9612" y="4933"/>
                </a:lnTo>
                <a:lnTo>
                  <a:pt x="9608" y="4929"/>
                </a:lnTo>
                <a:lnTo>
                  <a:pt x="9605" y="4925"/>
                </a:lnTo>
                <a:lnTo>
                  <a:pt x="9602" y="4920"/>
                </a:lnTo>
                <a:lnTo>
                  <a:pt x="9599" y="4914"/>
                </a:lnTo>
                <a:lnTo>
                  <a:pt x="9597" y="4909"/>
                </a:lnTo>
                <a:lnTo>
                  <a:pt x="9596" y="4903"/>
                </a:lnTo>
                <a:lnTo>
                  <a:pt x="9596" y="4897"/>
                </a:lnTo>
                <a:lnTo>
                  <a:pt x="9597" y="4891"/>
                </a:lnTo>
                <a:lnTo>
                  <a:pt x="9598" y="4885"/>
                </a:lnTo>
                <a:lnTo>
                  <a:pt x="9600" y="4880"/>
                </a:lnTo>
                <a:lnTo>
                  <a:pt x="9603" y="4874"/>
                </a:lnTo>
                <a:lnTo>
                  <a:pt x="9606" y="4871"/>
                </a:lnTo>
                <a:lnTo>
                  <a:pt x="9610" y="4870"/>
                </a:lnTo>
                <a:lnTo>
                  <a:pt x="9613" y="4871"/>
                </a:lnTo>
                <a:lnTo>
                  <a:pt x="9622" y="4876"/>
                </a:lnTo>
                <a:lnTo>
                  <a:pt x="9631" y="4885"/>
                </a:lnTo>
                <a:lnTo>
                  <a:pt x="9642" y="4895"/>
                </a:lnTo>
                <a:lnTo>
                  <a:pt x="9653" y="4903"/>
                </a:lnTo>
                <a:lnTo>
                  <a:pt x="9659" y="4906"/>
                </a:lnTo>
                <a:lnTo>
                  <a:pt x="9665" y="4907"/>
                </a:lnTo>
                <a:lnTo>
                  <a:pt x="9672" y="4907"/>
                </a:lnTo>
                <a:lnTo>
                  <a:pt x="9678" y="4905"/>
                </a:lnTo>
                <a:lnTo>
                  <a:pt x="9696" y="4901"/>
                </a:lnTo>
                <a:lnTo>
                  <a:pt x="9715" y="4894"/>
                </a:lnTo>
                <a:lnTo>
                  <a:pt x="9725" y="4891"/>
                </a:lnTo>
                <a:lnTo>
                  <a:pt x="9734" y="4888"/>
                </a:lnTo>
                <a:lnTo>
                  <a:pt x="9743" y="4885"/>
                </a:lnTo>
                <a:lnTo>
                  <a:pt x="9752" y="4884"/>
                </a:lnTo>
                <a:lnTo>
                  <a:pt x="9755" y="4884"/>
                </a:lnTo>
                <a:lnTo>
                  <a:pt x="9759" y="4885"/>
                </a:lnTo>
                <a:lnTo>
                  <a:pt x="9762" y="4886"/>
                </a:lnTo>
                <a:lnTo>
                  <a:pt x="9766" y="4887"/>
                </a:lnTo>
                <a:lnTo>
                  <a:pt x="9768" y="4889"/>
                </a:lnTo>
                <a:lnTo>
                  <a:pt x="9770" y="4892"/>
                </a:lnTo>
                <a:lnTo>
                  <a:pt x="9772" y="4895"/>
                </a:lnTo>
                <a:lnTo>
                  <a:pt x="9773" y="4899"/>
                </a:lnTo>
                <a:lnTo>
                  <a:pt x="9774" y="4903"/>
                </a:lnTo>
                <a:lnTo>
                  <a:pt x="9774" y="4909"/>
                </a:lnTo>
                <a:lnTo>
                  <a:pt x="9774" y="4915"/>
                </a:lnTo>
                <a:lnTo>
                  <a:pt x="9773" y="4922"/>
                </a:lnTo>
                <a:lnTo>
                  <a:pt x="9769" y="4939"/>
                </a:lnTo>
                <a:lnTo>
                  <a:pt x="9761" y="4960"/>
                </a:lnTo>
                <a:lnTo>
                  <a:pt x="9753" y="4984"/>
                </a:lnTo>
                <a:lnTo>
                  <a:pt x="9745" y="5006"/>
                </a:lnTo>
                <a:lnTo>
                  <a:pt x="9736" y="5027"/>
                </a:lnTo>
                <a:lnTo>
                  <a:pt x="9727" y="5047"/>
                </a:lnTo>
                <a:lnTo>
                  <a:pt x="9718" y="5066"/>
                </a:lnTo>
                <a:lnTo>
                  <a:pt x="9707" y="5084"/>
                </a:lnTo>
                <a:lnTo>
                  <a:pt x="9696" y="5100"/>
                </a:lnTo>
                <a:lnTo>
                  <a:pt x="9684" y="5116"/>
                </a:lnTo>
                <a:lnTo>
                  <a:pt x="9677" y="5123"/>
                </a:lnTo>
                <a:lnTo>
                  <a:pt x="9670" y="5130"/>
                </a:lnTo>
                <a:lnTo>
                  <a:pt x="9662" y="5136"/>
                </a:lnTo>
                <a:lnTo>
                  <a:pt x="9654" y="5142"/>
                </a:lnTo>
                <a:lnTo>
                  <a:pt x="9646" y="5148"/>
                </a:lnTo>
                <a:lnTo>
                  <a:pt x="9636" y="5153"/>
                </a:lnTo>
                <a:lnTo>
                  <a:pt x="9627" y="5158"/>
                </a:lnTo>
                <a:lnTo>
                  <a:pt x="9617" y="5162"/>
                </a:lnTo>
                <a:lnTo>
                  <a:pt x="9607" y="5166"/>
                </a:lnTo>
                <a:lnTo>
                  <a:pt x="9596" y="5169"/>
                </a:lnTo>
                <a:lnTo>
                  <a:pt x="9585" y="5172"/>
                </a:lnTo>
                <a:lnTo>
                  <a:pt x="9573" y="5175"/>
                </a:lnTo>
                <a:lnTo>
                  <a:pt x="9561" y="5177"/>
                </a:lnTo>
                <a:lnTo>
                  <a:pt x="9548" y="5178"/>
                </a:lnTo>
                <a:lnTo>
                  <a:pt x="9534" y="5179"/>
                </a:lnTo>
                <a:lnTo>
                  <a:pt x="9520" y="5179"/>
                </a:lnTo>
                <a:close/>
                <a:moveTo>
                  <a:pt x="8577" y="3974"/>
                </a:moveTo>
                <a:lnTo>
                  <a:pt x="8596" y="3965"/>
                </a:lnTo>
                <a:lnTo>
                  <a:pt x="8640" y="3947"/>
                </a:lnTo>
                <a:lnTo>
                  <a:pt x="8664" y="3937"/>
                </a:lnTo>
                <a:lnTo>
                  <a:pt x="8687" y="3929"/>
                </a:lnTo>
                <a:lnTo>
                  <a:pt x="8704" y="3923"/>
                </a:lnTo>
                <a:lnTo>
                  <a:pt x="8715" y="3920"/>
                </a:lnTo>
                <a:lnTo>
                  <a:pt x="8714" y="3927"/>
                </a:lnTo>
                <a:lnTo>
                  <a:pt x="8712" y="3931"/>
                </a:lnTo>
                <a:lnTo>
                  <a:pt x="8709" y="3934"/>
                </a:lnTo>
                <a:lnTo>
                  <a:pt x="8707" y="3935"/>
                </a:lnTo>
                <a:lnTo>
                  <a:pt x="8707" y="3936"/>
                </a:lnTo>
                <a:lnTo>
                  <a:pt x="8709" y="3937"/>
                </a:lnTo>
                <a:lnTo>
                  <a:pt x="8715" y="3939"/>
                </a:lnTo>
                <a:lnTo>
                  <a:pt x="8725" y="3941"/>
                </a:lnTo>
                <a:lnTo>
                  <a:pt x="8727" y="3950"/>
                </a:lnTo>
                <a:lnTo>
                  <a:pt x="8727" y="3961"/>
                </a:lnTo>
                <a:lnTo>
                  <a:pt x="8727" y="3974"/>
                </a:lnTo>
                <a:lnTo>
                  <a:pt x="8727" y="3986"/>
                </a:lnTo>
                <a:lnTo>
                  <a:pt x="8725" y="4007"/>
                </a:lnTo>
                <a:lnTo>
                  <a:pt x="8725" y="4016"/>
                </a:lnTo>
                <a:lnTo>
                  <a:pt x="8726" y="4018"/>
                </a:lnTo>
                <a:lnTo>
                  <a:pt x="8727" y="4020"/>
                </a:lnTo>
                <a:lnTo>
                  <a:pt x="8729" y="4021"/>
                </a:lnTo>
                <a:lnTo>
                  <a:pt x="8732" y="4022"/>
                </a:lnTo>
                <a:lnTo>
                  <a:pt x="8740" y="4022"/>
                </a:lnTo>
                <a:lnTo>
                  <a:pt x="8751" y="4022"/>
                </a:lnTo>
                <a:lnTo>
                  <a:pt x="8779" y="4017"/>
                </a:lnTo>
                <a:lnTo>
                  <a:pt x="8810" y="4010"/>
                </a:lnTo>
                <a:lnTo>
                  <a:pt x="8842" y="4001"/>
                </a:lnTo>
                <a:lnTo>
                  <a:pt x="8872" y="3993"/>
                </a:lnTo>
                <a:lnTo>
                  <a:pt x="8897" y="3986"/>
                </a:lnTo>
                <a:lnTo>
                  <a:pt x="8912" y="3983"/>
                </a:lnTo>
                <a:lnTo>
                  <a:pt x="8935" y="3979"/>
                </a:lnTo>
                <a:lnTo>
                  <a:pt x="8955" y="3974"/>
                </a:lnTo>
                <a:lnTo>
                  <a:pt x="8974" y="3967"/>
                </a:lnTo>
                <a:lnTo>
                  <a:pt x="8991" y="3961"/>
                </a:lnTo>
                <a:lnTo>
                  <a:pt x="9020" y="3949"/>
                </a:lnTo>
                <a:lnTo>
                  <a:pt x="9041" y="3941"/>
                </a:lnTo>
                <a:lnTo>
                  <a:pt x="9046" y="3940"/>
                </a:lnTo>
                <a:lnTo>
                  <a:pt x="9050" y="3940"/>
                </a:lnTo>
                <a:lnTo>
                  <a:pt x="9054" y="3940"/>
                </a:lnTo>
                <a:lnTo>
                  <a:pt x="9057" y="3940"/>
                </a:lnTo>
                <a:lnTo>
                  <a:pt x="9060" y="3942"/>
                </a:lnTo>
                <a:lnTo>
                  <a:pt x="9063" y="3944"/>
                </a:lnTo>
                <a:lnTo>
                  <a:pt x="9065" y="3947"/>
                </a:lnTo>
                <a:lnTo>
                  <a:pt x="9067" y="3950"/>
                </a:lnTo>
                <a:lnTo>
                  <a:pt x="9071" y="3960"/>
                </a:lnTo>
                <a:lnTo>
                  <a:pt x="9073" y="3975"/>
                </a:lnTo>
                <a:lnTo>
                  <a:pt x="9074" y="3993"/>
                </a:lnTo>
                <a:lnTo>
                  <a:pt x="9075" y="4016"/>
                </a:lnTo>
                <a:lnTo>
                  <a:pt x="9087" y="4020"/>
                </a:lnTo>
                <a:lnTo>
                  <a:pt x="9097" y="4022"/>
                </a:lnTo>
                <a:lnTo>
                  <a:pt x="9106" y="4024"/>
                </a:lnTo>
                <a:lnTo>
                  <a:pt x="9113" y="4024"/>
                </a:lnTo>
                <a:lnTo>
                  <a:pt x="9120" y="4022"/>
                </a:lnTo>
                <a:lnTo>
                  <a:pt x="9125" y="4020"/>
                </a:lnTo>
                <a:lnTo>
                  <a:pt x="9130" y="4017"/>
                </a:lnTo>
                <a:lnTo>
                  <a:pt x="9136" y="4014"/>
                </a:lnTo>
                <a:lnTo>
                  <a:pt x="9144" y="4005"/>
                </a:lnTo>
                <a:lnTo>
                  <a:pt x="9153" y="3994"/>
                </a:lnTo>
                <a:lnTo>
                  <a:pt x="9159" y="3989"/>
                </a:lnTo>
                <a:lnTo>
                  <a:pt x="9165" y="3984"/>
                </a:lnTo>
                <a:lnTo>
                  <a:pt x="9172" y="3979"/>
                </a:lnTo>
                <a:lnTo>
                  <a:pt x="9181" y="3974"/>
                </a:lnTo>
                <a:lnTo>
                  <a:pt x="9182" y="3984"/>
                </a:lnTo>
                <a:lnTo>
                  <a:pt x="9183" y="3992"/>
                </a:lnTo>
                <a:lnTo>
                  <a:pt x="9185" y="3999"/>
                </a:lnTo>
                <a:lnTo>
                  <a:pt x="9188" y="4006"/>
                </a:lnTo>
                <a:lnTo>
                  <a:pt x="9194" y="4017"/>
                </a:lnTo>
                <a:lnTo>
                  <a:pt x="9198" y="4026"/>
                </a:lnTo>
                <a:lnTo>
                  <a:pt x="9199" y="4030"/>
                </a:lnTo>
                <a:lnTo>
                  <a:pt x="9200" y="4034"/>
                </a:lnTo>
                <a:lnTo>
                  <a:pt x="9199" y="4038"/>
                </a:lnTo>
                <a:lnTo>
                  <a:pt x="9196" y="4043"/>
                </a:lnTo>
                <a:lnTo>
                  <a:pt x="9191" y="4048"/>
                </a:lnTo>
                <a:lnTo>
                  <a:pt x="9185" y="4054"/>
                </a:lnTo>
                <a:lnTo>
                  <a:pt x="9176" y="4060"/>
                </a:lnTo>
                <a:lnTo>
                  <a:pt x="9165" y="4068"/>
                </a:lnTo>
                <a:lnTo>
                  <a:pt x="9143" y="4081"/>
                </a:lnTo>
                <a:lnTo>
                  <a:pt x="9120" y="4092"/>
                </a:lnTo>
                <a:lnTo>
                  <a:pt x="9098" y="4103"/>
                </a:lnTo>
                <a:lnTo>
                  <a:pt x="9076" y="4110"/>
                </a:lnTo>
                <a:lnTo>
                  <a:pt x="9053" y="4115"/>
                </a:lnTo>
                <a:lnTo>
                  <a:pt x="9029" y="4119"/>
                </a:lnTo>
                <a:lnTo>
                  <a:pt x="9002" y="4121"/>
                </a:lnTo>
                <a:lnTo>
                  <a:pt x="8974" y="4122"/>
                </a:lnTo>
                <a:lnTo>
                  <a:pt x="8959" y="4123"/>
                </a:lnTo>
                <a:lnTo>
                  <a:pt x="8932" y="4126"/>
                </a:lnTo>
                <a:lnTo>
                  <a:pt x="8899" y="4131"/>
                </a:lnTo>
                <a:lnTo>
                  <a:pt x="8862" y="4135"/>
                </a:lnTo>
                <a:lnTo>
                  <a:pt x="8827" y="4138"/>
                </a:lnTo>
                <a:lnTo>
                  <a:pt x="8797" y="4140"/>
                </a:lnTo>
                <a:lnTo>
                  <a:pt x="8785" y="4139"/>
                </a:lnTo>
                <a:lnTo>
                  <a:pt x="8776" y="4138"/>
                </a:lnTo>
                <a:lnTo>
                  <a:pt x="8773" y="4137"/>
                </a:lnTo>
                <a:lnTo>
                  <a:pt x="8770" y="4135"/>
                </a:lnTo>
                <a:lnTo>
                  <a:pt x="8769" y="4134"/>
                </a:lnTo>
                <a:lnTo>
                  <a:pt x="8768" y="4132"/>
                </a:lnTo>
                <a:lnTo>
                  <a:pt x="8755" y="4132"/>
                </a:lnTo>
                <a:lnTo>
                  <a:pt x="8743" y="4131"/>
                </a:lnTo>
                <a:lnTo>
                  <a:pt x="8731" y="4129"/>
                </a:lnTo>
                <a:lnTo>
                  <a:pt x="8719" y="4127"/>
                </a:lnTo>
                <a:lnTo>
                  <a:pt x="8696" y="4121"/>
                </a:lnTo>
                <a:lnTo>
                  <a:pt x="8672" y="4114"/>
                </a:lnTo>
                <a:lnTo>
                  <a:pt x="8648" y="4107"/>
                </a:lnTo>
                <a:lnTo>
                  <a:pt x="8622" y="4100"/>
                </a:lnTo>
                <a:lnTo>
                  <a:pt x="8595" y="4093"/>
                </a:lnTo>
                <a:lnTo>
                  <a:pt x="8567" y="4089"/>
                </a:lnTo>
                <a:lnTo>
                  <a:pt x="8568" y="4083"/>
                </a:lnTo>
                <a:lnTo>
                  <a:pt x="8571" y="4075"/>
                </a:lnTo>
                <a:lnTo>
                  <a:pt x="8577" y="4067"/>
                </a:lnTo>
                <a:lnTo>
                  <a:pt x="8583" y="4058"/>
                </a:lnTo>
                <a:lnTo>
                  <a:pt x="8597" y="4039"/>
                </a:lnTo>
                <a:lnTo>
                  <a:pt x="8611" y="4020"/>
                </a:lnTo>
                <a:lnTo>
                  <a:pt x="8616" y="4011"/>
                </a:lnTo>
                <a:lnTo>
                  <a:pt x="8619" y="4002"/>
                </a:lnTo>
                <a:lnTo>
                  <a:pt x="8620" y="3998"/>
                </a:lnTo>
                <a:lnTo>
                  <a:pt x="8620" y="3995"/>
                </a:lnTo>
                <a:lnTo>
                  <a:pt x="8620" y="3991"/>
                </a:lnTo>
                <a:lnTo>
                  <a:pt x="8619" y="3988"/>
                </a:lnTo>
                <a:lnTo>
                  <a:pt x="8617" y="3985"/>
                </a:lnTo>
                <a:lnTo>
                  <a:pt x="8615" y="3982"/>
                </a:lnTo>
                <a:lnTo>
                  <a:pt x="8611" y="3980"/>
                </a:lnTo>
                <a:lnTo>
                  <a:pt x="8606" y="3978"/>
                </a:lnTo>
                <a:lnTo>
                  <a:pt x="8601" y="3976"/>
                </a:lnTo>
                <a:lnTo>
                  <a:pt x="8594" y="3975"/>
                </a:lnTo>
                <a:lnTo>
                  <a:pt x="8586" y="3974"/>
                </a:lnTo>
                <a:lnTo>
                  <a:pt x="8577" y="3974"/>
                </a:lnTo>
                <a:close/>
                <a:moveTo>
                  <a:pt x="13139" y="11127"/>
                </a:moveTo>
                <a:lnTo>
                  <a:pt x="13154" y="11140"/>
                </a:lnTo>
                <a:lnTo>
                  <a:pt x="13170" y="11154"/>
                </a:lnTo>
                <a:lnTo>
                  <a:pt x="13177" y="11160"/>
                </a:lnTo>
                <a:lnTo>
                  <a:pt x="13184" y="11166"/>
                </a:lnTo>
                <a:lnTo>
                  <a:pt x="13190" y="11170"/>
                </a:lnTo>
                <a:lnTo>
                  <a:pt x="13197" y="11174"/>
                </a:lnTo>
                <a:lnTo>
                  <a:pt x="13203" y="11176"/>
                </a:lnTo>
                <a:lnTo>
                  <a:pt x="13209" y="11176"/>
                </a:lnTo>
                <a:lnTo>
                  <a:pt x="13212" y="11176"/>
                </a:lnTo>
                <a:lnTo>
                  <a:pt x="13215" y="11175"/>
                </a:lnTo>
                <a:lnTo>
                  <a:pt x="13218" y="11173"/>
                </a:lnTo>
                <a:lnTo>
                  <a:pt x="13221" y="11171"/>
                </a:lnTo>
                <a:lnTo>
                  <a:pt x="13227" y="11164"/>
                </a:lnTo>
                <a:lnTo>
                  <a:pt x="13233" y="11155"/>
                </a:lnTo>
                <a:lnTo>
                  <a:pt x="13239" y="11142"/>
                </a:lnTo>
                <a:lnTo>
                  <a:pt x="13245" y="11127"/>
                </a:lnTo>
                <a:lnTo>
                  <a:pt x="13231" y="11124"/>
                </a:lnTo>
                <a:lnTo>
                  <a:pt x="13220" y="11121"/>
                </a:lnTo>
                <a:lnTo>
                  <a:pt x="13211" y="11117"/>
                </a:lnTo>
                <a:lnTo>
                  <a:pt x="13204" y="11113"/>
                </a:lnTo>
                <a:lnTo>
                  <a:pt x="13199" y="11109"/>
                </a:lnTo>
                <a:lnTo>
                  <a:pt x="13195" y="11104"/>
                </a:lnTo>
                <a:lnTo>
                  <a:pt x="13192" y="11099"/>
                </a:lnTo>
                <a:lnTo>
                  <a:pt x="13191" y="11093"/>
                </a:lnTo>
                <a:lnTo>
                  <a:pt x="13191" y="11086"/>
                </a:lnTo>
                <a:lnTo>
                  <a:pt x="13192" y="11079"/>
                </a:lnTo>
                <a:lnTo>
                  <a:pt x="13194" y="11071"/>
                </a:lnTo>
                <a:lnTo>
                  <a:pt x="13197" y="11063"/>
                </a:lnTo>
                <a:lnTo>
                  <a:pt x="13204" y="11044"/>
                </a:lnTo>
                <a:lnTo>
                  <a:pt x="13213" y="11021"/>
                </a:lnTo>
                <a:lnTo>
                  <a:pt x="13224" y="11028"/>
                </a:lnTo>
                <a:lnTo>
                  <a:pt x="13236" y="11034"/>
                </a:lnTo>
                <a:lnTo>
                  <a:pt x="13251" y="11041"/>
                </a:lnTo>
                <a:lnTo>
                  <a:pt x="13266" y="11047"/>
                </a:lnTo>
                <a:lnTo>
                  <a:pt x="13282" y="11052"/>
                </a:lnTo>
                <a:lnTo>
                  <a:pt x="13300" y="11056"/>
                </a:lnTo>
                <a:lnTo>
                  <a:pt x="13317" y="11059"/>
                </a:lnTo>
                <a:lnTo>
                  <a:pt x="13333" y="11061"/>
                </a:lnTo>
                <a:lnTo>
                  <a:pt x="13341" y="11062"/>
                </a:lnTo>
                <a:lnTo>
                  <a:pt x="13349" y="11061"/>
                </a:lnTo>
                <a:lnTo>
                  <a:pt x="13357" y="11061"/>
                </a:lnTo>
                <a:lnTo>
                  <a:pt x="13364" y="11059"/>
                </a:lnTo>
                <a:lnTo>
                  <a:pt x="13371" y="11058"/>
                </a:lnTo>
                <a:lnTo>
                  <a:pt x="13378" y="11055"/>
                </a:lnTo>
                <a:lnTo>
                  <a:pt x="13384" y="11052"/>
                </a:lnTo>
                <a:lnTo>
                  <a:pt x="13390" y="11048"/>
                </a:lnTo>
                <a:lnTo>
                  <a:pt x="13395" y="11044"/>
                </a:lnTo>
                <a:lnTo>
                  <a:pt x="13400" y="11039"/>
                </a:lnTo>
                <a:lnTo>
                  <a:pt x="13404" y="11033"/>
                </a:lnTo>
                <a:lnTo>
                  <a:pt x="13407" y="11026"/>
                </a:lnTo>
                <a:lnTo>
                  <a:pt x="13410" y="11018"/>
                </a:lnTo>
                <a:lnTo>
                  <a:pt x="13412" y="11009"/>
                </a:lnTo>
                <a:lnTo>
                  <a:pt x="13413" y="11000"/>
                </a:lnTo>
                <a:lnTo>
                  <a:pt x="13414" y="10990"/>
                </a:lnTo>
                <a:lnTo>
                  <a:pt x="13403" y="10989"/>
                </a:lnTo>
                <a:lnTo>
                  <a:pt x="13394" y="10987"/>
                </a:lnTo>
                <a:lnTo>
                  <a:pt x="13386" y="10985"/>
                </a:lnTo>
                <a:lnTo>
                  <a:pt x="13380" y="10981"/>
                </a:lnTo>
                <a:lnTo>
                  <a:pt x="13375" y="10977"/>
                </a:lnTo>
                <a:lnTo>
                  <a:pt x="13371" y="10972"/>
                </a:lnTo>
                <a:lnTo>
                  <a:pt x="13368" y="10966"/>
                </a:lnTo>
                <a:lnTo>
                  <a:pt x="13366" y="10960"/>
                </a:lnTo>
                <a:lnTo>
                  <a:pt x="13365" y="10954"/>
                </a:lnTo>
                <a:lnTo>
                  <a:pt x="13365" y="10947"/>
                </a:lnTo>
                <a:lnTo>
                  <a:pt x="13366" y="10940"/>
                </a:lnTo>
                <a:lnTo>
                  <a:pt x="13367" y="10933"/>
                </a:lnTo>
                <a:lnTo>
                  <a:pt x="13369" y="10926"/>
                </a:lnTo>
                <a:lnTo>
                  <a:pt x="13372" y="10919"/>
                </a:lnTo>
                <a:lnTo>
                  <a:pt x="13375" y="10912"/>
                </a:lnTo>
                <a:lnTo>
                  <a:pt x="13379" y="10905"/>
                </a:lnTo>
                <a:lnTo>
                  <a:pt x="13383" y="10898"/>
                </a:lnTo>
                <a:lnTo>
                  <a:pt x="13387" y="10892"/>
                </a:lnTo>
                <a:lnTo>
                  <a:pt x="13391" y="10887"/>
                </a:lnTo>
                <a:lnTo>
                  <a:pt x="13396" y="10882"/>
                </a:lnTo>
                <a:lnTo>
                  <a:pt x="13401" y="10879"/>
                </a:lnTo>
                <a:lnTo>
                  <a:pt x="13405" y="10876"/>
                </a:lnTo>
                <a:lnTo>
                  <a:pt x="13410" y="10874"/>
                </a:lnTo>
                <a:lnTo>
                  <a:pt x="13414" y="10873"/>
                </a:lnTo>
                <a:lnTo>
                  <a:pt x="13418" y="10873"/>
                </a:lnTo>
                <a:lnTo>
                  <a:pt x="13423" y="10875"/>
                </a:lnTo>
                <a:lnTo>
                  <a:pt x="13427" y="10877"/>
                </a:lnTo>
                <a:lnTo>
                  <a:pt x="13430" y="10882"/>
                </a:lnTo>
                <a:lnTo>
                  <a:pt x="13432" y="10888"/>
                </a:lnTo>
                <a:lnTo>
                  <a:pt x="13434" y="10895"/>
                </a:lnTo>
                <a:lnTo>
                  <a:pt x="13435" y="10905"/>
                </a:lnTo>
                <a:lnTo>
                  <a:pt x="13436" y="10916"/>
                </a:lnTo>
                <a:lnTo>
                  <a:pt x="13445" y="10916"/>
                </a:lnTo>
                <a:lnTo>
                  <a:pt x="13454" y="10915"/>
                </a:lnTo>
                <a:lnTo>
                  <a:pt x="13461" y="10913"/>
                </a:lnTo>
                <a:lnTo>
                  <a:pt x="13468" y="10910"/>
                </a:lnTo>
                <a:lnTo>
                  <a:pt x="13474" y="10907"/>
                </a:lnTo>
                <a:lnTo>
                  <a:pt x="13479" y="10904"/>
                </a:lnTo>
                <a:lnTo>
                  <a:pt x="13484" y="10898"/>
                </a:lnTo>
                <a:lnTo>
                  <a:pt x="13487" y="10894"/>
                </a:lnTo>
                <a:lnTo>
                  <a:pt x="13491" y="10888"/>
                </a:lnTo>
                <a:lnTo>
                  <a:pt x="13493" y="10883"/>
                </a:lnTo>
                <a:lnTo>
                  <a:pt x="13496" y="10877"/>
                </a:lnTo>
                <a:lnTo>
                  <a:pt x="13497" y="10871"/>
                </a:lnTo>
                <a:lnTo>
                  <a:pt x="13500" y="10857"/>
                </a:lnTo>
                <a:lnTo>
                  <a:pt x="13501" y="10843"/>
                </a:lnTo>
                <a:lnTo>
                  <a:pt x="13501" y="10813"/>
                </a:lnTo>
                <a:lnTo>
                  <a:pt x="13502" y="10784"/>
                </a:lnTo>
                <a:lnTo>
                  <a:pt x="13504" y="10769"/>
                </a:lnTo>
                <a:lnTo>
                  <a:pt x="13507" y="10756"/>
                </a:lnTo>
                <a:lnTo>
                  <a:pt x="13509" y="10750"/>
                </a:lnTo>
                <a:lnTo>
                  <a:pt x="13512" y="10745"/>
                </a:lnTo>
                <a:lnTo>
                  <a:pt x="13515" y="10740"/>
                </a:lnTo>
                <a:lnTo>
                  <a:pt x="13519" y="10735"/>
                </a:lnTo>
                <a:lnTo>
                  <a:pt x="13521" y="10760"/>
                </a:lnTo>
                <a:lnTo>
                  <a:pt x="13524" y="10792"/>
                </a:lnTo>
                <a:lnTo>
                  <a:pt x="13530" y="10827"/>
                </a:lnTo>
                <a:lnTo>
                  <a:pt x="13538" y="10863"/>
                </a:lnTo>
                <a:lnTo>
                  <a:pt x="13542" y="10880"/>
                </a:lnTo>
                <a:lnTo>
                  <a:pt x="13548" y="10896"/>
                </a:lnTo>
                <a:lnTo>
                  <a:pt x="13553" y="10913"/>
                </a:lnTo>
                <a:lnTo>
                  <a:pt x="13559" y="10926"/>
                </a:lnTo>
                <a:lnTo>
                  <a:pt x="13565" y="10938"/>
                </a:lnTo>
                <a:lnTo>
                  <a:pt x="13571" y="10947"/>
                </a:lnTo>
                <a:lnTo>
                  <a:pt x="13574" y="10951"/>
                </a:lnTo>
                <a:lnTo>
                  <a:pt x="13577" y="10954"/>
                </a:lnTo>
                <a:lnTo>
                  <a:pt x="13580" y="10957"/>
                </a:lnTo>
                <a:lnTo>
                  <a:pt x="13583" y="10958"/>
                </a:lnTo>
                <a:lnTo>
                  <a:pt x="13591" y="10965"/>
                </a:lnTo>
                <a:lnTo>
                  <a:pt x="13596" y="10972"/>
                </a:lnTo>
                <a:lnTo>
                  <a:pt x="13601" y="10978"/>
                </a:lnTo>
                <a:lnTo>
                  <a:pt x="13604" y="10984"/>
                </a:lnTo>
                <a:lnTo>
                  <a:pt x="13607" y="10990"/>
                </a:lnTo>
                <a:lnTo>
                  <a:pt x="13608" y="10996"/>
                </a:lnTo>
                <a:lnTo>
                  <a:pt x="13609" y="11001"/>
                </a:lnTo>
                <a:lnTo>
                  <a:pt x="13608" y="11007"/>
                </a:lnTo>
                <a:lnTo>
                  <a:pt x="13607" y="11012"/>
                </a:lnTo>
                <a:lnTo>
                  <a:pt x="13605" y="11017"/>
                </a:lnTo>
                <a:lnTo>
                  <a:pt x="13603" y="11022"/>
                </a:lnTo>
                <a:lnTo>
                  <a:pt x="13600" y="11027"/>
                </a:lnTo>
                <a:lnTo>
                  <a:pt x="13592" y="11036"/>
                </a:lnTo>
                <a:lnTo>
                  <a:pt x="13583" y="11045"/>
                </a:lnTo>
                <a:lnTo>
                  <a:pt x="13562" y="11062"/>
                </a:lnTo>
                <a:lnTo>
                  <a:pt x="13541" y="11079"/>
                </a:lnTo>
                <a:lnTo>
                  <a:pt x="13532" y="11088"/>
                </a:lnTo>
                <a:lnTo>
                  <a:pt x="13525" y="11097"/>
                </a:lnTo>
                <a:lnTo>
                  <a:pt x="13523" y="11102"/>
                </a:lnTo>
                <a:lnTo>
                  <a:pt x="13521" y="11106"/>
                </a:lnTo>
                <a:lnTo>
                  <a:pt x="13520" y="11111"/>
                </a:lnTo>
                <a:lnTo>
                  <a:pt x="13519" y="11117"/>
                </a:lnTo>
                <a:lnTo>
                  <a:pt x="13513" y="11121"/>
                </a:lnTo>
                <a:lnTo>
                  <a:pt x="13507" y="11126"/>
                </a:lnTo>
                <a:lnTo>
                  <a:pt x="13503" y="11132"/>
                </a:lnTo>
                <a:lnTo>
                  <a:pt x="13499" y="11139"/>
                </a:lnTo>
                <a:lnTo>
                  <a:pt x="13496" y="11147"/>
                </a:lnTo>
                <a:lnTo>
                  <a:pt x="13493" y="11156"/>
                </a:lnTo>
                <a:lnTo>
                  <a:pt x="13491" y="11165"/>
                </a:lnTo>
                <a:lnTo>
                  <a:pt x="13490" y="11174"/>
                </a:lnTo>
                <a:lnTo>
                  <a:pt x="13488" y="11192"/>
                </a:lnTo>
                <a:lnTo>
                  <a:pt x="13488" y="11208"/>
                </a:lnTo>
                <a:lnTo>
                  <a:pt x="13488" y="11222"/>
                </a:lnTo>
                <a:lnTo>
                  <a:pt x="13488" y="11233"/>
                </a:lnTo>
                <a:lnTo>
                  <a:pt x="13475" y="11233"/>
                </a:lnTo>
                <a:lnTo>
                  <a:pt x="13462" y="11233"/>
                </a:lnTo>
                <a:lnTo>
                  <a:pt x="13449" y="11233"/>
                </a:lnTo>
                <a:lnTo>
                  <a:pt x="13436" y="11233"/>
                </a:lnTo>
                <a:lnTo>
                  <a:pt x="13434" y="11253"/>
                </a:lnTo>
                <a:lnTo>
                  <a:pt x="13432" y="11272"/>
                </a:lnTo>
                <a:lnTo>
                  <a:pt x="13429" y="11293"/>
                </a:lnTo>
                <a:lnTo>
                  <a:pt x="13425" y="11314"/>
                </a:lnTo>
                <a:lnTo>
                  <a:pt x="13415" y="11354"/>
                </a:lnTo>
                <a:lnTo>
                  <a:pt x="13406" y="11393"/>
                </a:lnTo>
                <a:lnTo>
                  <a:pt x="13397" y="11433"/>
                </a:lnTo>
                <a:lnTo>
                  <a:pt x="13389" y="11471"/>
                </a:lnTo>
                <a:lnTo>
                  <a:pt x="13386" y="11489"/>
                </a:lnTo>
                <a:lnTo>
                  <a:pt x="13384" y="11506"/>
                </a:lnTo>
                <a:lnTo>
                  <a:pt x="13383" y="11523"/>
                </a:lnTo>
                <a:lnTo>
                  <a:pt x="13382" y="11540"/>
                </a:lnTo>
                <a:lnTo>
                  <a:pt x="13378" y="11541"/>
                </a:lnTo>
                <a:lnTo>
                  <a:pt x="13374" y="11542"/>
                </a:lnTo>
                <a:lnTo>
                  <a:pt x="13370" y="11545"/>
                </a:lnTo>
                <a:lnTo>
                  <a:pt x="13367" y="11548"/>
                </a:lnTo>
                <a:lnTo>
                  <a:pt x="13364" y="11552"/>
                </a:lnTo>
                <a:lnTo>
                  <a:pt x="13361" y="11557"/>
                </a:lnTo>
                <a:lnTo>
                  <a:pt x="13359" y="11562"/>
                </a:lnTo>
                <a:lnTo>
                  <a:pt x="13357" y="11569"/>
                </a:lnTo>
                <a:lnTo>
                  <a:pt x="13353" y="11583"/>
                </a:lnTo>
                <a:lnTo>
                  <a:pt x="13350" y="11600"/>
                </a:lnTo>
                <a:lnTo>
                  <a:pt x="13348" y="11619"/>
                </a:lnTo>
                <a:lnTo>
                  <a:pt x="13347" y="11639"/>
                </a:lnTo>
                <a:lnTo>
                  <a:pt x="13345" y="11684"/>
                </a:lnTo>
                <a:lnTo>
                  <a:pt x="13345" y="11731"/>
                </a:lnTo>
                <a:lnTo>
                  <a:pt x="13344" y="11778"/>
                </a:lnTo>
                <a:lnTo>
                  <a:pt x="13343" y="11824"/>
                </a:lnTo>
                <a:lnTo>
                  <a:pt x="13324" y="11850"/>
                </a:lnTo>
                <a:lnTo>
                  <a:pt x="13305" y="11877"/>
                </a:lnTo>
                <a:lnTo>
                  <a:pt x="13285" y="11904"/>
                </a:lnTo>
                <a:lnTo>
                  <a:pt x="13266" y="11931"/>
                </a:lnTo>
                <a:lnTo>
                  <a:pt x="13242" y="11932"/>
                </a:lnTo>
                <a:lnTo>
                  <a:pt x="13221" y="11929"/>
                </a:lnTo>
                <a:lnTo>
                  <a:pt x="13202" y="11922"/>
                </a:lnTo>
                <a:lnTo>
                  <a:pt x="13184" y="11911"/>
                </a:lnTo>
                <a:lnTo>
                  <a:pt x="13168" y="11896"/>
                </a:lnTo>
                <a:lnTo>
                  <a:pt x="13153" y="11879"/>
                </a:lnTo>
                <a:lnTo>
                  <a:pt x="13140" y="11859"/>
                </a:lnTo>
                <a:lnTo>
                  <a:pt x="13130" y="11837"/>
                </a:lnTo>
                <a:lnTo>
                  <a:pt x="13120" y="11812"/>
                </a:lnTo>
                <a:lnTo>
                  <a:pt x="13112" y="11784"/>
                </a:lnTo>
                <a:lnTo>
                  <a:pt x="13105" y="11754"/>
                </a:lnTo>
                <a:lnTo>
                  <a:pt x="13100" y="11724"/>
                </a:lnTo>
                <a:lnTo>
                  <a:pt x="13095" y="11692"/>
                </a:lnTo>
                <a:lnTo>
                  <a:pt x="13092" y="11658"/>
                </a:lnTo>
                <a:lnTo>
                  <a:pt x="13090" y="11623"/>
                </a:lnTo>
                <a:lnTo>
                  <a:pt x="13089" y="11588"/>
                </a:lnTo>
                <a:lnTo>
                  <a:pt x="13088" y="11553"/>
                </a:lnTo>
                <a:lnTo>
                  <a:pt x="13089" y="11516"/>
                </a:lnTo>
                <a:lnTo>
                  <a:pt x="13090" y="11480"/>
                </a:lnTo>
                <a:lnTo>
                  <a:pt x="13092" y="11445"/>
                </a:lnTo>
                <a:lnTo>
                  <a:pt x="13094" y="11410"/>
                </a:lnTo>
                <a:lnTo>
                  <a:pt x="13097" y="11375"/>
                </a:lnTo>
                <a:lnTo>
                  <a:pt x="13101" y="11342"/>
                </a:lnTo>
                <a:lnTo>
                  <a:pt x="13104" y="11310"/>
                </a:lnTo>
                <a:lnTo>
                  <a:pt x="13113" y="11250"/>
                </a:lnTo>
                <a:lnTo>
                  <a:pt x="13122" y="11199"/>
                </a:lnTo>
                <a:lnTo>
                  <a:pt x="13126" y="11177"/>
                </a:lnTo>
                <a:lnTo>
                  <a:pt x="13130" y="11158"/>
                </a:lnTo>
                <a:lnTo>
                  <a:pt x="13135" y="11140"/>
                </a:lnTo>
                <a:lnTo>
                  <a:pt x="13139" y="11127"/>
                </a:lnTo>
                <a:close/>
                <a:moveTo>
                  <a:pt x="14524" y="7522"/>
                </a:moveTo>
                <a:lnTo>
                  <a:pt x="14491" y="7522"/>
                </a:lnTo>
                <a:lnTo>
                  <a:pt x="14457" y="7520"/>
                </a:lnTo>
                <a:lnTo>
                  <a:pt x="14422" y="7516"/>
                </a:lnTo>
                <a:lnTo>
                  <a:pt x="14389" y="7511"/>
                </a:lnTo>
                <a:lnTo>
                  <a:pt x="14359" y="7506"/>
                </a:lnTo>
                <a:lnTo>
                  <a:pt x="14332" y="7500"/>
                </a:lnTo>
                <a:lnTo>
                  <a:pt x="14310" y="7492"/>
                </a:lnTo>
                <a:lnTo>
                  <a:pt x="14292" y="7487"/>
                </a:lnTo>
                <a:lnTo>
                  <a:pt x="14272" y="7486"/>
                </a:lnTo>
                <a:lnTo>
                  <a:pt x="14253" y="7484"/>
                </a:lnTo>
                <a:lnTo>
                  <a:pt x="14233" y="7482"/>
                </a:lnTo>
                <a:lnTo>
                  <a:pt x="14214" y="7478"/>
                </a:lnTo>
                <a:lnTo>
                  <a:pt x="14195" y="7474"/>
                </a:lnTo>
                <a:lnTo>
                  <a:pt x="14176" y="7469"/>
                </a:lnTo>
                <a:lnTo>
                  <a:pt x="14157" y="7463"/>
                </a:lnTo>
                <a:lnTo>
                  <a:pt x="14138" y="7456"/>
                </a:lnTo>
                <a:lnTo>
                  <a:pt x="14101" y="7442"/>
                </a:lnTo>
                <a:lnTo>
                  <a:pt x="14064" y="7427"/>
                </a:lnTo>
                <a:lnTo>
                  <a:pt x="14027" y="7410"/>
                </a:lnTo>
                <a:lnTo>
                  <a:pt x="13990" y="7394"/>
                </a:lnTo>
                <a:lnTo>
                  <a:pt x="13954" y="7379"/>
                </a:lnTo>
                <a:lnTo>
                  <a:pt x="13917" y="7364"/>
                </a:lnTo>
                <a:lnTo>
                  <a:pt x="13898" y="7358"/>
                </a:lnTo>
                <a:lnTo>
                  <a:pt x="13880" y="7352"/>
                </a:lnTo>
                <a:lnTo>
                  <a:pt x="13861" y="7347"/>
                </a:lnTo>
                <a:lnTo>
                  <a:pt x="13843" y="7343"/>
                </a:lnTo>
                <a:lnTo>
                  <a:pt x="13824" y="7340"/>
                </a:lnTo>
                <a:lnTo>
                  <a:pt x="13806" y="7338"/>
                </a:lnTo>
                <a:lnTo>
                  <a:pt x="13786" y="7336"/>
                </a:lnTo>
                <a:lnTo>
                  <a:pt x="13767" y="7336"/>
                </a:lnTo>
                <a:lnTo>
                  <a:pt x="13748" y="7337"/>
                </a:lnTo>
                <a:lnTo>
                  <a:pt x="13729" y="7340"/>
                </a:lnTo>
                <a:lnTo>
                  <a:pt x="13709" y="7343"/>
                </a:lnTo>
                <a:lnTo>
                  <a:pt x="13690" y="7349"/>
                </a:lnTo>
                <a:lnTo>
                  <a:pt x="13690" y="7345"/>
                </a:lnTo>
                <a:lnTo>
                  <a:pt x="13691" y="7342"/>
                </a:lnTo>
                <a:lnTo>
                  <a:pt x="13690" y="7340"/>
                </a:lnTo>
                <a:lnTo>
                  <a:pt x="13689" y="7338"/>
                </a:lnTo>
                <a:lnTo>
                  <a:pt x="13688" y="7337"/>
                </a:lnTo>
                <a:lnTo>
                  <a:pt x="13685" y="7337"/>
                </a:lnTo>
                <a:lnTo>
                  <a:pt x="13682" y="7337"/>
                </a:lnTo>
                <a:lnTo>
                  <a:pt x="13679" y="7338"/>
                </a:lnTo>
                <a:lnTo>
                  <a:pt x="13680" y="7333"/>
                </a:lnTo>
                <a:lnTo>
                  <a:pt x="13680" y="7326"/>
                </a:lnTo>
                <a:lnTo>
                  <a:pt x="13679" y="7318"/>
                </a:lnTo>
                <a:lnTo>
                  <a:pt x="13677" y="7309"/>
                </a:lnTo>
                <a:lnTo>
                  <a:pt x="13674" y="7298"/>
                </a:lnTo>
                <a:lnTo>
                  <a:pt x="13669" y="7287"/>
                </a:lnTo>
                <a:lnTo>
                  <a:pt x="13665" y="7275"/>
                </a:lnTo>
                <a:lnTo>
                  <a:pt x="13659" y="7263"/>
                </a:lnTo>
                <a:lnTo>
                  <a:pt x="13647" y="7236"/>
                </a:lnTo>
                <a:lnTo>
                  <a:pt x="13632" y="7209"/>
                </a:lnTo>
                <a:lnTo>
                  <a:pt x="13615" y="7182"/>
                </a:lnTo>
                <a:lnTo>
                  <a:pt x="13596" y="7156"/>
                </a:lnTo>
                <a:lnTo>
                  <a:pt x="13587" y="7144"/>
                </a:lnTo>
                <a:lnTo>
                  <a:pt x="13577" y="7133"/>
                </a:lnTo>
                <a:lnTo>
                  <a:pt x="13567" y="7122"/>
                </a:lnTo>
                <a:lnTo>
                  <a:pt x="13557" y="7111"/>
                </a:lnTo>
                <a:lnTo>
                  <a:pt x="13546" y="7102"/>
                </a:lnTo>
                <a:lnTo>
                  <a:pt x="13535" y="7095"/>
                </a:lnTo>
                <a:lnTo>
                  <a:pt x="13525" y="7089"/>
                </a:lnTo>
                <a:lnTo>
                  <a:pt x="13515" y="7084"/>
                </a:lnTo>
                <a:lnTo>
                  <a:pt x="13505" y="7081"/>
                </a:lnTo>
                <a:lnTo>
                  <a:pt x="13495" y="7079"/>
                </a:lnTo>
                <a:lnTo>
                  <a:pt x="13486" y="7080"/>
                </a:lnTo>
                <a:lnTo>
                  <a:pt x="13477" y="7082"/>
                </a:lnTo>
                <a:lnTo>
                  <a:pt x="13468" y="7087"/>
                </a:lnTo>
                <a:lnTo>
                  <a:pt x="13460" y="7093"/>
                </a:lnTo>
                <a:lnTo>
                  <a:pt x="13452" y="7102"/>
                </a:lnTo>
                <a:lnTo>
                  <a:pt x="13445" y="7113"/>
                </a:lnTo>
                <a:lnTo>
                  <a:pt x="13443" y="7117"/>
                </a:lnTo>
                <a:lnTo>
                  <a:pt x="13442" y="7122"/>
                </a:lnTo>
                <a:lnTo>
                  <a:pt x="13442" y="7127"/>
                </a:lnTo>
                <a:lnTo>
                  <a:pt x="13442" y="7132"/>
                </a:lnTo>
                <a:lnTo>
                  <a:pt x="13443" y="7144"/>
                </a:lnTo>
                <a:lnTo>
                  <a:pt x="13447" y="7156"/>
                </a:lnTo>
                <a:lnTo>
                  <a:pt x="13451" y="7170"/>
                </a:lnTo>
                <a:lnTo>
                  <a:pt x="13457" y="7185"/>
                </a:lnTo>
                <a:lnTo>
                  <a:pt x="13464" y="7200"/>
                </a:lnTo>
                <a:lnTo>
                  <a:pt x="13472" y="7215"/>
                </a:lnTo>
                <a:lnTo>
                  <a:pt x="13481" y="7230"/>
                </a:lnTo>
                <a:lnTo>
                  <a:pt x="13490" y="7246"/>
                </a:lnTo>
                <a:lnTo>
                  <a:pt x="13499" y="7260"/>
                </a:lnTo>
                <a:lnTo>
                  <a:pt x="13508" y="7273"/>
                </a:lnTo>
                <a:lnTo>
                  <a:pt x="13517" y="7284"/>
                </a:lnTo>
                <a:lnTo>
                  <a:pt x="13526" y="7294"/>
                </a:lnTo>
                <a:lnTo>
                  <a:pt x="13534" y="7301"/>
                </a:lnTo>
                <a:lnTo>
                  <a:pt x="13541" y="7307"/>
                </a:lnTo>
                <a:lnTo>
                  <a:pt x="13541" y="7319"/>
                </a:lnTo>
                <a:lnTo>
                  <a:pt x="13544" y="7334"/>
                </a:lnTo>
                <a:lnTo>
                  <a:pt x="13549" y="7349"/>
                </a:lnTo>
                <a:lnTo>
                  <a:pt x="13554" y="7366"/>
                </a:lnTo>
                <a:lnTo>
                  <a:pt x="13560" y="7383"/>
                </a:lnTo>
                <a:lnTo>
                  <a:pt x="13567" y="7399"/>
                </a:lnTo>
                <a:lnTo>
                  <a:pt x="13571" y="7405"/>
                </a:lnTo>
                <a:lnTo>
                  <a:pt x="13575" y="7412"/>
                </a:lnTo>
                <a:lnTo>
                  <a:pt x="13579" y="7417"/>
                </a:lnTo>
                <a:lnTo>
                  <a:pt x="13584" y="7422"/>
                </a:lnTo>
                <a:lnTo>
                  <a:pt x="13594" y="7433"/>
                </a:lnTo>
                <a:lnTo>
                  <a:pt x="13601" y="7443"/>
                </a:lnTo>
                <a:lnTo>
                  <a:pt x="13605" y="7452"/>
                </a:lnTo>
                <a:lnTo>
                  <a:pt x="13607" y="7460"/>
                </a:lnTo>
                <a:lnTo>
                  <a:pt x="13608" y="7468"/>
                </a:lnTo>
                <a:lnTo>
                  <a:pt x="13607" y="7475"/>
                </a:lnTo>
                <a:lnTo>
                  <a:pt x="13604" y="7482"/>
                </a:lnTo>
                <a:lnTo>
                  <a:pt x="13601" y="7489"/>
                </a:lnTo>
                <a:lnTo>
                  <a:pt x="13594" y="7502"/>
                </a:lnTo>
                <a:lnTo>
                  <a:pt x="13586" y="7514"/>
                </a:lnTo>
                <a:lnTo>
                  <a:pt x="13584" y="7520"/>
                </a:lnTo>
                <a:lnTo>
                  <a:pt x="13582" y="7526"/>
                </a:lnTo>
                <a:lnTo>
                  <a:pt x="13582" y="7533"/>
                </a:lnTo>
                <a:lnTo>
                  <a:pt x="13583" y="7540"/>
                </a:lnTo>
                <a:lnTo>
                  <a:pt x="13597" y="7540"/>
                </a:lnTo>
                <a:lnTo>
                  <a:pt x="13609" y="7539"/>
                </a:lnTo>
                <a:lnTo>
                  <a:pt x="13618" y="7538"/>
                </a:lnTo>
                <a:lnTo>
                  <a:pt x="13627" y="7536"/>
                </a:lnTo>
                <a:lnTo>
                  <a:pt x="13633" y="7533"/>
                </a:lnTo>
                <a:lnTo>
                  <a:pt x="13639" y="7529"/>
                </a:lnTo>
                <a:lnTo>
                  <a:pt x="13644" y="7525"/>
                </a:lnTo>
                <a:lnTo>
                  <a:pt x="13648" y="7519"/>
                </a:lnTo>
                <a:lnTo>
                  <a:pt x="13651" y="7511"/>
                </a:lnTo>
                <a:lnTo>
                  <a:pt x="13653" y="7503"/>
                </a:lnTo>
                <a:lnTo>
                  <a:pt x="13655" y="7491"/>
                </a:lnTo>
                <a:lnTo>
                  <a:pt x="13658" y="7480"/>
                </a:lnTo>
                <a:lnTo>
                  <a:pt x="13662" y="7450"/>
                </a:lnTo>
                <a:lnTo>
                  <a:pt x="13668" y="7413"/>
                </a:lnTo>
                <a:lnTo>
                  <a:pt x="13674" y="7417"/>
                </a:lnTo>
                <a:lnTo>
                  <a:pt x="13678" y="7421"/>
                </a:lnTo>
                <a:lnTo>
                  <a:pt x="13682" y="7423"/>
                </a:lnTo>
                <a:lnTo>
                  <a:pt x="13690" y="7423"/>
                </a:lnTo>
                <a:lnTo>
                  <a:pt x="13686" y="7439"/>
                </a:lnTo>
                <a:lnTo>
                  <a:pt x="13685" y="7454"/>
                </a:lnTo>
                <a:lnTo>
                  <a:pt x="13685" y="7469"/>
                </a:lnTo>
                <a:lnTo>
                  <a:pt x="13687" y="7484"/>
                </a:lnTo>
                <a:lnTo>
                  <a:pt x="13690" y="7499"/>
                </a:lnTo>
                <a:lnTo>
                  <a:pt x="13695" y="7513"/>
                </a:lnTo>
                <a:lnTo>
                  <a:pt x="13701" y="7527"/>
                </a:lnTo>
                <a:lnTo>
                  <a:pt x="13709" y="7540"/>
                </a:lnTo>
                <a:lnTo>
                  <a:pt x="13721" y="7560"/>
                </a:lnTo>
                <a:lnTo>
                  <a:pt x="13730" y="7575"/>
                </a:lnTo>
                <a:lnTo>
                  <a:pt x="13736" y="7586"/>
                </a:lnTo>
                <a:lnTo>
                  <a:pt x="13739" y="7593"/>
                </a:lnTo>
                <a:lnTo>
                  <a:pt x="13740" y="7597"/>
                </a:lnTo>
                <a:lnTo>
                  <a:pt x="13739" y="7600"/>
                </a:lnTo>
                <a:lnTo>
                  <a:pt x="13736" y="7600"/>
                </a:lnTo>
                <a:lnTo>
                  <a:pt x="13733" y="7599"/>
                </a:lnTo>
                <a:lnTo>
                  <a:pt x="13729" y="7599"/>
                </a:lnTo>
                <a:lnTo>
                  <a:pt x="13724" y="7598"/>
                </a:lnTo>
                <a:lnTo>
                  <a:pt x="13720" y="7598"/>
                </a:lnTo>
                <a:lnTo>
                  <a:pt x="13717" y="7600"/>
                </a:lnTo>
                <a:lnTo>
                  <a:pt x="13716" y="7601"/>
                </a:lnTo>
                <a:lnTo>
                  <a:pt x="13715" y="7604"/>
                </a:lnTo>
                <a:lnTo>
                  <a:pt x="13715" y="7607"/>
                </a:lnTo>
                <a:lnTo>
                  <a:pt x="13715" y="7610"/>
                </a:lnTo>
                <a:lnTo>
                  <a:pt x="13717" y="7620"/>
                </a:lnTo>
                <a:lnTo>
                  <a:pt x="13721" y="7635"/>
                </a:lnTo>
                <a:lnTo>
                  <a:pt x="13741" y="7635"/>
                </a:lnTo>
                <a:lnTo>
                  <a:pt x="13761" y="7633"/>
                </a:lnTo>
                <a:lnTo>
                  <a:pt x="13781" y="7629"/>
                </a:lnTo>
                <a:lnTo>
                  <a:pt x="13801" y="7624"/>
                </a:lnTo>
                <a:lnTo>
                  <a:pt x="13820" y="7617"/>
                </a:lnTo>
                <a:lnTo>
                  <a:pt x="13838" y="7609"/>
                </a:lnTo>
                <a:lnTo>
                  <a:pt x="13856" y="7600"/>
                </a:lnTo>
                <a:lnTo>
                  <a:pt x="13874" y="7589"/>
                </a:lnTo>
                <a:lnTo>
                  <a:pt x="13890" y="7577"/>
                </a:lnTo>
                <a:lnTo>
                  <a:pt x="13907" y="7563"/>
                </a:lnTo>
                <a:lnTo>
                  <a:pt x="13922" y="7547"/>
                </a:lnTo>
                <a:lnTo>
                  <a:pt x="13937" y="7530"/>
                </a:lnTo>
                <a:lnTo>
                  <a:pt x="13951" y="7512"/>
                </a:lnTo>
                <a:lnTo>
                  <a:pt x="13963" y="7490"/>
                </a:lnTo>
                <a:lnTo>
                  <a:pt x="13975" y="7468"/>
                </a:lnTo>
                <a:lnTo>
                  <a:pt x="13986" y="7444"/>
                </a:lnTo>
                <a:lnTo>
                  <a:pt x="13992" y="7450"/>
                </a:lnTo>
                <a:lnTo>
                  <a:pt x="13997" y="7456"/>
                </a:lnTo>
                <a:lnTo>
                  <a:pt x="14000" y="7463"/>
                </a:lnTo>
                <a:lnTo>
                  <a:pt x="14002" y="7469"/>
                </a:lnTo>
                <a:lnTo>
                  <a:pt x="14003" y="7476"/>
                </a:lnTo>
                <a:lnTo>
                  <a:pt x="14003" y="7482"/>
                </a:lnTo>
                <a:lnTo>
                  <a:pt x="14002" y="7489"/>
                </a:lnTo>
                <a:lnTo>
                  <a:pt x="14001" y="7495"/>
                </a:lnTo>
                <a:lnTo>
                  <a:pt x="14001" y="7503"/>
                </a:lnTo>
                <a:lnTo>
                  <a:pt x="14000" y="7509"/>
                </a:lnTo>
                <a:lnTo>
                  <a:pt x="14000" y="7515"/>
                </a:lnTo>
                <a:lnTo>
                  <a:pt x="14001" y="7521"/>
                </a:lnTo>
                <a:lnTo>
                  <a:pt x="14003" y="7526"/>
                </a:lnTo>
                <a:lnTo>
                  <a:pt x="14006" y="7531"/>
                </a:lnTo>
                <a:lnTo>
                  <a:pt x="14010" y="7536"/>
                </a:lnTo>
                <a:lnTo>
                  <a:pt x="14017" y="7540"/>
                </a:lnTo>
                <a:lnTo>
                  <a:pt x="14042" y="7567"/>
                </a:lnTo>
                <a:lnTo>
                  <a:pt x="14063" y="7591"/>
                </a:lnTo>
                <a:lnTo>
                  <a:pt x="14066" y="7598"/>
                </a:lnTo>
                <a:lnTo>
                  <a:pt x="14069" y="7604"/>
                </a:lnTo>
                <a:lnTo>
                  <a:pt x="14071" y="7610"/>
                </a:lnTo>
                <a:lnTo>
                  <a:pt x="14071" y="7617"/>
                </a:lnTo>
                <a:lnTo>
                  <a:pt x="14071" y="7625"/>
                </a:lnTo>
                <a:lnTo>
                  <a:pt x="14070" y="7633"/>
                </a:lnTo>
                <a:lnTo>
                  <a:pt x="14068" y="7641"/>
                </a:lnTo>
                <a:lnTo>
                  <a:pt x="14064" y="7650"/>
                </a:lnTo>
                <a:lnTo>
                  <a:pt x="14063" y="7653"/>
                </a:lnTo>
                <a:lnTo>
                  <a:pt x="14063" y="7656"/>
                </a:lnTo>
                <a:lnTo>
                  <a:pt x="14063" y="7659"/>
                </a:lnTo>
                <a:lnTo>
                  <a:pt x="14064" y="7663"/>
                </a:lnTo>
                <a:lnTo>
                  <a:pt x="14067" y="7670"/>
                </a:lnTo>
                <a:lnTo>
                  <a:pt x="14072" y="7676"/>
                </a:lnTo>
                <a:lnTo>
                  <a:pt x="14078" y="7683"/>
                </a:lnTo>
                <a:lnTo>
                  <a:pt x="14085" y="7688"/>
                </a:lnTo>
                <a:lnTo>
                  <a:pt x="14093" y="7692"/>
                </a:lnTo>
                <a:lnTo>
                  <a:pt x="14101" y="7695"/>
                </a:lnTo>
                <a:lnTo>
                  <a:pt x="14105" y="7695"/>
                </a:lnTo>
                <a:lnTo>
                  <a:pt x="14109" y="7696"/>
                </a:lnTo>
                <a:lnTo>
                  <a:pt x="14113" y="7695"/>
                </a:lnTo>
                <a:lnTo>
                  <a:pt x="14116" y="7694"/>
                </a:lnTo>
                <a:lnTo>
                  <a:pt x="14120" y="7693"/>
                </a:lnTo>
                <a:lnTo>
                  <a:pt x="14123" y="7691"/>
                </a:lnTo>
                <a:lnTo>
                  <a:pt x="14126" y="7688"/>
                </a:lnTo>
                <a:lnTo>
                  <a:pt x="14129" y="7684"/>
                </a:lnTo>
                <a:lnTo>
                  <a:pt x="14131" y="7680"/>
                </a:lnTo>
                <a:lnTo>
                  <a:pt x="14133" y="7675"/>
                </a:lnTo>
                <a:lnTo>
                  <a:pt x="14135" y="7669"/>
                </a:lnTo>
                <a:lnTo>
                  <a:pt x="14135" y="7662"/>
                </a:lnTo>
                <a:lnTo>
                  <a:pt x="14136" y="7654"/>
                </a:lnTo>
                <a:lnTo>
                  <a:pt x="14136" y="7646"/>
                </a:lnTo>
                <a:lnTo>
                  <a:pt x="14135" y="7636"/>
                </a:lnTo>
                <a:lnTo>
                  <a:pt x="14133" y="7625"/>
                </a:lnTo>
                <a:lnTo>
                  <a:pt x="14144" y="7628"/>
                </a:lnTo>
                <a:lnTo>
                  <a:pt x="14153" y="7632"/>
                </a:lnTo>
                <a:lnTo>
                  <a:pt x="14162" y="7637"/>
                </a:lnTo>
                <a:lnTo>
                  <a:pt x="14170" y="7642"/>
                </a:lnTo>
                <a:lnTo>
                  <a:pt x="14179" y="7648"/>
                </a:lnTo>
                <a:lnTo>
                  <a:pt x="14185" y="7654"/>
                </a:lnTo>
                <a:lnTo>
                  <a:pt x="14191" y="7660"/>
                </a:lnTo>
                <a:lnTo>
                  <a:pt x="14196" y="7667"/>
                </a:lnTo>
                <a:lnTo>
                  <a:pt x="14201" y="7674"/>
                </a:lnTo>
                <a:lnTo>
                  <a:pt x="14205" y="7682"/>
                </a:lnTo>
                <a:lnTo>
                  <a:pt x="14208" y="7689"/>
                </a:lnTo>
                <a:lnTo>
                  <a:pt x="14210" y="7698"/>
                </a:lnTo>
                <a:lnTo>
                  <a:pt x="14212" y="7706"/>
                </a:lnTo>
                <a:lnTo>
                  <a:pt x="14213" y="7714"/>
                </a:lnTo>
                <a:lnTo>
                  <a:pt x="14214" y="7723"/>
                </a:lnTo>
                <a:lnTo>
                  <a:pt x="14214" y="7732"/>
                </a:lnTo>
                <a:lnTo>
                  <a:pt x="14214" y="7740"/>
                </a:lnTo>
                <a:lnTo>
                  <a:pt x="14213" y="7750"/>
                </a:lnTo>
                <a:lnTo>
                  <a:pt x="14211" y="7759"/>
                </a:lnTo>
                <a:lnTo>
                  <a:pt x="14209" y="7768"/>
                </a:lnTo>
                <a:lnTo>
                  <a:pt x="14206" y="7777"/>
                </a:lnTo>
                <a:lnTo>
                  <a:pt x="14203" y="7785"/>
                </a:lnTo>
                <a:lnTo>
                  <a:pt x="14199" y="7794"/>
                </a:lnTo>
                <a:lnTo>
                  <a:pt x="14195" y="7802"/>
                </a:lnTo>
                <a:lnTo>
                  <a:pt x="14190" y="7810"/>
                </a:lnTo>
                <a:lnTo>
                  <a:pt x="14185" y="7818"/>
                </a:lnTo>
                <a:lnTo>
                  <a:pt x="14180" y="7825"/>
                </a:lnTo>
                <a:lnTo>
                  <a:pt x="14172" y="7832"/>
                </a:lnTo>
                <a:lnTo>
                  <a:pt x="14166" y="7839"/>
                </a:lnTo>
                <a:lnTo>
                  <a:pt x="14159" y="7845"/>
                </a:lnTo>
                <a:lnTo>
                  <a:pt x="14152" y="7851"/>
                </a:lnTo>
                <a:lnTo>
                  <a:pt x="14144" y="7857"/>
                </a:lnTo>
                <a:lnTo>
                  <a:pt x="14144" y="7867"/>
                </a:lnTo>
                <a:lnTo>
                  <a:pt x="14142" y="7876"/>
                </a:lnTo>
                <a:lnTo>
                  <a:pt x="14139" y="7884"/>
                </a:lnTo>
                <a:lnTo>
                  <a:pt x="14136" y="7892"/>
                </a:lnTo>
                <a:lnTo>
                  <a:pt x="14127" y="7905"/>
                </a:lnTo>
                <a:lnTo>
                  <a:pt x="14118" y="7917"/>
                </a:lnTo>
                <a:lnTo>
                  <a:pt x="14113" y="7924"/>
                </a:lnTo>
                <a:lnTo>
                  <a:pt x="14108" y="7931"/>
                </a:lnTo>
                <a:lnTo>
                  <a:pt x="14104" y="7938"/>
                </a:lnTo>
                <a:lnTo>
                  <a:pt x="14100" y="7946"/>
                </a:lnTo>
                <a:lnTo>
                  <a:pt x="14096" y="7955"/>
                </a:lnTo>
                <a:lnTo>
                  <a:pt x="14094" y="7965"/>
                </a:lnTo>
                <a:lnTo>
                  <a:pt x="14092" y="7977"/>
                </a:lnTo>
                <a:lnTo>
                  <a:pt x="14091" y="7989"/>
                </a:lnTo>
                <a:lnTo>
                  <a:pt x="14091" y="7998"/>
                </a:lnTo>
                <a:lnTo>
                  <a:pt x="14090" y="8009"/>
                </a:lnTo>
                <a:lnTo>
                  <a:pt x="14088" y="8019"/>
                </a:lnTo>
                <a:lnTo>
                  <a:pt x="14085" y="8030"/>
                </a:lnTo>
                <a:lnTo>
                  <a:pt x="14082" y="8041"/>
                </a:lnTo>
                <a:lnTo>
                  <a:pt x="14079" y="8051"/>
                </a:lnTo>
                <a:lnTo>
                  <a:pt x="14074" y="8062"/>
                </a:lnTo>
                <a:lnTo>
                  <a:pt x="14069" y="8073"/>
                </a:lnTo>
                <a:lnTo>
                  <a:pt x="14064" y="8083"/>
                </a:lnTo>
                <a:lnTo>
                  <a:pt x="14058" y="8093"/>
                </a:lnTo>
                <a:lnTo>
                  <a:pt x="14052" y="8102"/>
                </a:lnTo>
                <a:lnTo>
                  <a:pt x="14045" y="8110"/>
                </a:lnTo>
                <a:lnTo>
                  <a:pt x="14038" y="8117"/>
                </a:lnTo>
                <a:lnTo>
                  <a:pt x="14031" y="8123"/>
                </a:lnTo>
                <a:lnTo>
                  <a:pt x="14024" y="8129"/>
                </a:lnTo>
                <a:lnTo>
                  <a:pt x="14017" y="8133"/>
                </a:lnTo>
                <a:lnTo>
                  <a:pt x="14016" y="8136"/>
                </a:lnTo>
                <a:lnTo>
                  <a:pt x="14013" y="8139"/>
                </a:lnTo>
                <a:lnTo>
                  <a:pt x="14009" y="8143"/>
                </a:lnTo>
                <a:lnTo>
                  <a:pt x="14003" y="8148"/>
                </a:lnTo>
                <a:lnTo>
                  <a:pt x="13988" y="8159"/>
                </a:lnTo>
                <a:lnTo>
                  <a:pt x="13968" y="8171"/>
                </a:lnTo>
                <a:lnTo>
                  <a:pt x="13918" y="8200"/>
                </a:lnTo>
                <a:lnTo>
                  <a:pt x="13862" y="8232"/>
                </a:lnTo>
                <a:lnTo>
                  <a:pt x="13834" y="8249"/>
                </a:lnTo>
                <a:lnTo>
                  <a:pt x="13807" y="8267"/>
                </a:lnTo>
                <a:lnTo>
                  <a:pt x="13781" y="8283"/>
                </a:lnTo>
                <a:lnTo>
                  <a:pt x="13759" y="8300"/>
                </a:lnTo>
                <a:lnTo>
                  <a:pt x="13749" y="8307"/>
                </a:lnTo>
                <a:lnTo>
                  <a:pt x="13741" y="8315"/>
                </a:lnTo>
                <a:lnTo>
                  <a:pt x="13734" y="8322"/>
                </a:lnTo>
                <a:lnTo>
                  <a:pt x="13728" y="8329"/>
                </a:lnTo>
                <a:lnTo>
                  <a:pt x="13724" y="8336"/>
                </a:lnTo>
                <a:lnTo>
                  <a:pt x="13721" y="8343"/>
                </a:lnTo>
                <a:lnTo>
                  <a:pt x="13720" y="8349"/>
                </a:lnTo>
                <a:lnTo>
                  <a:pt x="13721" y="8354"/>
                </a:lnTo>
                <a:lnTo>
                  <a:pt x="13709" y="8355"/>
                </a:lnTo>
                <a:lnTo>
                  <a:pt x="13695" y="8357"/>
                </a:lnTo>
                <a:lnTo>
                  <a:pt x="13677" y="8360"/>
                </a:lnTo>
                <a:lnTo>
                  <a:pt x="13657" y="8364"/>
                </a:lnTo>
                <a:lnTo>
                  <a:pt x="13637" y="8369"/>
                </a:lnTo>
                <a:lnTo>
                  <a:pt x="13616" y="8375"/>
                </a:lnTo>
                <a:lnTo>
                  <a:pt x="13593" y="8384"/>
                </a:lnTo>
                <a:lnTo>
                  <a:pt x="13571" y="8392"/>
                </a:lnTo>
                <a:lnTo>
                  <a:pt x="13549" y="8401"/>
                </a:lnTo>
                <a:lnTo>
                  <a:pt x="13526" y="8410"/>
                </a:lnTo>
                <a:lnTo>
                  <a:pt x="13506" y="8421"/>
                </a:lnTo>
                <a:lnTo>
                  <a:pt x="13487" y="8432"/>
                </a:lnTo>
                <a:lnTo>
                  <a:pt x="13470" y="8443"/>
                </a:lnTo>
                <a:lnTo>
                  <a:pt x="13456" y="8455"/>
                </a:lnTo>
                <a:lnTo>
                  <a:pt x="13449" y="8462"/>
                </a:lnTo>
                <a:lnTo>
                  <a:pt x="13444" y="8468"/>
                </a:lnTo>
                <a:lnTo>
                  <a:pt x="13439" y="8475"/>
                </a:lnTo>
                <a:lnTo>
                  <a:pt x="13436" y="8481"/>
                </a:lnTo>
                <a:lnTo>
                  <a:pt x="13427" y="8482"/>
                </a:lnTo>
                <a:lnTo>
                  <a:pt x="13415" y="8484"/>
                </a:lnTo>
                <a:lnTo>
                  <a:pt x="13402" y="8487"/>
                </a:lnTo>
                <a:lnTo>
                  <a:pt x="13387" y="8490"/>
                </a:lnTo>
                <a:lnTo>
                  <a:pt x="13355" y="8500"/>
                </a:lnTo>
                <a:lnTo>
                  <a:pt x="13320" y="8514"/>
                </a:lnTo>
                <a:lnTo>
                  <a:pt x="13303" y="8520"/>
                </a:lnTo>
                <a:lnTo>
                  <a:pt x="13286" y="8527"/>
                </a:lnTo>
                <a:lnTo>
                  <a:pt x="13271" y="8534"/>
                </a:lnTo>
                <a:lnTo>
                  <a:pt x="13257" y="8541"/>
                </a:lnTo>
                <a:lnTo>
                  <a:pt x="13245" y="8548"/>
                </a:lnTo>
                <a:lnTo>
                  <a:pt x="13235" y="8554"/>
                </a:lnTo>
                <a:lnTo>
                  <a:pt x="13228" y="8561"/>
                </a:lnTo>
                <a:lnTo>
                  <a:pt x="13223" y="8566"/>
                </a:lnTo>
                <a:lnTo>
                  <a:pt x="13206" y="8566"/>
                </a:lnTo>
                <a:lnTo>
                  <a:pt x="13190" y="8564"/>
                </a:lnTo>
                <a:lnTo>
                  <a:pt x="13174" y="8560"/>
                </a:lnTo>
                <a:lnTo>
                  <a:pt x="13159" y="8556"/>
                </a:lnTo>
                <a:lnTo>
                  <a:pt x="13147" y="8551"/>
                </a:lnTo>
                <a:lnTo>
                  <a:pt x="13135" y="8545"/>
                </a:lnTo>
                <a:lnTo>
                  <a:pt x="13124" y="8538"/>
                </a:lnTo>
                <a:lnTo>
                  <a:pt x="13114" y="8530"/>
                </a:lnTo>
                <a:lnTo>
                  <a:pt x="13105" y="8522"/>
                </a:lnTo>
                <a:lnTo>
                  <a:pt x="13096" y="8513"/>
                </a:lnTo>
                <a:lnTo>
                  <a:pt x="13089" y="8502"/>
                </a:lnTo>
                <a:lnTo>
                  <a:pt x="13082" y="8492"/>
                </a:lnTo>
                <a:lnTo>
                  <a:pt x="13069" y="8471"/>
                </a:lnTo>
                <a:lnTo>
                  <a:pt x="13059" y="8450"/>
                </a:lnTo>
                <a:lnTo>
                  <a:pt x="13039" y="8407"/>
                </a:lnTo>
                <a:lnTo>
                  <a:pt x="13021" y="8369"/>
                </a:lnTo>
                <a:lnTo>
                  <a:pt x="13016" y="8362"/>
                </a:lnTo>
                <a:lnTo>
                  <a:pt x="13011" y="8355"/>
                </a:lnTo>
                <a:lnTo>
                  <a:pt x="13005" y="8348"/>
                </a:lnTo>
                <a:lnTo>
                  <a:pt x="12999" y="8343"/>
                </a:lnTo>
                <a:lnTo>
                  <a:pt x="12993" y="8339"/>
                </a:lnTo>
                <a:lnTo>
                  <a:pt x="12986" y="8336"/>
                </a:lnTo>
                <a:lnTo>
                  <a:pt x="12978" y="8334"/>
                </a:lnTo>
                <a:lnTo>
                  <a:pt x="12970" y="8333"/>
                </a:lnTo>
                <a:lnTo>
                  <a:pt x="12971" y="8326"/>
                </a:lnTo>
                <a:lnTo>
                  <a:pt x="12971" y="8320"/>
                </a:lnTo>
                <a:lnTo>
                  <a:pt x="12970" y="8313"/>
                </a:lnTo>
                <a:lnTo>
                  <a:pt x="12969" y="8308"/>
                </a:lnTo>
                <a:lnTo>
                  <a:pt x="12966" y="8296"/>
                </a:lnTo>
                <a:lnTo>
                  <a:pt x="12960" y="8286"/>
                </a:lnTo>
                <a:lnTo>
                  <a:pt x="12945" y="8264"/>
                </a:lnTo>
                <a:lnTo>
                  <a:pt x="12928" y="8238"/>
                </a:lnTo>
                <a:lnTo>
                  <a:pt x="12932" y="8236"/>
                </a:lnTo>
                <a:lnTo>
                  <a:pt x="12935" y="8232"/>
                </a:lnTo>
                <a:lnTo>
                  <a:pt x="12937" y="8226"/>
                </a:lnTo>
                <a:lnTo>
                  <a:pt x="12937" y="8218"/>
                </a:lnTo>
                <a:lnTo>
                  <a:pt x="12935" y="8207"/>
                </a:lnTo>
                <a:lnTo>
                  <a:pt x="12932" y="8194"/>
                </a:lnTo>
                <a:lnTo>
                  <a:pt x="12928" y="8180"/>
                </a:lnTo>
                <a:lnTo>
                  <a:pt x="12923" y="8164"/>
                </a:lnTo>
                <a:lnTo>
                  <a:pt x="12909" y="8128"/>
                </a:lnTo>
                <a:lnTo>
                  <a:pt x="12893" y="8086"/>
                </a:lnTo>
                <a:lnTo>
                  <a:pt x="12875" y="8042"/>
                </a:lnTo>
                <a:lnTo>
                  <a:pt x="12855" y="7995"/>
                </a:lnTo>
                <a:lnTo>
                  <a:pt x="12813" y="7901"/>
                </a:lnTo>
                <a:lnTo>
                  <a:pt x="12775" y="7813"/>
                </a:lnTo>
                <a:lnTo>
                  <a:pt x="12759" y="7776"/>
                </a:lnTo>
                <a:lnTo>
                  <a:pt x="12747" y="7742"/>
                </a:lnTo>
                <a:lnTo>
                  <a:pt x="12743" y="7728"/>
                </a:lnTo>
                <a:lnTo>
                  <a:pt x="12740" y="7716"/>
                </a:lnTo>
                <a:lnTo>
                  <a:pt x="12738" y="7706"/>
                </a:lnTo>
                <a:lnTo>
                  <a:pt x="12737" y="7698"/>
                </a:lnTo>
                <a:lnTo>
                  <a:pt x="12730" y="7693"/>
                </a:lnTo>
                <a:lnTo>
                  <a:pt x="12722" y="7686"/>
                </a:lnTo>
                <a:lnTo>
                  <a:pt x="12715" y="7677"/>
                </a:lnTo>
                <a:lnTo>
                  <a:pt x="12707" y="7666"/>
                </a:lnTo>
                <a:lnTo>
                  <a:pt x="12700" y="7653"/>
                </a:lnTo>
                <a:lnTo>
                  <a:pt x="12692" y="7640"/>
                </a:lnTo>
                <a:lnTo>
                  <a:pt x="12685" y="7625"/>
                </a:lnTo>
                <a:lnTo>
                  <a:pt x="12678" y="7609"/>
                </a:lnTo>
                <a:lnTo>
                  <a:pt x="12666" y="7577"/>
                </a:lnTo>
                <a:lnTo>
                  <a:pt x="12654" y="7547"/>
                </a:lnTo>
                <a:lnTo>
                  <a:pt x="12646" y="7520"/>
                </a:lnTo>
                <a:lnTo>
                  <a:pt x="12641" y="7498"/>
                </a:lnTo>
                <a:lnTo>
                  <a:pt x="12631" y="7490"/>
                </a:lnTo>
                <a:lnTo>
                  <a:pt x="12622" y="7481"/>
                </a:lnTo>
                <a:lnTo>
                  <a:pt x="12612" y="7470"/>
                </a:lnTo>
                <a:lnTo>
                  <a:pt x="12603" y="7459"/>
                </a:lnTo>
                <a:lnTo>
                  <a:pt x="12593" y="7446"/>
                </a:lnTo>
                <a:lnTo>
                  <a:pt x="12584" y="7432"/>
                </a:lnTo>
                <a:lnTo>
                  <a:pt x="12575" y="7418"/>
                </a:lnTo>
                <a:lnTo>
                  <a:pt x="12567" y="7403"/>
                </a:lnTo>
                <a:lnTo>
                  <a:pt x="12551" y="7372"/>
                </a:lnTo>
                <a:lnTo>
                  <a:pt x="12535" y="7341"/>
                </a:lnTo>
                <a:lnTo>
                  <a:pt x="12523" y="7312"/>
                </a:lnTo>
                <a:lnTo>
                  <a:pt x="12514" y="7286"/>
                </a:lnTo>
                <a:lnTo>
                  <a:pt x="12503" y="7278"/>
                </a:lnTo>
                <a:lnTo>
                  <a:pt x="12491" y="7268"/>
                </a:lnTo>
                <a:lnTo>
                  <a:pt x="12478" y="7255"/>
                </a:lnTo>
                <a:lnTo>
                  <a:pt x="12464" y="7239"/>
                </a:lnTo>
                <a:lnTo>
                  <a:pt x="12449" y="7223"/>
                </a:lnTo>
                <a:lnTo>
                  <a:pt x="12433" y="7206"/>
                </a:lnTo>
                <a:lnTo>
                  <a:pt x="12418" y="7187"/>
                </a:lnTo>
                <a:lnTo>
                  <a:pt x="12401" y="7168"/>
                </a:lnTo>
                <a:lnTo>
                  <a:pt x="12386" y="7148"/>
                </a:lnTo>
                <a:lnTo>
                  <a:pt x="12372" y="7128"/>
                </a:lnTo>
                <a:lnTo>
                  <a:pt x="12358" y="7108"/>
                </a:lnTo>
                <a:lnTo>
                  <a:pt x="12346" y="7088"/>
                </a:lnTo>
                <a:lnTo>
                  <a:pt x="12335" y="7070"/>
                </a:lnTo>
                <a:lnTo>
                  <a:pt x="12326" y="7052"/>
                </a:lnTo>
                <a:lnTo>
                  <a:pt x="12319" y="7036"/>
                </a:lnTo>
                <a:lnTo>
                  <a:pt x="12313" y="7021"/>
                </a:lnTo>
                <a:lnTo>
                  <a:pt x="12343" y="7025"/>
                </a:lnTo>
                <a:lnTo>
                  <a:pt x="12375" y="7027"/>
                </a:lnTo>
                <a:lnTo>
                  <a:pt x="12391" y="7028"/>
                </a:lnTo>
                <a:lnTo>
                  <a:pt x="12406" y="7027"/>
                </a:lnTo>
                <a:lnTo>
                  <a:pt x="12423" y="7026"/>
                </a:lnTo>
                <a:lnTo>
                  <a:pt x="12437" y="7024"/>
                </a:lnTo>
                <a:lnTo>
                  <a:pt x="12451" y="7021"/>
                </a:lnTo>
                <a:lnTo>
                  <a:pt x="12464" y="7016"/>
                </a:lnTo>
                <a:lnTo>
                  <a:pt x="12469" y="7013"/>
                </a:lnTo>
                <a:lnTo>
                  <a:pt x="12475" y="7010"/>
                </a:lnTo>
                <a:lnTo>
                  <a:pt x="12480" y="7006"/>
                </a:lnTo>
                <a:lnTo>
                  <a:pt x="12485" y="7001"/>
                </a:lnTo>
                <a:lnTo>
                  <a:pt x="12489" y="6997"/>
                </a:lnTo>
                <a:lnTo>
                  <a:pt x="12492" y="6990"/>
                </a:lnTo>
                <a:lnTo>
                  <a:pt x="12496" y="6985"/>
                </a:lnTo>
                <a:lnTo>
                  <a:pt x="12498" y="6978"/>
                </a:lnTo>
                <a:lnTo>
                  <a:pt x="12501" y="6971"/>
                </a:lnTo>
                <a:lnTo>
                  <a:pt x="12502" y="6964"/>
                </a:lnTo>
                <a:lnTo>
                  <a:pt x="12503" y="6956"/>
                </a:lnTo>
                <a:lnTo>
                  <a:pt x="12504" y="6947"/>
                </a:lnTo>
                <a:lnTo>
                  <a:pt x="12494" y="6946"/>
                </a:lnTo>
                <a:lnTo>
                  <a:pt x="12486" y="6944"/>
                </a:lnTo>
                <a:lnTo>
                  <a:pt x="12480" y="6941"/>
                </a:lnTo>
                <a:lnTo>
                  <a:pt x="12474" y="6937"/>
                </a:lnTo>
                <a:lnTo>
                  <a:pt x="12469" y="6932"/>
                </a:lnTo>
                <a:lnTo>
                  <a:pt x="12465" y="6927"/>
                </a:lnTo>
                <a:lnTo>
                  <a:pt x="12463" y="6921"/>
                </a:lnTo>
                <a:lnTo>
                  <a:pt x="12461" y="6915"/>
                </a:lnTo>
                <a:lnTo>
                  <a:pt x="12461" y="6910"/>
                </a:lnTo>
                <a:lnTo>
                  <a:pt x="12462" y="6904"/>
                </a:lnTo>
                <a:lnTo>
                  <a:pt x="12464" y="6899"/>
                </a:lnTo>
                <a:lnTo>
                  <a:pt x="12467" y="6894"/>
                </a:lnTo>
                <a:lnTo>
                  <a:pt x="12472" y="6890"/>
                </a:lnTo>
                <a:lnTo>
                  <a:pt x="12478" y="6887"/>
                </a:lnTo>
                <a:lnTo>
                  <a:pt x="12485" y="6885"/>
                </a:lnTo>
                <a:lnTo>
                  <a:pt x="12493" y="6884"/>
                </a:lnTo>
                <a:lnTo>
                  <a:pt x="12491" y="6872"/>
                </a:lnTo>
                <a:lnTo>
                  <a:pt x="12490" y="6860"/>
                </a:lnTo>
                <a:lnTo>
                  <a:pt x="12490" y="6849"/>
                </a:lnTo>
                <a:lnTo>
                  <a:pt x="12492" y="6838"/>
                </a:lnTo>
                <a:lnTo>
                  <a:pt x="12494" y="6827"/>
                </a:lnTo>
                <a:lnTo>
                  <a:pt x="12498" y="6817"/>
                </a:lnTo>
                <a:lnTo>
                  <a:pt x="12501" y="6807"/>
                </a:lnTo>
                <a:lnTo>
                  <a:pt x="12506" y="6797"/>
                </a:lnTo>
                <a:lnTo>
                  <a:pt x="12515" y="6778"/>
                </a:lnTo>
                <a:lnTo>
                  <a:pt x="12524" y="6759"/>
                </a:lnTo>
                <a:lnTo>
                  <a:pt x="12528" y="6750"/>
                </a:lnTo>
                <a:lnTo>
                  <a:pt x="12532" y="6740"/>
                </a:lnTo>
                <a:lnTo>
                  <a:pt x="12535" y="6730"/>
                </a:lnTo>
                <a:lnTo>
                  <a:pt x="12539" y="6721"/>
                </a:lnTo>
                <a:lnTo>
                  <a:pt x="12544" y="6697"/>
                </a:lnTo>
                <a:lnTo>
                  <a:pt x="12550" y="6670"/>
                </a:lnTo>
                <a:lnTo>
                  <a:pt x="12557" y="6641"/>
                </a:lnTo>
                <a:lnTo>
                  <a:pt x="12563" y="6611"/>
                </a:lnTo>
                <a:lnTo>
                  <a:pt x="12569" y="6580"/>
                </a:lnTo>
                <a:lnTo>
                  <a:pt x="12574" y="6550"/>
                </a:lnTo>
                <a:lnTo>
                  <a:pt x="12577" y="6521"/>
                </a:lnTo>
                <a:lnTo>
                  <a:pt x="12578" y="6493"/>
                </a:lnTo>
                <a:lnTo>
                  <a:pt x="12553" y="6493"/>
                </a:lnTo>
                <a:lnTo>
                  <a:pt x="12531" y="6495"/>
                </a:lnTo>
                <a:lnTo>
                  <a:pt x="12514" y="6497"/>
                </a:lnTo>
                <a:lnTo>
                  <a:pt x="12498" y="6501"/>
                </a:lnTo>
                <a:lnTo>
                  <a:pt x="12467" y="6511"/>
                </a:lnTo>
                <a:lnTo>
                  <a:pt x="12430" y="6524"/>
                </a:lnTo>
                <a:lnTo>
                  <a:pt x="12430" y="6528"/>
                </a:lnTo>
                <a:lnTo>
                  <a:pt x="12428" y="6531"/>
                </a:lnTo>
                <a:lnTo>
                  <a:pt x="12427" y="6534"/>
                </a:lnTo>
                <a:lnTo>
                  <a:pt x="12424" y="6536"/>
                </a:lnTo>
                <a:lnTo>
                  <a:pt x="12421" y="6538"/>
                </a:lnTo>
                <a:lnTo>
                  <a:pt x="12418" y="6539"/>
                </a:lnTo>
                <a:lnTo>
                  <a:pt x="12414" y="6540"/>
                </a:lnTo>
                <a:lnTo>
                  <a:pt x="12409" y="6540"/>
                </a:lnTo>
                <a:lnTo>
                  <a:pt x="12399" y="6540"/>
                </a:lnTo>
                <a:lnTo>
                  <a:pt x="12387" y="6539"/>
                </a:lnTo>
                <a:lnTo>
                  <a:pt x="12375" y="6537"/>
                </a:lnTo>
                <a:lnTo>
                  <a:pt x="12363" y="6535"/>
                </a:lnTo>
                <a:lnTo>
                  <a:pt x="12313" y="6521"/>
                </a:lnTo>
                <a:lnTo>
                  <a:pt x="12281" y="6513"/>
                </a:lnTo>
                <a:lnTo>
                  <a:pt x="12278" y="6509"/>
                </a:lnTo>
                <a:lnTo>
                  <a:pt x="12274" y="6505"/>
                </a:lnTo>
                <a:lnTo>
                  <a:pt x="12269" y="6502"/>
                </a:lnTo>
                <a:lnTo>
                  <a:pt x="12263" y="6500"/>
                </a:lnTo>
                <a:lnTo>
                  <a:pt x="12257" y="6499"/>
                </a:lnTo>
                <a:lnTo>
                  <a:pt x="12249" y="6499"/>
                </a:lnTo>
                <a:lnTo>
                  <a:pt x="12241" y="6499"/>
                </a:lnTo>
                <a:lnTo>
                  <a:pt x="12233" y="6500"/>
                </a:lnTo>
                <a:lnTo>
                  <a:pt x="12194" y="6506"/>
                </a:lnTo>
                <a:lnTo>
                  <a:pt x="12149" y="6514"/>
                </a:lnTo>
                <a:lnTo>
                  <a:pt x="12127" y="6518"/>
                </a:lnTo>
                <a:lnTo>
                  <a:pt x="12104" y="6520"/>
                </a:lnTo>
                <a:lnTo>
                  <a:pt x="12093" y="6521"/>
                </a:lnTo>
                <a:lnTo>
                  <a:pt x="12082" y="6520"/>
                </a:lnTo>
                <a:lnTo>
                  <a:pt x="12071" y="6520"/>
                </a:lnTo>
                <a:lnTo>
                  <a:pt x="12061" y="6518"/>
                </a:lnTo>
                <a:lnTo>
                  <a:pt x="12051" y="6516"/>
                </a:lnTo>
                <a:lnTo>
                  <a:pt x="12042" y="6513"/>
                </a:lnTo>
                <a:lnTo>
                  <a:pt x="12032" y="6509"/>
                </a:lnTo>
                <a:lnTo>
                  <a:pt x="12023" y="6504"/>
                </a:lnTo>
                <a:lnTo>
                  <a:pt x="12015" y="6497"/>
                </a:lnTo>
                <a:lnTo>
                  <a:pt x="12008" y="6490"/>
                </a:lnTo>
                <a:lnTo>
                  <a:pt x="12002" y="6480"/>
                </a:lnTo>
                <a:lnTo>
                  <a:pt x="11996" y="6470"/>
                </a:lnTo>
                <a:lnTo>
                  <a:pt x="11980" y="6455"/>
                </a:lnTo>
                <a:lnTo>
                  <a:pt x="11967" y="6440"/>
                </a:lnTo>
                <a:lnTo>
                  <a:pt x="11956" y="6426"/>
                </a:lnTo>
                <a:lnTo>
                  <a:pt x="11947" y="6411"/>
                </a:lnTo>
                <a:lnTo>
                  <a:pt x="11940" y="6397"/>
                </a:lnTo>
                <a:lnTo>
                  <a:pt x="11934" y="6382"/>
                </a:lnTo>
                <a:lnTo>
                  <a:pt x="11929" y="6368"/>
                </a:lnTo>
                <a:lnTo>
                  <a:pt x="11925" y="6352"/>
                </a:lnTo>
                <a:lnTo>
                  <a:pt x="11920" y="6320"/>
                </a:lnTo>
                <a:lnTo>
                  <a:pt x="11915" y="6287"/>
                </a:lnTo>
                <a:lnTo>
                  <a:pt x="11913" y="6269"/>
                </a:lnTo>
                <a:lnTo>
                  <a:pt x="11909" y="6250"/>
                </a:lnTo>
                <a:lnTo>
                  <a:pt x="11905" y="6229"/>
                </a:lnTo>
                <a:lnTo>
                  <a:pt x="11900" y="6207"/>
                </a:lnTo>
                <a:lnTo>
                  <a:pt x="11896" y="6197"/>
                </a:lnTo>
                <a:lnTo>
                  <a:pt x="11891" y="6188"/>
                </a:lnTo>
                <a:lnTo>
                  <a:pt x="11885" y="6180"/>
                </a:lnTo>
                <a:lnTo>
                  <a:pt x="11878" y="6173"/>
                </a:lnTo>
                <a:lnTo>
                  <a:pt x="11870" y="6167"/>
                </a:lnTo>
                <a:lnTo>
                  <a:pt x="11861" y="6162"/>
                </a:lnTo>
                <a:lnTo>
                  <a:pt x="11851" y="6157"/>
                </a:lnTo>
                <a:lnTo>
                  <a:pt x="11841" y="6153"/>
                </a:lnTo>
                <a:lnTo>
                  <a:pt x="11819" y="6147"/>
                </a:lnTo>
                <a:lnTo>
                  <a:pt x="11797" y="6143"/>
                </a:lnTo>
                <a:lnTo>
                  <a:pt x="11775" y="6139"/>
                </a:lnTo>
                <a:lnTo>
                  <a:pt x="11756" y="6136"/>
                </a:lnTo>
                <a:lnTo>
                  <a:pt x="11743" y="6134"/>
                </a:lnTo>
                <a:lnTo>
                  <a:pt x="11733" y="6133"/>
                </a:lnTo>
                <a:lnTo>
                  <a:pt x="11723" y="6134"/>
                </a:lnTo>
                <a:lnTo>
                  <a:pt x="11715" y="6135"/>
                </a:lnTo>
                <a:lnTo>
                  <a:pt x="11707" y="6138"/>
                </a:lnTo>
                <a:lnTo>
                  <a:pt x="11701" y="6141"/>
                </a:lnTo>
                <a:lnTo>
                  <a:pt x="11696" y="6145"/>
                </a:lnTo>
                <a:lnTo>
                  <a:pt x="11692" y="6151"/>
                </a:lnTo>
                <a:lnTo>
                  <a:pt x="11688" y="6156"/>
                </a:lnTo>
                <a:lnTo>
                  <a:pt x="11686" y="6163"/>
                </a:lnTo>
                <a:lnTo>
                  <a:pt x="11684" y="6170"/>
                </a:lnTo>
                <a:lnTo>
                  <a:pt x="11683" y="6178"/>
                </a:lnTo>
                <a:lnTo>
                  <a:pt x="11683" y="6195"/>
                </a:lnTo>
                <a:lnTo>
                  <a:pt x="11684" y="6213"/>
                </a:lnTo>
                <a:lnTo>
                  <a:pt x="11687" y="6232"/>
                </a:lnTo>
                <a:lnTo>
                  <a:pt x="11692" y="6252"/>
                </a:lnTo>
                <a:lnTo>
                  <a:pt x="11696" y="6271"/>
                </a:lnTo>
                <a:lnTo>
                  <a:pt x="11701" y="6289"/>
                </a:lnTo>
                <a:lnTo>
                  <a:pt x="11705" y="6306"/>
                </a:lnTo>
                <a:lnTo>
                  <a:pt x="11709" y="6321"/>
                </a:lnTo>
                <a:lnTo>
                  <a:pt x="11710" y="6334"/>
                </a:lnTo>
                <a:lnTo>
                  <a:pt x="11710" y="6343"/>
                </a:lnTo>
                <a:lnTo>
                  <a:pt x="11717" y="6344"/>
                </a:lnTo>
                <a:lnTo>
                  <a:pt x="11723" y="6345"/>
                </a:lnTo>
                <a:lnTo>
                  <a:pt x="11728" y="6346"/>
                </a:lnTo>
                <a:lnTo>
                  <a:pt x="11732" y="6348"/>
                </a:lnTo>
                <a:lnTo>
                  <a:pt x="11735" y="6351"/>
                </a:lnTo>
                <a:lnTo>
                  <a:pt x="11737" y="6353"/>
                </a:lnTo>
                <a:lnTo>
                  <a:pt x="11737" y="6357"/>
                </a:lnTo>
                <a:lnTo>
                  <a:pt x="11737" y="6361"/>
                </a:lnTo>
                <a:lnTo>
                  <a:pt x="11735" y="6370"/>
                </a:lnTo>
                <a:lnTo>
                  <a:pt x="11730" y="6380"/>
                </a:lnTo>
                <a:lnTo>
                  <a:pt x="11724" y="6391"/>
                </a:lnTo>
                <a:lnTo>
                  <a:pt x="11715" y="6403"/>
                </a:lnTo>
                <a:lnTo>
                  <a:pt x="11696" y="6429"/>
                </a:lnTo>
                <a:lnTo>
                  <a:pt x="11677" y="6455"/>
                </a:lnTo>
                <a:lnTo>
                  <a:pt x="11669" y="6468"/>
                </a:lnTo>
                <a:lnTo>
                  <a:pt x="11663" y="6480"/>
                </a:lnTo>
                <a:lnTo>
                  <a:pt x="11661" y="6486"/>
                </a:lnTo>
                <a:lnTo>
                  <a:pt x="11659" y="6492"/>
                </a:lnTo>
                <a:lnTo>
                  <a:pt x="11658" y="6498"/>
                </a:lnTo>
                <a:lnTo>
                  <a:pt x="11657" y="6503"/>
                </a:lnTo>
                <a:lnTo>
                  <a:pt x="11644" y="6500"/>
                </a:lnTo>
                <a:lnTo>
                  <a:pt x="11632" y="6496"/>
                </a:lnTo>
                <a:lnTo>
                  <a:pt x="11621" y="6491"/>
                </a:lnTo>
                <a:lnTo>
                  <a:pt x="11612" y="6485"/>
                </a:lnTo>
                <a:lnTo>
                  <a:pt x="11603" y="6479"/>
                </a:lnTo>
                <a:lnTo>
                  <a:pt x="11595" y="6473"/>
                </a:lnTo>
                <a:lnTo>
                  <a:pt x="11587" y="6466"/>
                </a:lnTo>
                <a:lnTo>
                  <a:pt x="11581" y="6459"/>
                </a:lnTo>
                <a:lnTo>
                  <a:pt x="11575" y="6451"/>
                </a:lnTo>
                <a:lnTo>
                  <a:pt x="11569" y="6443"/>
                </a:lnTo>
                <a:lnTo>
                  <a:pt x="11564" y="6435"/>
                </a:lnTo>
                <a:lnTo>
                  <a:pt x="11560" y="6427"/>
                </a:lnTo>
                <a:lnTo>
                  <a:pt x="11552" y="6409"/>
                </a:lnTo>
                <a:lnTo>
                  <a:pt x="11546" y="6391"/>
                </a:lnTo>
                <a:lnTo>
                  <a:pt x="11534" y="6353"/>
                </a:lnTo>
                <a:lnTo>
                  <a:pt x="11521" y="6320"/>
                </a:lnTo>
                <a:lnTo>
                  <a:pt x="11517" y="6312"/>
                </a:lnTo>
                <a:lnTo>
                  <a:pt x="11513" y="6304"/>
                </a:lnTo>
                <a:lnTo>
                  <a:pt x="11508" y="6297"/>
                </a:lnTo>
                <a:lnTo>
                  <a:pt x="11503" y="6291"/>
                </a:lnTo>
                <a:lnTo>
                  <a:pt x="11498" y="6285"/>
                </a:lnTo>
                <a:lnTo>
                  <a:pt x="11491" y="6279"/>
                </a:lnTo>
                <a:lnTo>
                  <a:pt x="11485" y="6274"/>
                </a:lnTo>
                <a:lnTo>
                  <a:pt x="11477" y="6270"/>
                </a:lnTo>
                <a:lnTo>
                  <a:pt x="11473" y="6262"/>
                </a:lnTo>
                <a:lnTo>
                  <a:pt x="11470" y="6255"/>
                </a:lnTo>
                <a:lnTo>
                  <a:pt x="11467" y="6248"/>
                </a:lnTo>
                <a:lnTo>
                  <a:pt x="11465" y="6241"/>
                </a:lnTo>
                <a:lnTo>
                  <a:pt x="11462" y="6227"/>
                </a:lnTo>
                <a:lnTo>
                  <a:pt x="11458" y="6217"/>
                </a:lnTo>
                <a:lnTo>
                  <a:pt x="11456" y="6212"/>
                </a:lnTo>
                <a:lnTo>
                  <a:pt x="11453" y="6208"/>
                </a:lnTo>
                <a:lnTo>
                  <a:pt x="11450" y="6204"/>
                </a:lnTo>
                <a:lnTo>
                  <a:pt x="11445" y="6201"/>
                </a:lnTo>
                <a:lnTo>
                  <a:pt x="11440" y="6199"/>
                </a:lnTo>
                <a:lnTo>
                  <a:pt x="11433" y="6197"/>
                </a:lnTo>
                <a:lnTo>
                  <a:pt x="11424" y="6196"/>
                </a:lnTo>
                <a:lnTo>
                  <a:pt x="11414" y="6196"/>
                </a:lnTo>
                <a:lnTo>
                  <a:pt x="11415" y="6173"/>
                </a:lnTo>
                <a:lnTo>
                  <a:pt x="11418" y="6147"/>
                </a:lnTo>
                <a:lnTo>
                  <a:pt x="11420" y="6120"/>
                </a:lnTo>
                <a:lnTo>
                  <a:pt x="11422" y="6092"/>
                </a:lnTo>
                <a:lnTo>
                  <a:pt x="11421" y="6079"/>
                </a:lnTo>
                <a:lnTo>
                  <a:pt x="11420" y="6067"/>
                </a:lnTo>
                <a:lnTo>
                  <a:pt x="11417" y="6055"/>
                </a:lnTo>
                <a:lnTo>
                  <a:pt x="11414" y="6045"/>
                </a:lnTo>
                <a:lnTo>
                  <a:pt x="11411" y="6040"/>
                </a:lnTo>
                <a:lnTo>
                  <a:pt x="11409" y="6035"/>
                </a:lnTo>
                <a:lnTo>
                  <a:pt x="11405" y="6031"/>
                </a:lnTo>
                <a:lnTo>
                  <a:pt x="11401" y="6027"/>
                </a:lnTo>
                <a:lnTo>
                  <a:pt x="11397" y="6024"/>
                </a:lnTo>
                <a:lnTo>
                  <a:pt x="11392" y="6021"/>
                </a:lnTo>
                <a:lnTo>
                  <a:pt x="11387" y="6018"/>
                </a:lnTo>
                <a:lnTo>
                  <a:pt x="11382" y="6016"/>
                </a:lnTo>
                <a:lnTo>
                  <a:pt x="11381" y="6013"/>
                </a:lnTo>
                <a:lnTo>
                  <a:pt x="11380" y="6011"/>
                </a:lnTo>
                <a:lnTo>
                  <a:pt x="11379" y="6009"/>
                </a:lnTo>
                <a:lnTo>
                  <a:pt x="11377" y="6006"/>
                </a:lnTo>
                <a:lnTo>
                  <a:pt x="11371" y="6002"/>
                </a:lnTo>
                <a:lnTo>
                  <a:pt x="11363" y="5998"/>
                </a:lnTo>
                <a:lnTo>
                  <a:pt x="11343" y="5990"/>
                </a:lnTo>
                <a:lnTo>
                  <a:pt x="11320" y="5981"/>
                </a:lnTo>
                <a:lnTo>
                  <a:pt x="11296" y="5973"/>
                </a:lnTo>
                <a:lnTo>
                  <a:pt x="11273" y="5964"/>
                </a:lnTo>
                <a:lnTo>
                  <a:pt x="11263" y="5959"/>
                </a:lnTo>
                <a:lnTo>
                  <a:pt x="11255" y="5954"/>
                </a:lnTo>
                <a:lnTo>
                  <a:pt x="11249" y="5948"/>
                </a:lnTo>
                <a:lnTo>
                  <a:pt x="11244" y="5941"/>
                </a:lnTo>
                <a:lnTo>
                  <a:pt x="11237" y="5941"/>
                </a:lnTo>
                <a:lnTo>
                  <a:pt x="11229" y="5938"/>
                </a:lnTo>
                <a:lnTo>
                  <a:pt x="11221" y="5934"/>
                </a:lnTo>
                <a:lnTo>
                  <a:pt x="11212" y="5929"/>
                </a:lnTo>
                <a:lnTo>
                  <a:pt x="11203" y="5923"/>
                </a:lnTo>
                <a:lnTo>
                  <a:pt x="11193" y="5916"/>
                </a:lnTo>
                <a:lnTo>
                  <a:pt x="11183" y="5907"/>
                </a:lnTo>
                <a:lnTo>
                  <a:pt x="11173" y="5898"/>
                </a:lnTo>
                <a:lnTo>
                  <a:pt x="11128" y="5855"/>
                </a:lnTo>
                <a:lnTo>
                  <a:pt x="11083" y="5810"/>
                </a:lnTo>
                <a:lnTo>
                  <a:pt x="11061" y="5789"/>
                </a:lnTo>
                <a:lnTo>
                  <a:pt x="11040" y="5769"/>
                </a:lnTo>
                <a:lnTo>
                  <a:pt x="11029" y="5761"/>
                </a:lnTo>
                <a:lnTo>
                  <a:pt x="11018" y="5753"/>
                </a:lnTo>
                <a:lnTo>
                  <a:pt x="11008" y="5746"/>
                </a:lnTo>
                <a:lnTo>
                  <a:pt x="10998" y="5741"/>
                </a:lnTo>
                <a:lnTo>
                  <a:pt x="10989" y="5736"/>
                </a:lnTo>
                <a:lnTo>
                  <a:pt x="10980" y="5732"/>
                </a:lnTo>
                <a:lnTo>
                  <a:pt x="10972" y="5731"/>
                </a:lnTo>
                <a:lnTo>
                  <a:pt x="10964" y="5731"/>
                </a:lnTo>
                <a:lnTo>
                  <a:pt x="10957" y="5734"/>
                </a:lnTo>
                <a:lnTo>
                  <a:pt x="10950" y="5738"/>
                </a:lnTo>
                <a:lnTo>
                  <a:pt x="10944" y="5744"/>
                </a:lnTo>
                <a:lnTo>
                  <a:pt x="10939" y="5752"/>
                </a:lnTo>
                <a:lnTo>
                  <a:pt x="10934" y="5763"/>
                </a:lnTo>
                <a:lnTo>
                  <a:pt x="10930" y="5773"/>
                </a:lnTo>
                <a:lnTo>
                  <a:pt x="10929" y="5782"/>
                </a:lnTo>
                <a:lnTo>
                  <a:pt x="10929" y="5790"/>
                </a:lnTo>
                <a:lnTo>
                  <a:pt x="10931" y="5798"/>
                </a:lnTo>
                <a:lnTo>
                  <a:pt x="10934" y="5805"/>
                </a:lnTo>
                <a:lnTo>
                  <a:pt x="10937" y="5812"/>
                </a:lnTo>
                <a:lnTo>
                  <a:pt x="10942" y="5819"/>
                </a:lnTo>
                <a:lnTo>
                  <a:pt x="10952" y="5832"/>
                </a:lnTo>
                <a:lnTo>
                  <a:pt x="10963" y="5846"/>
                </a:lnTo>
                <a:lnTo>
                  <a:pt x="10968" y="5853"/>
                </a:lnTo>
                <a:lnTo>
                  <a:pt x="10973" y="5861"/>
                </a:lnTo>
                <a:lnTo>
                  <a:pt x="10977" y="5870"/>
                </a:lnTo>
                <a:lnTo>
                  <a:pt x="10980" y="5879"/>
                </a:lnTo>
                <a:lnTo>
                  <a:pt x="10990" y="5877"/>
                </a:lnTo>
                <a:lnTo>
                  <a:pt x="10999" y="5877"/>
                </a:lnTo>
                <a:lnTo>
                  <a:pt x="11007" y="5878"/>
                </a:lnTo>
                <a:lnTo>
                  <a:pt x="11015" y="5880"/>
                </a:lnTo>
                <a:lnTo>
                  <a:pt x="11023" y="5883"/>
                </a:lnTo>
                <a:lnTo>
                  <a:pt x="11031" y="5887"/>
                </a:lnTo>
                <a:lnTo>
                  <a:pt x="11038" y="5892"/>
                </a:lnTo>
                <a:lnTo>
                  <a:pt x="11044" y="5897"/>
                </a:lnTo>
                <a:lnTo>
                  <a:pt x="11056" y="5910"/>
                </a:lnTo>
                <a:lnTo>
                  <a:pt x="11066" y="5925"/>
                </a:lnTo>
                <a:lnTo>
                  <a:pt x="11077" y="5941"/>
                </a:lnTo>
                <a:lnTo>
                  <a:pt x="11087" y="5958"/>
                </a:lnTo>
                <a:lnTo>
                  <a:pt x="11098" y="5974"/>
                </a:lnTo>
                <a:lnTo>
                  <a:pt x="11109" y="5991"/>
                </a:lnTo>
                <a:lnTo>
                  <a:pt x="11115" y="5999"/>
                </a:lnTo>
                <a:lnTo>
                  <a:pt x="11121" y="6006"/>
                </a:lnTo>
                <a:lnTo>
                  <a:pt x="11128" y="6013"/>
                </a:lnTo>
                <a:lnTo>
                  <a:pt x="11135" y="6019"/>
                </a:lnTo>
                <a:lnTo>
                  <a:pt x="11142" y="6024"/>
                </a:lnTo>
                <a:lnTo>
                  <a:pt x="11150" y="6029"/>
                </a:lnTo>
                <a:lnTo>
                  <a:pt x="11160" y="6033"/>
                </a:lnTo>
                <a:lnTo>
                  <a:pt x="11169" y="6036"/>
                </a:lnTo>
                <a:lnTo>
                  <a:pt x="11179" y="6038"/>
                </a:lnTo>
                <a:lnTo>
                  <a:pt x="11189" y="6039"/>
                </a:lnTo>
                <a:lnTo>
                  <a:pt x="11201" y="6038"/>
                </a:lnTo>
                <a:lnTo>
                  <a:pt x="11213" y="6037"/>
                </a:lnTo>
                <a:lnTo>
                  <a:pt x="11213" y="6058"/>
                </a:lnTo>
                <a:lnTo>
                  <a:pt x="11215" y="6079"/>
                </a:lnTo>
                <a:lnTo>
                  <a:pt x="11219" y="6100"/>
                </a:lnTo>
                <a:lnTo>
                  <a:pt x="11223" y="6122"/>
                </a:lnTo>
                <a:lnTo>
                  <a:pt x="11232" y="6120"/>
                </a:lnTo>
                <a:lnTo>
                  <a:pt x="11240" y="6119"/>
                </a:lnTo>
                <a:lnTo>
                  <a:pt x="11248" y="6119"/>
                </a:lnTo>
                <a:lnTo>
                  <a:pt x="11255" y="6119"/>
                </a:lnTo>
                <a:lnTo>
                  <a:pt x="11262" y="6119"/>
                </a:lnTo>
                <a:lnTo>
                  <a:pt x="11268" y="6120"/>
                </a:lnTo>
                <a:lnTo>
                  <a:pt x="11274" y="6122"/>
                </a:lnTo>
                <a:lnTo>
                  <a:pt x="11280" y="6124"/>
                </a:lnTo>
                <a:lnTo>
                  <a:pt x="11289" y="6129"/>
                </a:lnTo>
                <a:lnTo>
                  <a:pt x="11297" y="6135"/>
                </a:lnTo>
                <a:lnTo>
                  <a:pt x="11304" y="6142"/>
                </a:lnTo>
                <a:lnTo>
                  <a:pt x="11311" y="6150"/>
                </a:lnTo>
                <a:lnTo>
                  <a:pt x="11322" y="6166"/>
                </a:lnTo>
                <a:lnTo>
                  <a:pt x="11332" y="6181"/>
                </a:lnTo>
                <a:lnTo>
                  <a:pt x="11338" y="6187"/>
                </a:lnTo>
                <a:lnTo>
                  <a:pt x="11345" y="6191"/>
                </a:lnTo>
                <a:lnTo>
                  <a:pt x="11348" y="6193"/>
                </a:lnTo>
                <a:lnTo>
                  <a:pt x="11352" y="6194"/>
                </a:lnTo>
                <a:lnTo>
                  <a:pt x="11356" y="6195"/>
                </a:lnTo>
                <a:lnTo>
                  <a:pt x="11361" y="6196"/>
                </a:lnTo>
                <a:lnTo>
                  <a:pt x="11357" y="6200"/>
                </a:lnTo>
                <a:lnTo>
                  <a:pt x="11353" y="6203"/>
                </a:lnTo>
                <a:lnTo>
                  <a:pt x="11349" y="6205"/>
                </a:lnTo>
                <a:lnTo>
                  <a:pt x="11344" y="6206"/>
                </a:lnTo>
                <a:lnTo>
                  <a:pt x="11339" y="6207"/>
                </a:lnTo>
                <a:lnTo>
                  <a:pt x="11334" y="6207"/>
                </a:lnTo>
                <a:lnTo>
                  <a:pt x="11328" y="6206"/>
                </a:lnTo>
                <a:lnTo>
                  <a:pt x="11323" y="6205"/>
                </a:lnTo>
                <a:lnTo>
                  <a:pt x="11311" y="6202"/>
                </a:lnTo>
                <a:lnTo>
                  <a:pt x="11299" y="6198"/>
                </a:lnTo>
                <a:lnTo>
                  <a:pt x="11287" y="6193"/>
                </a:lnTo>
                <a:lnTo>
                  <a:pt x="11275" y="6188"/>
                </a:lnTo>
                <a:lnTo>
                  <a:pt x="11265" y="6184"/>
                </a:lnTo>
                <a:lnTo>
                  <a:pt x="11255" y="6182"/>
                </a:lnTo>
                <a:lnTo>
                  <a:pt x="11251" y="6181"/>
                </a:lnTo>
                <a:lnTo>
                  <a:pt x="11248" y="6181"/>
                </a:lnTo>
                <a:lnTo>
                  <a:pt x="11244" y="6181"/>
                </a:lnTo>
                <a:lnTo>
                  <a:pt x="11241" y="6182"/>
                </a:lnTo>
                <a:lnTo>
                  <a:pt x="11239" y="6184"/>
                </a:lnTo>
                <a:lnTo>
                  <a:pt x="11237" y="6186"/>
                </a:lnTo>
                <a:lnTo>
                  <a:pt x="11236" y="6190"/>
                </a:lnTo>
                <a:lnTo>
                  <a:pt x="11236" y="6194"/>
                </a:lnTo>
                <a:lnTo>
                  <a:pt x="11236" y="6200"/>
                </a:lnTo>
                <a:lnTo>
                  <a:pt x="11237" y="6207"/>
                </a:lnTo>
                <a:lnTo>
                  <a:pt x="11238" y="6214"/>
                </a:lnTo>
                <a:lnTo>
                  <a:pt x="11241" y="6224"/>
                </a:lnTo>
                <a:lnTo>
                  <a:pt x="11244" y="6235"/>
                </a:lnTo>
                <a:lnTo>
                  <a:pt x="11246" y="6247"/>
                </a:lnTo>
                <a:lnTo>
                  <a:pt x="11248" y="6258"/>
                </a:lnTo>
                <a:lnTo>
                  <a:pt x="11249" y="6269"/>
                </a:lnTo>
                <a:lnTo>
                  <a:pt x="11248" y="6279"/>
                </a:lnTo>
                <a:lnTo>
                  <a:pt x="11247" y="6290"/>
                </a:lnTo>
                <a:lnTo>
                  <a:pt x="11245" y="6300"/>
                </a:lnTo>
                <a:lnTo>
                  <a:pt x="11242" y="6311"/>
                </a:lnTo>
                <a:lnTo>
                  <a:pt x="11238" y="6321"/>
                </a:lnTo>
                <a:lnTo>
                  <a:pt x="11232" y="6332"/>
                </a:lnTo>
                <a:lnTo>
                  <a:pt x="11225" y="6342"/>
                </a:lnTo>
                <a:lnTo>
                  <a:pt x="11217" y="6353"/>
                </a:lnTo>
                <a:lnTo>
                  <a:pt x="11208" y="6364"/>
                </a:lnTo>
                <a:lnTo>
                  <a:pt x="11197" y="6375"/>
                </a:lnTo>
                <a:lnTo>
                  <a:pt x="11184" y="6386"/>
                </a:lnTo>
                <a:lnTo>
                  <a:pt x="11171" y="6397"/>
                </a:lnTo>
                <a:lnTo>
                  <a:pt x="11170" y="6368"/>
                </a:lnTo>
                <a:lnTo>
                  <a:pt x="11169" y="6331"/>
                </a:lnTo>
                <a:lnTo>
                  <a:pt x="11167" y="6311"/>
                </a:lnTo>
                <a:lnTo>
                  <a:pt x="11165" y="6291"/>
                </a:lnTo>
                <a:lnTo>
                  <a:pt x="11163" y="6271"/>
                </a:lnTo>
                <a:lnTo>
                  <a:pt x="11159" y="6251"/>
                </a:lnTo>
                <a:lnTo>
                  <a:pt x="11155" y="6231"/>
                </a:lnTo>
                <a:lnTo>
                  <a:pt x="11149" y="6213"/>
                </a:lnTo>
                <a:lnTo>
                  <a:pt x="11143" y="6196"/>
                </a:lnTo>
                <a:lnTo>
                  <a:pt x="11136" y="6182"/>
                </a:lnTo>
                <a:lnTo>
                  <a:pt x="11133" y="6176"/>
                </a:lnTo>
                <a:lnTo>
                  <a:pt x="11128" y="6170"/>
                </a:lnTo>
                <a:lnTo>
                  <a:pt x="11124" y="6165"/>
                </a:lnTo>
                <a:lnTo>
                  <a:pt x="11119" y="6161"/>
                </a:lnTo>
                <a:lnTo>
                  <a:pt x="11114" y="6158"/>
                </a:lnTo>
                <a:lnTo>
                  <a:pt x="11108" y="6155"/>
                </a:lnTo>
                <a:lnTo>
                  <a:pt x="11102" y="6154"/>
                </a:lnTo>
                <a:lnTo>
                  <a:pt x="11096" y="6153"/>
                </a:lnTo>
                <a:lnTo>
                  <a:pt x="11092" y="6145"/>
                </a:lnTo>
                <a:lnTo>
                  <a:pt x="11087" y="6137"/>
                </a:lnTo>
                <a:lnTo>
                  <a:pt x="11081" y="6130"/>
                </a:lnTo>
                <a:lnTo>
                  <a:pt x="11075" y="6124"/>
                </a:lnTo>
                <a:lnTo>
                  <a:pt x="11068" y="6117"/>
                </a:lnTo>
                <a:lnTo>
                  <a:pt x="11062" y="6112"/>
                </a:lnTo>
                <a:lnTo>
                  <a:pt x="11054" y="6106"/>
                </a:lnTo>
                <a:lnTo>
                  <a:pt x="11047" y="6101"/>
                </a:lnTo>
                <a:lnTo>
                  <a:pt x="11031" y="6092"/>
                </a:lnTo>
                <a:lnTo>
                  <a:pt x="11014" y="6085"/>
                </a:lnTo>
                <a:lnTo>
                  <a:pt x="10996" y="6078"/>
                </a:lnTo>
                <a:lnTo>
                  <a:pt x="10979" y="6071"/>
                </a:lnTo>
                <a:lnTo>
                  <a:pt x="10961" y="6065"/>
                </a:lnTo>
                <a:lnTo>
                  <a:pt x="10943" y="6058"/>
                </a:lnTo>
                <a:lnTo>
                  <a:pt x="10926" y="6051"/>
                </a:lnTo>
                <a:lnTo>
                  <a:pt x="10909" y="6043"/>
                </a:lnTo>
                <a:lnTo>
                  <a:pt x="10892" y="6034"/>
                </a:lnTo>
                <a:lnTo>
                  <a:pt x="10878" y="6023"/>
                </a:lnTo>
                <a:lnTo>
                  <a:pt x="10871" y="6017"/>
                </a:lnTo>
                <a:lnTo>
                  <a:pt x="10864" y="6010"/>
                </a:lnTo>
                <a:lnTo>
                  <a:pt x="10858" y="6003"/>
                </a:lnTo>
                <a:lnTo>
                  <a:pt x="10852" y="5995"/>
                </a:lnTo>
                <a:lnTo>
                  <a:pt x="10848" y="5995"/>
                </a:lnTo>
                <a:lnTo>
                  <a:pt x="10844" y="5993"/>
                </a:lnTo>
                <a:lnTo>
                  <a:pt x="10840" y="5991"/>
                </a:lnTo>
                <a:lnTo>
                  <a:pt x="10836" y="5989"/>
                </a:lnTo>
                <a:lnTo>
                  <a:pt x="10828" y="5980"/>
                </a:lnTo>
                <a:lnTo>
                  <a:pt x="10821" y="5971"/>
                </a:lnTo>
                <a:lnTo>
                  <a:pt x="10806" y="5947"/>
                </a:lnTo>
                <a:lnTo>
                  <a:pt x="10792" y="5919"/>
                </a:lnTo>
                <a:lnTo>
                  <a:pt x="10784" y="5905"/>
                </a:lnTo>
                <a:lnTo>
                  <a:pt x="10775" y="5891"/>
                </a:lnTo>
                <a:lnTo>
                  <a:pt x="10765" y="5878"/>
                </a:lnTo>
                <a:lnTo>
                  <a:pt x="10755" y="5866"/>
                </a:lnTo>
                <a:lnTo>
                  <a:pt x="10750" y="5860"/>
                </a:lnTo>
                <a:lnTo>
                  <a:pt x="10744" y="5854"/>
                </a:lnTo>
                <a:lnTo>
                  <a:pt x="10738" y="5849"/>
                </a:lnTo>
                <a:lnTo>
                  <a:pt x="10732" y="5845"/>
                </a:lnTo>
                <a:lnTo>
                  <a:pt x="10726" y="5842"/>
                </a:lnTo>
                <a:lnTo>
                  <a:pt x="10719" y="5839"/>
                </a:lnTo>
                <a:lnTo>
                  <a:pt x="10712" y="5837"/>
                </a:lnTo>
                <a:lnTo>
                  <a:pt x="10705" y="5836"/>
                </a:lnTo>
                <a:lnTo>
                  <a:pt x="10701" y="5840"/>
                </a:lnTo>
                <a:lnTo>
                  <a:pt x="10697" y="5844"/>
                </a:lnTo>
                <a:lnTo>
                  <a:pt x="10692" y="5847"/>
                </a:lnTo>
                <a:lnTo>
                  <a:pt x="10687" y="5851"/>
                </a:lnTo>
                <a:lnTo>
                  <a:pt x="10674" y="5858"/>
                </a:lnTo>
                <a:lnTo>
                  <a:pt x="10660" y="5866"/>
                </a:lnTo>
                <a:lnTo>
                  <a:pt x="10645" y="5871"/>
                </a:lnTo>
                <a:lnTo>
                  <a:pt x="10631" y="5875"/>
                </a:lnTo>
                <a:lnTo>
                  <a:pt x="10619" y="5878"/>
                </a:lnTo>
                <a:lnTo>
                  <a:pt x="10609" y="5879"/>
                </a:lnTo>
                <a:lnTo>
                  <a:pt x="10604" y="5886"/>
                </a:lnTo>
                <a:lnTo>
                  <a:pt x="10599" y="5893"/>
                </a:lnTo>
                <a:lnTo>
                  <a:pt x="10592" y="5899"/>
                </a:lnTo>
                <a:lnTo>
                  <a:pt x="10584" y="5905"/>
                </a:lnTo>
                <a:lnTo>
                  <a:pt x="10575" y="5909"/>
                </a:lnTo>
                <a:lnTo>
                  <a:pt x="10566" y="5912"/>
                </a:lnTo>
                <a:lnTo>
                  <a:pt x="10555" y="5915"/>
                </a:lnTo>
                <a:lnTo>
                  <a:pt x="10545" y="5918"/>
                </a:lnTo>
                <a:lnTo>
                  <a:pt x="10533" y="5919"/>
                </a:lnTo>
                <a:lnTo>
                  <a:pt x="10522" y="5920"/>
                </a:lnTo>
                <a:lnTo>
                  <a:pt x="10508" y="5921"/>
                </a:lnTo>
                <a:lnTo>
                  <a:pt x="10496" y="5921"/>
                </a:lnTo>
                <a:lnTo>
                  <a:pt x="10470" y="5920"/>
                </a:lnTo>
                <a:lnTo>
                  <a:pt x="10445" y="5918"/>
                </a:lnTo>
                <a:lnTo>
                  <a:pt x="10396" y="5911"/>
                </a:lnTo>
                <a:lnTo>
                  <a:pt x="10353" y="5904"/>
                </a:lnTo>
                <a:lnTo>
                  <a:pt x="10337" y="5901"/>
                </a:lnTo>
                <a:lnTo>
                  <a:pt x="10324" y="5899"/>
                </a:lnTo>
                <a:lnTo>
                  <a:pt x="10320" y="5898"/>
                </a:lnTo>
                <a:lnTo>
                  <a:pt x="10316" y="5898"/>
                </a:lnTo>
                <a:lnTo>
                  <a:pt x="10314" y="5899"/>
                </a:lnTo>
                <a:lnTo>
                  <a:pt x="10306" y="5914"/>
                </a:lnTo>
                <a:lnTo>
                  <a:pt x="10290" y="5953"/>
                </a:lnTo>
                <a:lnTo>
                  <a:pt x="10266" y="6009"/>
                </a:lnTo>
                <a:lnTo>
                  <a:pt x="10240" y="6073"/>
                </a:lnTo>
                <a:lnTo>
                  <a:pt x="10214" y="6141"/>
                </a:lnTo>
                <a:lnTo>
                  <a:pt x="10191" y="6202"/>
                </a:lnTo>
                <a:lnTo>
                  <a:pt x="10181" y="6228"/>
                </a:lnTo>
                <a:lnTo>
                  <a:pt x="10174" y="6251"/>
                </a:lnTo>
                <a:lnTo>
                  <a:pt x="10168" y="6269"/>
                </a:lnTo>
                <a:lnTo>
                  <a:pt x="10165" y="6280"/>
                </a:lnTo>
                <a:lnTo>
                  <a:pt x="10162" y="6297"/>
                </a:lnTo>
                <a:lnTo>
                  <a:pt x="10157" y="6312"/>
                </a:lnTo>
                <a:lnTo>
                  <a:pt x="10151" y="6325"/>
                </a:lnTo>
                <a:lnTo>
                  <a:pt x="10144" y="6336"/>
                </a:lnTo>
                <a:lnTo>
                  <a:pt x="10135" y="6347"/>
                </a:lnTo>
                <a:lnTo>
                  <a:pt x="10127" y="6357"/>
                </a:lnTo>
                <a:lnTo>
                  <a:pt x="10119" y="6367"/>
                </a:lnTo>
                <a:lnTo>
                  <a:pt x="10110" y="6376"/>
                </a:lnTo>
                <a:lnTo>
                  <a:pt x="10092" y="6394"/>
                </a:lnTo>
                <a:lnTo>
                  <a:pt x="10075" y="6413"/>
                </a:lnTo>
                <a:lnTo>
                  <a:pt x="10068" y="6424"/>
                </a:lnTo>
                <a:lnTo>
                  <a:pt x="10061" y="6437"/>
                </a:lnTo>
                <a:lnTo>
                  <a:pt x="10055" y="6451"/>
                </a:lnTo>
                <a:lnTo>
                  <a:pt x="10050" y="6467"/>
                </a:lnTo>
                <a:lnTo>
                  <a:pt x="10048" y="6471"/>
                </a:lnTo>
                <a:lnTo>
                  <a:pt x="10045" y="6474"/>
                </a:lnTo>
                <a:lnTo>
                  <a:pt x="10041" y="6478"/>
                </a:lnTo>
                <a:lnTo>
                  <a:pt x="10035" y="6481"/>
                </a:lnTo>
                <a:lnTo>
                  <a:pt x="10020" y="6486"/>
                </a:lnTo>
                <a:lnTo>
                  <a:pt x="10000" y="6491"/>
                </a:lnTo>
                <a:lnTo>
                  <a:pt x="9978" y="6494"/>
                </a:lnTo>
                <a:lnTo>
                  <a:pt x="9954" y="6496"/>
                </a:lnTo>
                <a:lnTo>
                  <a:pt x="9929" y="6499"/>
                </a:lnTo>
                <a:lnTo>
                  <a:pt x="9902" y="6500"/>
                </a:lnTo>
                <a:lnTo>
                  <a:pt x="9850" y="6504"/>
                </a:lnTo>
                <a:lnTo>
                  <a:pt x="9806" y="6508"/>
                </a:lnTo>
                <a:lnTo>
                  <a:pt x="9788" y="6511"/>
                </a:lnTo>
                <a:lnTo>
                  <a:pt x="9775" y="6514"/>
                </a:lnTo>
                <a:lnTo>
                  <a:pt x="9770" y="6516"/>
                </a:lnTo>
                <a:lnTo>
                  <a:pt x="9766" y="6519"/>
                </a:lnTo>
                <a:lnTo>
                  <a:pt x="9763" y="6521"/>
                </a:lnTo>
                <a:lnTo>
                  <a:pt x="9762" y="6524"/>
                </a:lnTo>
                <a:lnTo>
                  <a:pt x="9740" y="6516"/>
                </a:lnTo>
                <a:lnTo>
                  <a:pt x="9719" y="6507"/>
                </a:lnTo>
                <a:lnTo>
                  <a:pt x="9698" y="6497"/>
                </a:lnTo>
                <a:lnTo>
                  <a:pt x="9678" y="6485"/>
                </a:lnTo>
                <a:lnTo>
                  <a:pt x="9659" y="6473"/>
                </a:lnTo>
                <a:lnTo>
                  <a:pt x="9641" y="6460"/>
                </a:lnTo>
                <a:lnTo>
                  <a:pt x="9623" y="6446"/>
                </a:lnTo>
                <a:lnTo>
                  <a:pt x="9607" y="6431"/>
                </a:lnTo>
                <a:lnTo>
                  <a:pt x="9592" y="6415"/>
                </a:lnTo>
                <a:lnTo>
                  <a:pt x="9579" y="6397"/>
                </a:lnTo>
                <a:lnTo>
                  <a:pt x="9574" y="6388"/>
                </a:lnTo>
                <a:lnTo>
                  <a:pt x="9568" y="6379"/>
                </a:lnTo>
                <a:lnTo>
                  <a:pt x="9563" y="6369"/>
                </a:lnTo>
                <a:lnTo>
                  <a:pt x="9559" y="6359"/>
                </a:lnTo>
                <a:lnTo>
                  <a:pt x="9555" y="6348"/>
                </a:lnTo>
                <a:lnTo>
                  <a:pt x="9551" y="6338"/>
                </a:lnTo>
                <a:lnTo>
                  <a:pt x="9548" y="6327"/>
                </a:lnTo>
                <a:lnTo>
                  <a:pt x="9545" y="6317"/>
                </a:lnTo>
                <a:lnTo>
                  <a:pt x="9543" y="6305"/>
                </a:lnTo>
                <a:lnTo>
                  <a:pt x="9542" y="6294"/>
                </a:lnTo>
                <a:lnTo>
                  <a:pt x="9541" y="6282"/>
                </a:lnTo>
                <a:lnTo>
                  <a:pt x="9541" y="6270"/>
                </a:lnTo>
                <a:lnTo>
                  <a:pt x="9539" y="6266"/>
                </a:lnTo>
                <a:lnTo>
                  <a:pt x="9539" y="6256"/>
                </a:lnTo>
                <a:lnTo>
                  <a:pt x="9539" y="6239"/>
                </a:lnTo>
                <a:lnTo>
                  <a:pt x="9540" y="6217"/>
                </a:lnTo>
                <a:lnTo>
                  <a:pt x="9545" y="6162"/>
                </a:lnTo>
                <a:lnTo>
                  <a:pt x="9551" y="6097"/>
                </a:lnTo>
                <a:lnTo>
                  <a:pt x="9558" y="6031"/>
                </a:lnTo>
                <a:lnTo>
                  <a:pt x="9567" y="5968"/>
                </a:lnTo>
                <a:lnTo>
                  <a:pt x="9571" y="5942"/>
                </a:lnTo>
                <a:lnTo>
                  <a:pt x="9575" y="5919"/>
                </a:lnTo>
                <a:lnTo>
                  <a:pt x="9579" y="5901"/>
                </a:lnTo>
                <a:lnTo>
                  <a:pt x="9583" y="5889"/>
                </a:lnTo>
                <a:lnTo>
                  <a:pt x="9591" y="5892"/>
                </a:lnTo>
                <a:lnTo>
                  <a:pt x="9598" y="5895"/>
                </a:lnTo>
                <a:lnTo>
                  <a:pt x="9603" y="5898"/>
                </a:lnTo>
                <a:lnTo>
                  <a:pt x="9608" y="5902"/>
                </a:lnTo>
                <a:lnTo>
                  <a:pt x="9612" y="5908"/>
                </a:lnTo>
                <a:lnTo>
                  <a:pt x="9616" y="5914"/>
                </a:lnTo>
                <a:lnTo>
                  <a:pt x="9620" y="5922"/>
                </a:lnTo>
                <a:lnTo>
                  <a:pt x="9625" y="5931"/>
                </a:lnTo>
                <a:lnTo>
                  <a:pt x="9641" y="5927"/>
                </a:lnTo>
                <a:lnTo>
                  <a:pt x="9657" y="5924"/>
                </a:lnTo>
                <a:lnTo>
                  <a:pt x="9675" y="5922"/>
                </a:lnTo>
                <a:lnTo>
                  <a:pt x="9694" y="5921"/>
                </a:lnTo>
                <a:lnTo>
                  <a:pt x="9734" y="5921"/>
                </a:lnTo>
                <a:lnTo>
                  <a:pt x="9775" y="5920"/>
                </a:lnTo>
                <a:lnTo>
                  <a:pt x="9794" y="5919"/>
                </a:lnTo>
                <a:lnTo>
                  <a:pt x="9811" y="5916"/>
                </a:lnTo>
                <a:lnTo>
                  <a:pt x="9827" y="5913"/>
                </a:lnTo>
                <a:lnTo>
                  <a:pt x="9841" y="5908"/>
                </a:lnTo>
                <a:lnTo>
                  <a:pt x="9847" y="5905"/>
                </a:lnTo>
                <a:lnTo>
                  <a:pt x="9852" y="5902"/>
                </a:lnTo>
                <a:lnTo>
                  <a:pt x="9857" y="5898"/>
                </a:lnTo>
                <a:lnTo>
                  <a:pt x="9861" y="5893"/>
                </a:lnTo>
                <a:lnTo>
                  <a:pt x="9864" y="5888"/>
                </a:lnTo>
                <a:lnTo>
                  <a:pt x="9866" y="5882"/>
                </a:lnTo>
                <a:lnTo>
                  <a:pt x="9868" y="5875"/>
                </a:lnTo>
                <a:lnTo>
                  <a:pt x="9868" y="5868"/>
                </a:lnTo>
                <a:lnTo>
                  <a:pt x="9881" y="5869"/>
                </a:lnTo>
                <a:lnTo>
                  <a:pt x="9893" y="5870"/>
                </a:lnTo>
                <a:lnTo>
                  <a:pt x="9904" y="5872"/>
                </a:lnTo>
                <a:lnTo>
                  <a:pt x="9913" y="5874"/>
                </a:lnTo>
                <a:lnTo>
                  <a:pt x="9921" y="5877"/>
                </a:lnTo>
                <a:lnTo>
                  <a:pt x="9928" y="5881"/>
                </a:lnTo>
                <a:lnTo>
                  <a:pt x="9933" y="5886"/>
                </a:lnTo>
                <a:lnTo>
                  <a:pt x="9938" y="5891"/>
                </a:lnTo>
                <a:lnTo>
                  <a:pt x="9941" y="5896"/>
                </a:lnTo>
                <a:lnTo>
                  <a:pt x="9943" y="5902"/>
                </a:lnTo>
                <a:lnTo>
                  <a:pt x="9944" y="5909"/>
                </a:lnTo>
                <a:lnTo>
                  <a:pt x="9944" y="5916"/>
                </a:lnTo>
                <a:lnTo>
                  <a:pt x="9943" y="5924"/>
                </a:lnTo>
                <a:lnTo>
                  <a:pt x="9941" y="5933"/>
                </a:lnTo>
                <a:lnTo>
                  <a:pt x="9937" y="5942"/>
                </a:lnTo>
                <a:lnTo>
                  <a:pt x="9932" y="5952"/>
                </a:lnTo>
                <a:lnTo>
                  <a:pt x="9959" y="5957"/>
                </a:lnTo>
                <a:lnTo>
                  <a:pt x="9988" y="5960"/>
                </a:lnTo>
                <a:lnTo>
                  <a:pt x="10003" y="5962"/>
                </a:lnTo>
                <a:lnTo>
                  <a:pt x="10019" y="5962"/>
                </a:lnTo>
                <a:lnTo>
                  <a:pt x="10033" y="5961"/>
                </a:lnTo>
                <a:lnTo>
                  <a:pt x="10047" y="5960"/>
                </a:lnTo>
                <a:lnTo>
                  <a:pt x="10060" y="5957"/>
                </a:lnTo>
                <a:lnTo>
                  <a:pt x="10073" y="5953"/>
                </a:lnTo>
                <a:lnTo>
                  <a:pt x="10078" y="5950"/>
                </a:lnTo>
                <a:lnTo>
                  <a:pt x="10084" y="5947"/>
                </a:lnTo>
                <a:lnTo>
                  <a:pt x="10089" y="5944"/>
                </a:lnTo>
                <a:lnTo>
                  <a:pt x="10093" y="5940"/>
                </a:lnTo>
                <a:lnTo>
                  <a:pt x="10097" y="5935"/>
                </a:lnTo>
                <a:lnTo>
                  <a:pt x="10101" y="5930"/>
                </a:lnTo>
                <a:lnTo>
                  <a:pt x="10104" y="5925"/>
                </a:lnTo>
                <a:lnTo>
                  <a:pt x="10107" y="5919"/>
                </a:lnTo>
                <a:lnTo>
                  <a:pt x="10109" y="5912"/>
                </a:lnTo>
                <a:lnTo>
                  <a:pt x="10111" y="5905"/>
                </a:lnTo>
                <a:lnTo>
                  <a:pt x="10112" y="5897"/>
                </a:lnTo>
                <a:lnTo>
                  <a:pt x="10112" y="5889"/>
                </a:lnTo>
                <a:lnTo>
                  <a:pt x="10099" y="5889"/>
                </a:lnTo>
                <a:lnTo>
                  <a:pt x="10089" y="5888"/>
                </a:lnTo>
                <a:lnTo>
                  <a:pt x="10085" y="5887"/>
                </a:lnTo>
                <a:lnTo>
                  <a:pt x="10082" y="5886"/>
                </a:lnTo>
                <a:lnTo>
                  <a:pt x="10079" y="5884"/>
                </a:lnTo>
                <a:lnTo>
                  <a:pt x="10076" y="5882"/>
                </a:lnTo>
                <a:lnTo>
                  <a:pt x="10074" y="5880"/>
                </a:lnTo>
                <a:lnTo>
                  <a:pt x="10073" y="5877"/>
                </a:lnTo>
                <a:lnTo>
                  <a:pt x="10072" y="5874"/>
                </a:lnTo>
                <a:lnTo>
                  <a:pt x="10071" y="5870"/>
                </a:lnTo>
                <a:lnTo>
                  <a:pt x="10070" y="5860"/>
                </a:lnTo>
                <a:lnTo>
                  <a:pt x="10070" y="5846"/>
                </a:lnTo>
                <a:lnTo>
                  <a:pt x="10081" y="5834"/>
                </a:lnTo>
                <a:lnTo>
                  <a:pt x="10089" y="5822"/>
                </a:lnTo>
                <a:lnTo>
                  <a:pt x="10096" y="5809"/>
                </a:lnTo>
                <a:lnTo>
                  <a:pt x="10102" y="5797"/>
                </a:lnTo>
                <a:lnTo>
                  <a:pt x="10105" y="5786"/>
                </a:lnTo>
                <a:lnTo>
                  <a:pt x="10108" y="5774"/>
                </a:lnTo>
                <a:lnTo>
                  <a:pt x="10108" y="5762"/>
                </a:lnTo>
                <a:lnTo>
                  <a:pt x="10108" y="5751"/>
                </a:lnTo>
                <a:lnTo>
                  <a:pt x="10106" y="5739"/>
                </a:lnTo>
                <a:lnTo>
                  <a:pt x="10103" y="5727"/>
                </a:lnTo>
                <a:lnTo>
                  <a:pt x="10100" y="5716"/>
                </a:lnTo>
                <a:lnTo>
                  <a:pt x="10095" y="5705"/>
                </a:lnTo>
                <a:lnTo>
                  <a:pt x="10089" y="5694"/>
                </a:lnTo>
                <a:lnTo>
                  <a:pt x="10083" y="5684"/>
                </a:lnTo>
                <a:lnTo>
                  <a:pt x="10077" y="5673"/>
                </a:lnTo>
                <a:lnTo>
                  <a:pt x="10070" y="5663"/>
                </a:lnTo>
                <a:lnTo>
                  <a:pt x="10038" y="5624"/>
                </a:lnTo>
                <a:lnTo>
                  <a:pt x="10007" y="5587"/>
                </a:lnTo>
                <a:lnTo>
                  <a:pt x="9994" y="5571"/>
                </a:lnTo>
                <a:lnTo>
                  <a:pt x="9983" y="5556"/>
                </a:lnTo>
                <a:lnTo>
                  <a:pt x="9980" y="5549"/>
                </a:lnTo>
                <a:lnTo>
                  <a:pt x="9977" y="5542"/>
                </a:lnTo>
                <a:lnTo>
                  <a:pt x="9975" y="5535"/>
                </a:lnTo>
                <a:lnTo>
                  <a:pt x="9974" y="5529"/>
                </a:lnTo>
                <a:lnTo>
                  <a:pt x="9965" y="5525"/>
                </a:lnTo>
                <a:lnTo>
                  <a:pt x="9956" y="5520"/>
                </a:lnTo>
                <a:lnTo>
                  <a:pt x="9946" y="5514"/>
                </a:lnTo>
                <a:lnTo>
                  <a:pt x="9936" y="5506"/>
                </a:lnTo>
                <a:lnTo>
                  <a:pt x="9916" y="5489"/>
                </a:lnTo>
                <a:lnTo>
                  <a:pt x="9898" y="5471"/>
                </a:lnTo>
                <a:lnTo>
                  <a:pt x="9890" y="5463"/>
                </a:lnTo>
                <a:lnTo>
                  <a:pt x="9885" y="5457"/>
                </a:lnTo>
                <a:lnTo>
                  <a:pt x="9882" y="5451"/>
                </a:lnTo>
                <a:lnTo>
                  <a:pt x="9880" y="5447"/>
                </a:lnTo>
                <a:lnTo>
                  <a:pt x="9881" y="5446"/>
                </a:lnTo>
                <a:lnTo>
                  <a:pt x="9881" y="5445"/>
                </a:lnTo>
                <a:lnTo>
                  <a:pt x="9883" y="5445"/>
                </a:lnTo>
                <a:lnTo>
                  <a:pt x="9885" y="5445"/>
                </a:lnTo>
                <a:lnTo>
                  <a:pt x="9893" y="5447"/>
                </a:lnTo>
                <a:lnTo>
                  <a:pt x="9904" y="5453"/>
                </a:lnTo>
                <a:lnTo>
                  <a:pt x="9915" y="5459"/>
                </a:lnTo>
                <a:lnTo>
                  <a:pt x="9930" y="5465"/>
                </a:lnTo>
                <a:lnTo>
                  <a:pt x="9947" y="5472"/>
                </a:lnTo>
                <a:lnTo>
                  <a:pt x="9965" y="5478"/>
                </a:lnTo>
                <a:lnTo>
                  <a:pt x="9984" y="5485"/>
                </a:lnTo>
                <a:lnTo>
                  <a:pt x="10004" y="5490"/>
                </a:lnTo>
                <a:lnTo>
                  <a:pt x="10024" y="5493"/>
                </a:lnTo>
                <a:lnTo>
                  <a:pt x="10042" y="5495"/>
                </a:lnTo>
                <a:lnTo>
                  <a:pt x="10051" y="5495"/>
                </a:lnTo>
                <a:lnTo>
                  <a:pt x="10059" y="5495"/>
                </a:lnTo>
                <a:lnTo>
                  <a:pt x="10067" y="5494"/>
                </a:lnTo>
                <a:lnTo>
                  <a:pt x="10074" y="5493"/>
                </a:lnTo>
                <a:lnTo>
                  <a:pt x="10080" y="5491"/>
                </a:lnTo>
                <a:lnTo>
                  <a:pt x="10085" y="5488"/>
                </a:lnTo>
                <a:lnTo>
                  <a:pt x="10090" y="5485"/>
                </a:lnTo>
                <a:lnTo>
                  <a:pt x="10094" y="5479"/>
                </a:lnTo>
                <a:lnTo>
                  <a:pt x="10096" y="5474"/>
                </a:lnTo>
                <a:lnTo>
                  <a:pt x="10098" y="5468"/>
                </a:lnTo>
                <a:lnTo>
                  <a:pt x="10098" y="5461"/>
                </a:lnTo>
                <a:lnTo>
                  <a:pt x="10097" y="5454"/>
                </a:lnTo>
                <a:lnTo>
                  <a:pt x="10095" y="5445"/>
                </a:lnTo>
                <a:lnTo>
                  <a:pt x="10092" y="5435"/>
                </a:lnTo>
                <a:lnTo>
                  <a:pt x="10087" y="5424"/>
                </a:lnTo>
                <a:lnTo>
                  <a:pt x="10080" y="5412"/>
                </a:lnTo>
                <a:lnTo>
                  <a:pt x="10084" y="5411"/>
                </a:lnTo>
                <a:lnTo>
                  <a:pt x="10087" y="5409"/>
                </a:lnTo>
                <a:lnTo>
                  <a:pt x="10089" y="5406"/>
                </a:lnTo>
                <a:lnTo>
                  <a:pt x="10091" y="5402"/>
                </a:lnTo>
                <a:lnTo>
                  <a:pt x="10102" y="5411"/>
                </a:lnTo>
                <a:lnTo>
                  <a:pt x="10118" y="5425"/>
                </a:lnTo>
                <a:lnTo>
                  <a:pt x="10127" y="5433"/>
                </a:lnTo>
                <a:lnTo>
                  <a:pt x="10137" y="5440"/>
                </a:lnTo>
                <a:lnTo>
                  <a:pt x="10148" y="5447"/>
                </a:lnTo>
                <a:lnTo>
                  <a:pt x="10158" y="5453"/>
                </a:lnTo>
                <a:lnTo>
                  <a:pt x="10167" y="5458"/>
                </a:lnTo>
                <a:lnTo>
                  <a:pt x="10176" y="5461"/>
                </a:lnTo>
                <a:lnTo>
                  <a:pt x="10181" y="5462"/>
                </a:lnTo>
                <a:lnTo>
                  <a:pt x="10185" y="5462"/>
                </a:lnTo>
                <a:lnTo>
                  <a:pt x="10189" y="5462"/>
                </a:lnTo>
                <a:lnTo>
                  <a:pt x="10192" y="5461"/>
                </a:lnTo>
                <a:lnTo>
                  <a:pt x="10196" y="5459"/>
                </a:lnTo>
                <a:lnTo>
                  <a:pt x="10198" y="5457"/>
                </a:lnTo>
                <a:lnTo>
                  <a:pt x="10201" y="5453"/>
                </a:lnTo>
                <a:lnTo>
                  <a:pt x="10203" y="5449"/>
                </a:lnTo>
                <a:lnTo>
                  <a:pt x="10205" y="5444"/>
                </a:lnTo>
                <a:lnTo>
                  <a:pt x="10206" y="5438"/>
                </a:lnTo>
                <a:lnTo>
                  <a:pt x="10207" y="5431"/>
                </a:lnTo>
                <a:lnTo>
                  <a:pt x="10207" y="5423"/>
                </a:lnTo>
                <a:lnTo>
                  <a:pt x="10213" y="5422"/>
                </a:lnTo>
                <a:lnTo>
                  <a:pt x="10220" y="5420"/>
                </a:lnTo>
                <a:lnTo>
                  <a:pt x="10228" y="5417"/>
                </a:lnTo>
                <a:lnTo>
                  <a:pt x="10237" y="5413"/>
                </a:lnTo>
                <a:lnTo>
                  <a:pt x="10245" y="5408"/>
                </a:lnTo>
                <a:lnTo>
                  <a:pt x="10254" y="5403"/>
                </a:lnTo>
                <a:lnTo>
                  <a:pt x="10262" y="5397"/>
                </a:lnTo>
                <a:lnTo>
                  <a:pt x="10270" y="5392"/>
                </a:lnTo>
                <a:lnTo>
                  <a:pt x="10276" y="5386"/>
                </a:lnTo>
                <a:lnTo>
                  <a:pt x="10281" y="5380"/>
                </a:lnTo>
                <a:lnTo>
                  <a:pt x="10282" y="5377"/>
                </a:lnTo>
                <a:lnTo>
                  <a:pt x="10283" y="5375"/>
                </a:lnTo>
                <a:lnTo>
                  <a:pt x="10283" y="5372"/>
                </a:lnTo>
                <a:lnTo>
                  <a:pt x="10283" y="5370"/>
                </a:lnTo>
                <a:lnTo>
                  <a:pt x="10282" y="5368"/>
                </a:lnTo>
                <a:lnTo>
                  <a:pt x="10280" y="5366"/>
                </a:lnTo>
                <a:lnTo>
                  <a:pt x="10277" y="5364"/>
                </a:lnTo>
                <a:lnTo>
                  <a:pt x="10274" y="5363"/>
                </a:lnTo>
                <a:lnTo>
                  <a:pt x="10263" y="5361"/>
                </a:lnTo>
                <a:lnTo>
                  <a:pt x="10249" y="5360"/>
                </a:lnTo>
                <a:lnTo>
                  <a:pt x="10254" y="5325"/>
                </a:lnTo>
                <a:lnTo>
                  <a:pt x="10256" y="5295"/>
                </a:lnTo>
                <a:lnTo>
                  <a:pt x="10257" y="5267"/>
                </a:lnTo>
                <a:lnTo>
                  <a:pt x="10260" y="5243"/>
                </a:lnTo>
                <a:lnTo>
                  <a:pt x="10283" y="5255"/>
                </a:lnTo>
                <a:lnTo>
                  <a:pt x="10302" y="5262"/>
                </a:lnTo>
                <a:lnTo>
                  <a:pt x="10309" y="5264"/>
                </a:lnTo>
                <a:lnTo>
                  <a:pt x="10316" y="5265"/>
                </a:lnTo>
                <a:lnTo>
                  <a:pt x="10322" y="5266"/>
                </a:lnTo>
                <a:lnTo>
                  <a:pt x="10327" y="5265"/>
                </a:lnTo>
                <a:lnTo>
                  <a:pt x="10331" y="5264"/>
                </a:lnTo>
                <a:lnTo>
                  <a:pt x="10335" y="5263"/>
                </a:lnTo>
                <a:lnTo>
                  <a:pt x="10338" y="5260"/>
                </a:lnTo>
                <a:lnTo>
                  <a:pt x="10341" y="5257"/>
                </a:lnTo>
                <a:lnTo>
                  <a:pt x="10345" y="5250"/>
                </a:lnTo>
                <a:lnTo>
                  <a:pt x="10348" y="5240"/>
                </a:lnTo>
                <a:lnTo>
                  <a:pt x="10352" y="5217"/>
                </a:lnTo>
                <a:lnTo>
                  <a:pt x="10357" y="5192"/>
                </a:lnTo>
                <a:lnTo>
                  <a:pt x="10361" y="5180"/>
                </a:lnTo>
                <a:lnTo>
                  <a:pt x="10367" y="5168"/>
                </a:lnTo>
                <a:lnTo>
                  <a:pt x="10371" y="5163"/>
                </a:lnTo>
                <a:lnTo>
                  <a:pt x="10376" y="5158"/>
                </a:lnTo>
                <a:lnTo>
                  <a:pt x="10381" y="5153"/>
                </a:lnTo>
                <a:lnTo>
                  <a:pt x="10387" y="5148"/>
                </a:lnTo>
                <a:lnTo>
                  <a:pt x="10387" y="5156"/>
                </a:lnTo>
                <a:lnTo>
                  <a:pt x="10388" y="5162"/>
                </a:lnTo>
                <a:lnTo>
                  <a:pt x="10389" y="5167"/>
                </a:lnTo>
                <a:lnTo>
                  <a:pt x="10390" y="5171"/>
                </a:lnTo>
                <a:lnTo>
                  <a:pt x="10392" y="5175"/>
                </a:lnTo>
                <a:lnTo>
                  <a:pt x="10394" y="5177"/>
                </a:lnTo>
                <a:lnTo>
                  <a:pt x="10397" y="5178"/>
                </a:lnTo>
                <a:lnTo>
                  <a:pt x="10400" y="5178"/>
                </a:lnTo>
                <a:lnTo>
                  <a:pt x="10406" y="5177"/>
                </a:lnTo>
                <a:lnTo>
                  <a:pt x="10413" y="5173"/>
                </a:lnTo>
                <a:lnTo>
                  <a:pt x="10421" y="5167"/>
                </a:lnTo>
                <a:lnTo>
                  <a:pt x="10429" y="5160"/>
                </a:lnTo>
                <a:lnTo>
                  <a:pt x="10448" y="5143"/>
                </a:lnTo>
                <a:lnTo>
                  <a:pt x="10467" y="5125"/>
                </a:lnTo>
                <a:lnTo>
                  <a:pt x="10476" y="5118"/>
                </a:lnTo>
                <a:lnTo>
                  <a:pt x="10486" y="5112"/>
                </a:lnTo>
                <a:lnTo>
                  <a:pt x="10490" y="5109"/>
                </a:lnTo>
                <a:lnTo>
                  <a:pt x="10495" y="5108"/>
                </a:lnTo>
                <a:lnTo>
                  <a:pt x="10499" y="5107"/>
                </a:lnTo>
                <a:lnTo>
                  <a:pt x="10503" y="5106"/>
                </a:lnTo>
                <a:lnTo>
                  <a:pt x="10508" y="5098"/>
                </a:lnTo>
                <a:lnTo>
                  <a:pt x="10514" y="5092"/>
                </a:lnTo>
                <a:lnTo>
                  <a:pt x="10520" y="5087"/>
                </a:lnTo>
                <a:lnTo>
                  <a:pt x="10526" y="5082"/>
                </a:lnTo>
                <a:lnTo>
                  <a:pt x="10533" y="5078"/>
                </a:lnTo>
                <a:lnTo>
                  <a:pt x="10539" y="5074"/>
                </a:lnTo>
                <a:lnTo>
                  <a:pt x="10546" y="5071"/>
                </a:lnTo>
                <a:lnTo>
                  <a:pt x="10553" y="5068"/>
                </a:lnTo>
                <a:lnTo>
                  <a:pt x="10568" y="5064"/>
                </a:lnTo>
                <a:lnTo>
                  <a:pt x="10582" y="5061"/>
                </a:lnTo>
                <a:lnTo>
                  <a:pt x="10597" y="5058"/>
                </a:lnTo>
                <a:lnTo>
                  <a:pt x="10612" y="5056"/>
                </a:lnTo>
                <a:lnTo>
                  <a:pt x="10627" y="5054"/>
                </a:lnTo>
                <a:lnTo>
                  <a:pt x="10641" y="5051"/>
                </a:lnTo>
                <a:lnTo>
                  <a:pt x="10656" y="5048"/>
                </a:lnTo>
                <a:lnTo>
                  <a:pt x="10668" y="5042"/>
                </a:lnTo>
                <a:lnTo>
                  <a:pt x="10674" y="5039"/>
                </a:lnTo>
                <a:lnTo>
                  <a:pt x="10680" y="5036"/>
                </a:lnTo>
                <a:lnTo>
                  <a:pt x="10685" y="5031"/>
                </a:lnTo>
                <a:lnTo>
                  <a:pt x="10690" y="5026"/>
                </a:lnTo>
                <a:lnTo>
                  <a:pt x="10694" y="5021"/>
                </a:lnTo>
                <a:lnTo>
                  <a:pt x="10698" y="5015"/>
                </a:lnTo>
                <a:lnTo>
                  <a:pt x="10702" y="5008"/>
                </a:lnTo>
                <a:lnTo>
                  <a:pt x="10705" y="5000"/>
                </a:lnTo>
                <a:lnTo>
                  <a:pt x="10699" y="4997"/>
                </a:lnTo>
                <a:lnTo>
                  <a:pt x="10693" y="4994"/>
                </a:lnTo>
                <a:lnTo>
                  <a:pt x="10688" y="4990"/>
                </a:lnTo>
                <a:lnTo>
                  <a:pt x="10684" y="4986"/>
                </a:lnTo>
                <a:lnTo>
                  <a:pt x="10680" y="4981"/>
                </a:lnTo>
                <a:lnTo>
                  <a:pt x="10676" y="4974"/>
                </a:lnTo>
                <a:lnTo>
                  <a:pt x="10672" y="4967"/>
                </a:lnTo>
                <a:lnTo>
                  <a:pt x="10669" y="4960"/>
                </a:lnTo>
                <a:lnTo>
                  <a:pt x="10664" y="4945"/>
                </a:lnTo>
                <a:lnTo>
                  <a:pt x="10660" y="4929"/>
                </a:lnTo>
                <a:lnTo>
                  <a:pt x="10657" y="4911"/>
                </a:lnTo>
                <a:lnTo>
                  <a:pt x="10654" y="4892"/>
                </a:lnTo>
                <a:lnTo>
                  <a:pt x="10652" y="4854"/>
                </a:lnTo>
                <a:lnTo>
                  <a:pt x="10651" y="4816"/>
                </a:lnTo>
                <a:lnTo>
                  <a:pt x="10652" y="4783"/>
                </a:lnTo>
                <a:lnTo>
                  <a:pt x="10652" y="4757"/>
                </a:lnTo>
                <a:lnTo>
                  <a:pt x="10660" y="4758"/>
                </a:lnTo>
                <a:lnTo>
                  <a:pt x="10667" y="4758"/>
                </a:lnTo>
                <a:lnTo>
                  <a:pt x="10674" y="4757"/>
                </a:lnTo>
                <a:lnTo>
                  <a:pt x="10681" y="4756"/>
                </a:lnTo>
                <a:lnTo>
                  <a:pt x="10696" y="4752"/>
                </a:lnTo>
                <a:lnTo>
                  <a:pt x="10710" y="4747"/>
                </a:lnTo>
                <a:lnTo>
                  <a:pt x="10738" y="4733"/>
                </a:lnTo>
                <a:lnTo>
                  <a:pt x="10764" y="4718"/>
                </a:lnTo>
                <a:lnTo>
                  <a:pt x="10777" y="4712"/>
                </a:lnTo>
                <a:lnTo>
                  <a:pt x="10788" y="4707"/>
                </a:lnTo>
                <a:lnTo>
                  <a:pt x="10798" y="4704"/>
                </a:lnTo>
                <a:lnTo>
                  <a:pt x="10807" y="4703"/>
                </a:lnTo>
                <a:lnTo>
                  <a:pt x="10811" y="4704"/>
                </a:lnTo>
                <a:lnTo>
                  <a:pt x="10814" y="4705"/>
                </a:lnTo>
                <a:lnTo>
                  <a:pt x="10818" y="4707"/>
                </a:lnTo>
                <a:lnTo>
                  <a:pt x="10821" y="4710"/>
                </a:lnTo>
                <a:lnTo>
                  <a:pt x="10823" y="4714"/>
                </a:lnTo>
                <a:lnTo>
                  <a:pt x="10825" y="4719"/>
                </a:lnTo>
                <a:lnTo>
                  <a:pt x="10827" y="4726"/>
                </a:lnTo>
                <a:lnTo>
                  <a:pt x="10828" y="4733"/>
                </a:lnTo>
                <a:lnTo>
                  <a:pt x="10832" y="4764"/>
                </a:lnTo>
                <a:lnTo>
                  <a:pt x="10836" y="4804"/>
                </a:lnTo>
                <a:lnTo>
                  <a:pt x="10839" y="4824"/>
                </a:lnTo>
                <a:lnTo>
                  <a:pt x="10843" y="4841"/>
                </a:lnTo>
                <a:lnTo>
                  <a:pt x="10845" y="4848"/>
                </a:lnTo>
                <a:lnTo>
                  <a:pt x="10847" y="4855"/>
                </a:lnTo>
                <a:lnTo>
                  <a:pt x="10850" y="4860"/>
                </a:lnTo>
                <a:lnTo>
                  <a:pt x="10852" y="4863"/>
                </a:lnTo>
                <a:lnTo>
                  <a:pt x="10872" y="4872"/>
                </a:lnTo>
                <a:lnTo>
                  <a:pt x="10889" y="4878"/>
                </a:lnTo>
                <a:lnTo>
                  <a:pt x="10896" y="4880"/>
                </a:lnTo>
                <a:lnTo>
                  <a:pt x="10904" y="4881"/>
                </a:lnTo>
                <a:lnTo>
                  <a:pt x="10910" y="4882"/>
                </a:lnTo>
                <a:lnTo>
                  <a:pt x="10915" y="4882"/>
                </a:lnTo>
                <a:lnTo>
                  <a:pt x="10920" y="4881"/>
                </a:lnTo>
                <a:lnTo>
                  <a:pt x="10924" y="4879"/>
                </a:lnTo>
                <a:lnTo>
                  <a:pt x="10927" y="4877"/>
                </a:lnTo>
                <a:lnTo>
                  <a:pt x="10931" y="4875"/>
                </a:lnTo>
                <a:lnTo>
                  <a:pt x="10933" y="4872"/>
                </a:lnTo>
                <a:lnTo>
                  <a:pt x="10935" y="4869"/>
                </a:lnTo>
                <a:lnTo>
                  <a:pt x="10937" y="4865"/>
                </a:lnTo>
                <a:lnTo>
                  <a:pt x="10939" y="4860"/>
                </a:lnTo>
                <a:lnTo>
                  <a:pt x="10941" y="4850"/>
                </a:lnTo>
                <a:lnTo>
                  <a:pt x="10941" y="4839"/>
                </a:lnTo>
                <a:lnTo>
                  <a:pt x="10941" y="4828"/>
                </a:lnTo>
                <a:lnTo>
                  <a:pt x="10941" y="4816"/>
                </a:lnTo>
                <a:lnTo>
                  <a:pt x="10939" y="4791"/>
                </a:lnTo>
                <a:lnTo>
                  <a:pt x="10938" y="4767"/>
                </a:lnTo>
                <a:lnTo>
                  <a:pt x="10934" y="4767"/>
                </a:lnTo>
                <a:lnTo>
                  <a:pt x="10931" y="4766"/>
                </a:lnTo>
                <a:lnTo>
                  <a:pt x="10927" y="4764"/>
                </a:lnTo>
                <a:lnTo>
                  <a:pt x="10923" y="4761"/>
                </a:lnTo>
                <a:lnTo>
                  <a:pt x="10915" y="4754"/>
                </a:lnTo>
                <a:lnTo>
                  <a:pt x="10908" y="4745"/>
                </a:lnTo>
                <a:lnTo>
                  <a:pt x="10900" y="4734"/>
                </a:lnTo>
                <a:lnTo>
                  <a:pt x="10891" y="4720"/>
                </a:lnTo>
                <a:lnTo>
                  <a:pt x="10884" y="4706"/>
                </a:lnTo>
                <a:lnTo>
                  <a:pt x="10877" y="4691"/>
                </a:lnTo>
                <a:lnTo>
                  <a:pt x="10870" y="4675"/>
                </a:lnTo>
                <a:lnTo>
                  <a:pt x="10864" y="4658"/>
                </a:lnTo>
                <a:lnTo>
                  <a:pt x="10859" y="4642"/>
                </a:lnTo>
                <a:lnTo>
                  <a:pt x="10854" y="4625"/>
                </a:lnTo>
                <a:lnTo>
                  <a:pt x="10850" y="4609"/>
                </a:lnTo>
                <a:lnTo>
                  <a:pt x="10846" y="4593"/>
                </a:lnTo>
                <a:lnTo>
                  <a:pt x="10844" y="4578"/>
                </a:lnTo>
                <a:lnTo>
                  <a:pt x="10842" y="4566"/>
                </a:lnTo>
                <a:lnTo>
                  <a:pt x="10829" y="4568"/>
                </a:lnTo>
                <a:lnTo>
                  <a:pt x="10816" y="4571"/>
                </a:lnTo>
                <a:lnTo>
                  <a:pt x="10802" y="4574"/>
                </a:lnTo>
                <a:lnTo>
                  <a:pt x="10788" y="4579"/>
                </a:lnTo>
                <a:lnTo>
                  <a:pt x="10775" y="4585"/>
                </a:lnTo>
                <a:lnTo>
                  <a:pt x="10762" y="4591"/>
                </a:lnTo>
                <a:lnTo>
                  <a:pt x="10757" y="4595"/>
                </a:lnTo>
                <a:lnTo>
                  <a:pt x="10753" y="4600"/>
                </a:lnTo>
                <a:lnTo>
                  <a:pt x="10749" y="4604"/>
                </a:lnTo>
                <a:lnTo>
                  <a:pt x="10746" y="4608"/>
                </a:lnTo>
                <a:lnTo>
                  <a:pt x="10725" y="4608"/>
                </a:lnTo>
                <a:lnTo>
                  <a:pt x="10705" y="4607"/>
                </a:lnTo>
                <a:lnTo>
                  <a:pt x="10686" y="4605"/>
                </a:lnTo>
                <a:lnTo>
                  <a:pt x="10667" y="4602"/>
                </a:lnTo>
                <a:lnTo>
                  <a:pt x="10629" y="4594"/>
                </a:lnTo>
                <a:lnTo>
                  <a:pt x="10595" y="4587"/>
                </a:lnTo>
                <a:lnTo>
                  <a:pt x="10562" y="4579"/>
                </a:lnTo>
                <a:lnTo>
                  <a:pt x="10529" y="4572"/>
                </a:lnTo>
                <a:lnTo>
                  <a:pt x="10511" y="4569"/>
                </a:lnTo>
                <a:lnTo>
                  <a:pt x="10495" y="4567"/>
                </a:lnTo>
                <a:lnTo>
                  <a:pt x="10478" y="4566"/>
                </a:lnTo>
                <a:lnTo>
                  <a:pt x="10461" y="4566"/>
                </a:lnTo>
                <a:lnTo>
                  <a:pt x="10440" y="4538"/>
                </a:lnTo>
                <a:lnTo>
                  <a:pt x="10402" y="4492"/>
                </a:lnTo>
                <a:lnTo>
                  <a:pt x="10382" y="4467"/>
                </a:lnTo>
                <a:lnTo>
                  <a:pt x="10366" y="4447"/>
                </a:lnTo>
                <a:lnTo>
                  <a:pt x="10360" y="4439"/>
                </a:lnTo>
                <a:lnTo>
                  <a:pt x="10356" y="4433"/>
                </a:lnTo>
                <a:lnTo>
                  <a:pt x="10354" y="4429"/>
                </a:lnTo>
                <a:lnTo>
                  <a:pt x="10355" y="4428"/>
                </a:lnTo>
                <a:lnTo>
                  <a:pt x="10350" y="4418"/>
                </a:lnTo>
                <a:lnTo>
                  <a:pt x="10345" y="4409"/>
                </a:lnTo>
                <a:lnTo>
                  <a:pt x="10342" y="4400"/>
                </a:lnTo>
                <a:lnTo>
                  <a:pt x="10340" y="4393"/>
                </a:lnTo>
                <a:lnTo>
                  <a:pt x="10338" y="4386"/>
                </a:lnTo>
                <a:lnTo>
                  <a:pt x="10338" y="4380"/>
                </a:lnTo>
                <a:lnTo>
                  <a:pt x="10338" y="4374"/>
                </a:lnTo>
                <a:lnTo>
                  <a:pt x="10339" y="4369"/>
                </a:lnTo>
                <a:lnTo>
                  <a:pt x="10340" y="4365"/>
                </a:lnTo>
                <a:lnTo>
                  <a:pt x="10342" y="4361"/>
                </a:lnTo>
                <a:lnTo>
                  <a:pt x="10345" y="4357"/>
                </a:lnTo>
                <a:lnTo>
                  <a:pt x="10349" y="4354"/>
                </a:lnTo>
                <a:lnTo>
                  <a:pt x="10356" y="4350"/>
                </a:lnTo>
                <a:lnTo>
                  <a:pt x="10366" y="4346"/>
                </a:lnTo>
                <a:lnTo>
                  <a:pt x="10376" y="4344"/>
                </a:lnTo>
                <a:lnTo>
                  <a:pt x="10387" y="4343"/>
                </a:lnTo>
                <a:lnTo>
                  <a:pt x="10399" y="4343"/>
                </a:lnTo>
                <a:lnTo>
                  <a:pt x="10410" y="4343"/>
                </a:lnTo>
                <a:lnTo>
                  <a:pt x="10428" y="4344"/>
                </a:lnTo>
                <a:lnTo>
                  <a:pt x="10440" y="4344"/>
                </a:lnTo>
                <a:lnTo>
                  <a:pt x="10442" y="4334"/>
                </a:lnTo>
                <a:lnTo>
                  <a:pt x="10445" y="4325"/>
                </a:lnTo>
                <a:lnTo>
                  <a:pt x="10451" y="4317"/>
                </a:lnTo>
                <a:lnTo>
                  <a:pt x="10459" y="4309"/>
                </a:lnTo>
                <a:lnTo>
                  <a:pt x="10469" y="4302"/>
                </a:lnTo>
                <a:lnTo>
                  <a:pt x="10480" y="4296"/>
                </a:lnTo>
                <a:lnTo>
                  <a:pt x="10494" y="4289"/>
                </a:lnTo>
                <a:lnTo>
                  <a:pt x="10508" y="4283"/>
                </a:lnTo>
                <a:lnTo>
                  <a:pt x="10542" y="4272"/>
                </a:lnTo>
                <a:lnTo>
                  <a:pt x="10579" y="4261"/>
                </a:lnTo>
                <a:lnTo>
                  <a:pt x="10619" y="4251"/>
                </a:lnTo>
                <a:lnTo>
                  <a:pt x="10661" y="4240"/>
                </a:lnTo>
                <a:lnTo>
                  <a:pt x="10703" y="4229"/>
                </a:lnTo>
                <a:lnTo>
                  <a:pt x="10743" y="4215"/>
                </a:lnTo>
                <a:lnTo>
                  <a:pt x="10762" y="4209"/>
                </a:lnTo>
                <a:lnTo>
                  <a:pt x="10782" y="4201"/>
                </a:lnTo>
                <a:lnTo>
                  <a:pt x="10800" y="4193"/>
                </a:lnTo>
                <a:lnTo>
                  <a:pt x="10816" y="4185"/>
                </a:lnTo>
                <a:lnTo>
                  <a:pt x="10832" y="4176"/>
                </a:lnTo>
                <a:lnTo>
                  <a:pt x="10846" y="4166"/>
                </a:lnTo>
                <a:lnTo>
                  <a:pt x="10859" y="4156"/>
                </a:lnTo>
                <a:lnTo>
                  <a:pt x="10870" y="4144"/>
                </a:lnTo>
                <a:lnTo>
                  <a:pt x="10879" y="4132"/>
                </a:lnTo>
                <a:lnTo>
                  <a:pt x="10887" y="4119"/>
                </a:lnTo>
                <a:lnTo>
                  <a:pt x="10892" y="4105"/>
                </a:lnTo>
                <a:lnTo>
                  <a:pt x="10895" y="4089"/>
                </a:lnTo>
                <a:lnTo>
                  <a:pt x="10883" y="4088"/>
                </a:lnTo>
                <a:lnTo>
                  <a:pt x="10873" y="4086"/>
                </a:lnTo>
                <a:lnTo>
                  <a:pt x="10866" y="4083"/>
                </a:lnTo>
                <a:lnTo>
                  <a:pt x="10860" y="4079"/>
                </a:lnTo>
                <a:lnTo>
                  <a:pt x="10857" y="4073"/>
                </a:lnTo>
                <a:lnTo>
                  <a:pt x="10856" y="4067"/>
                </a:lnTo>
                <a:lnTo>
                  <a:pt x="10856" y="4059"/>
                </a:lnTo>
                <a:lnTo>
                  <a:pt x="10858" y="4051"/>
                </a:lnTo>
                <a:lnTo>
                  <a:pt x="10861" y="4042"/>
                </a:lnTo>
                <a:lnTo>
                  <a:pt x="10866" y="4033"/>
                </a:lnTo>
                <a:lnTo>
                  <a:pt x="10872" y="4023"/>
                </a:lnTo>
                <a:lnTo>
                  <a:pt x="10879" y="4012"/>
                </a:lnTo>
                <a:lnTo>
                  <a:pt x="10895" y="3991"/>
                </a:lnTo>
                <a:lnTo>
                  <a:pt x="10916" y="3967"/>
                </a:lnTo>
                <a:lnTo>
                  <a:pt x="10937" y="3945"/>
                </a:lnTo>
                <a:lnTo>
                  <a:pt x="10959" y="3923"/>
                </a:lnTo>
                <a:lnTo>
                  <a:pt x="10980" y="3902"/>
                </a:lnTo>
                <a:lnTo>
                  <a:pt x="11000" y="3884"/>
                </a:lnTo>
                <a:lnTo>
                  <a:pt x="11031" y="3857"/>
                </a:lnTo>
                <a:lnTo>
                  <a:pt x="11044" y="3847"/>
                </a:lnTo>
                <a:lnTo>
                  <a:pt x="11078" y="3816"/>
                </a:lnTo>
                <a:lnTo>
                  <a:pt x="11109" y="3787"/>
                </a:lnTo>
                <a:lnTo>
                  <a:pt x="11124" y="3773"/>
                </a:lnTo>
                <a:lnTo>
                  <a:pt x="11139" y="3760"/>
                </a:lnTo>
                <a:lnTo>
                  <a:pt x="11155" y="3748"/>
                </a:lnTo>
                <a:lnTo>
                  <a:pt x="11170" y="3737"/>
                </a:lnTo>
                <a:lnTo>
                  <a:pt x="11185" y="3726"/>
                </a:lnTo>
                <a:lnTo>
                  <a:pt x="11200" y="3716"/>
                </a:lnTo>
                <a:lnTo>
                  <a:pt x="11216" y="3707"/>
                </a:lnTo>
                <a:lnTo>
                  <a:pt x="11233" y="3699"/>
                </a:lnTo>
                <a:lnTo>
                  <a:pt x="11251" y="3693"/>
                </a:lnTo>
                <a:lnTo>
                  <a:pt x="11270" y="3688"/>
                </a:lnTo>
                <a:lnTo>
                  <a:pt x="11292" y="3684"/>
                </a:lnTo>
                <a:lnTo>
                  <a:pt x="11313" y="3682"/>
                </a:lnTo>
                <a:lnTo>
                  <a:pt x="11329" y="3679"/>
                </a:lnTo>
                <a:lnTo>
                  <a:pt x="11354" y="3674"/>
                </a:lnTo>
                <a:lnTo>
                  <a:pt x="11389" y="3666"/>
                </a:lnTo>
                <a:lnTo>
                  <a:pt x="11432" y="3656"/>
                </a:lnTo>
                <a:lnTo>
                  <a:pt x="11532" y="3633"/>
                </a:lnTo>
                <a:lnTo>
                  <a:pt x="11642" y="3609"/>
                </a:lnTo>
                <a:lnTo>
                  <a:pt x="11697" y="3599"/>
                </a:lnTo>
                <a:lnTo>
                  <a:pt x="11750" y="3588"/>
                </a:lnTo>
                <a:lnTo>
                  <a:pt x="11799" y="3580"/>
                </a:lnTo>
                <a:lnTo>
                  <a:pt x="11843" y="3575"/>
                </a:lnTo>
                <a:lnTo>
                  <a:pt x="11862" y="3574"/>
                </a:lnTo>
                <a:lnTo>
                  <a:pt x="11879" y="3573"/>
                </a:lnTo>
                <a:lnTo>
                  <a:pt x="11894" y="3574"/>
                </a:lnTo>
                <a:lnTo>
                  <a:pt x="11908" y="3575"/>
                </a:lnTo>
                <a:lnTo>
                  <a:pt x="11919" y="3578"/>
                </a:lnTo>
                <a:lnTo>
                  <a:pt x="11926" y="3581"/>
                </a:lnTo>
                <a:lnTo>
                  <a:pt x="11931" y="3586"/>
                </a:lnTo>
                <a:lnTo>
                  <a:pt x="11933" y="3593"/>
                </a:lnTo>
                <a:lnTo>
                  <a:pt x="11966" y="3593"/>
                </a:lnTo>
                <a:lnTo>
                  <a:pt x="12020" y="3594"/>
                </a:lnTo>
                <a:lnTo>
                  <a:pt x="12088" y="3596"/>
                </a:lnTo>
                <a:lnTo>
                  <a:pt x="12160" y="3599"/>
                </a:lnTo>
                <a:lnTo>
                  <a:pt x="12196" y="3601"/>
                </a:lnTo>
                <a:lnTo>
                  <a:pt x="12229" y="3604"/>
                </a:lnTo>
                <a:lnTo>
                  <a:pt x="12261" y="3607"/>
                </a:lnTo>
                <a:lnTo>
                  <a:pt x="12289" y="3611"/>
                </a:lnTo>
                <a:lnTo>
                  <a:pt x="12301" y="3613"/>
                </a:lnTo>
                <a:lnTo>
                  <a:pt x="12312" y="3616"/>
                </a:lnTo>
                <a:lnTo>
                  <a:pt x="12322" y="3618"/>
                </a:lnTo>
                <a:lnTo>
                  <a:pt x="12330" y="3621"/>
                </a:lnTo>
                <a:lnTo>
                  <a:pt x="12337" y="3624"/>
                </a:lnTo>
                <a:lnTo>
                  <a:pt x="12341" y="3627"/>
                </a:lnTo>
                <a:lnTo>
                  <a:pt x="12344" y="3631"/>
                </a:lnTo>
                <a:lnTo>
                  <a:pt x="12345" y="3635"/>
                </a:lnTo>
                <a:lnTo>
                  <a:pt x="12357" y="3635"/>
                </a:lnTo>
                <a:lnTo>
                  <a:pt x="12369" y="3637"/>
                </a:lnTo>
                <a:lnTo>
                  <a:pt x="12383" y="3640"/>
                </a:lnTo>
                <a:lnTo>
                  <a:pt x="12398" y="3644"/>
                </a:lnTo>
                <a:lnTo>
                  <a:pt x="12431" y="3653"/>
                </a:lnTo>
                <a:lnTo>
                  <a:pt x="12463" y="3663"/>
                </a:lnTo>
                <a:lnTo>
                  <a:pt x="12480" y="3668"/>
                </a:lnTo>
                <a:lnTo>
                  <a:pt x="12495" y="3672"/>
                </a:lnTo>
                <a:lnTo>
                  <a:pt x="12510" y="3675"/>
                </a:lnTo>
                <a:lnTo>
                  <a:pt x="12525" y="3678"/>
                </a:lnTo>
                <a:lnTo>
                  <a:pt x="12539" y="3679"/>
                </a:lnTo>
                <a:lnTo>
                  <a:pt x="12551" y="3680"/>
                </a:lnTo>
                <a:lnTo>
                  <a:pt x="12556" y="3679"/>
                </a:lnTo>
                <a:lnTo>
                  <a:pt x="12561" y="3678"/>
                </a:lnTo>
                <a:lnTo>
                  <a:pt x="12566" y="3677"/>
                </a:lnTo>
                <a:lnTo>
                  <a:pt x="12570" y="3675"/>
                </a:lnTo>
                <a:lnTo>
                  <a:pt x="12577" y="3672"/>
                </a:lnTo>
                <a:lnTo>
                  <a:pt x="12585" y="3670"/>
                </a:lnTo>
                <a:lnTo>
                  <a:pt x="12594" y="3669"/>
                </a:lnTo>
                <a:lnTo>
                  <a:pt x="12605" y="3668"/>
                </a:lnTo>
                <a:lnTo>
                  <a:pt x="12616" y="3668"/>
                </a:lnTo>
                <a:lnTo>
                  <a:pt x="12628" y="3670"/>
                </a:lnTo>
                <a:lnTo>
                  <a:pt x="12641" y="3671"/>
                </a:lnTo>
                <a:lnTo>
                  <a:pt x="12654" y="3674"/>
                </a:lnTo>
                <a:lnTo>
                  <a:pt x="12684" y="3681"/>
                </a:lnTo>
                <a:lnTo>
                  <a:pt x="12713" y="3690"/>
                </a:lnTo>
                <a:lnTo>
                  <a:pt x="12744" y="3702"/>
                </a:lnTo>
                <a:lnTo>
                  <a:pt x="12774" y="3715"/>
                </a:lnTo>
                <a:lnTo>
                  <a:pt x="12805" y="3731"/>
                </a:lnTo>
                <a:lnTo>
                  <a:pt x="12833" y="3747"/>
                </a:lnTo>
                <a:lnTo>
                  <a:pt x="12846" y="3756"/>
                </a:lnTo>
                <a:lnTo>
                  <a:pt x="12858" y="3764"/>
                </a:lnTo>
                <a:lnTo>
                  <a:pt x="12870" y="3773"/>
                </a:lnTo>
                <a:lnTo>
                  <a:pt x="12881" y="3782"/>
                </a:lnTo>
                <a:lnTo>
                  <a:pt x="12891" y="3791"/>
                </a:lnTo>
                <a:lnTo>
                  <a:pt x="12900" y="3801"/>
                </a:lnTo>
                <a:lnTo>
                  <a:pt x="12908" y="3810"/>
                </a:lnTo>
                <a:lnTo>
                  <a:pt x="12914" y="3819"/>
                </a:lnTo>
                <a:lnTo>
                  <a:pt x="12921" y="3829"/>
                </a:lnTo>
                <a:lnTo>
                  <a:pt x="12924" y="3838"/>
                </a:lnTo>
                <a:lnTo>
                  <a:pt x="12927" y="3848"/>
                </a:lnTo>
                <a:lnTo>
                  <a:pt x="12928" y="3857"/>
                </a:lnTo>
                <a:lnTo>
                  <a:pt x="12901" y="3858"/>
                </a:lnTo>
                <a:lnTo>
                  <a:pt x="12874" y="3858"/>
                </a:lnTo>
                <a:lnTo>
                  <a:pt x="12846" y="3860"/>
                </a:lnTo>
                <a:lnTo>
                  <a:pt x="12818" y="3862"/>
                </a:lnTo>
                <a:lnTo>
                  <a:pt x="12757" y="3867"/>
                </a:lnTo>
                <a:lnTo>
                  <a:pt x="12694" y="3873"/>
                </a:lnTo>
                <a:lnTo>
                  <a:pt x="12629" y="3879"/>
                </a:lnTo>
                <a:lnTo>
                  <a:pt x="12563" y="3884"/>
                </a:lnTo>
                <a:lnTo>
                  <a:pt x="12529" y="3886"/>
                </a:lnTo>
                <a:lnTo>
                  <a:pt x="12496" y="3887"/>
                </a:lnTo>
                <a:lnTo>
                  <a:pt x="12463" y="3888"/>
                </a:lnTo>
                <a:lnTo>
                  <a:pt x="12430" y="3889"/>
                </a:lnTo>
                <a:lnTo>
                  <a:pt x="12431" y="3900"/>
                </a:lnTo>
                <a:lnTo>
                  <a:pt x="12433" y="3906"/>
                </a:lnTo>
                <a:lnTo>
                  <a:pt x="12435" y="3909"/>
                </a:lnTo>
                <a:lnTo>
                  <a:pt x="12437" y="3910"/>
                </a:lnTo>
                <a:lnTo>
                  <a:pt x="12438" y="3911"/>
                </a:lnTo>
                <a:lnTo>
                  <a:pt x="12438" y="3913"/>
                </a:lnTo>
                <a:lnTo>
                  <a:pt x="12435" y="3919"/>
                </a:lnTo>
                <a:lnTo>
                  <a:pt x="12430" y="3931"/>
                </a:lnTo>
                <a:lnTo>
                  <a:pt x="12436" y="3931"/>
                </a:lnTo>
                <a:lnTo>
                  <a:pt x="12442" y="3932"/>
                </a:lnTo>
                <a:lnTo>
                  <a:pt x="12448" y="3934"/>
                </a:lnTo>
                <a:lnTo>
                  <a:pt x="12455" y="3937"/>
                </a:lnTo>
                <a:lnTo>
                  <a:pt x="12468" y="3945"/>
                </a:lnTo>
                <a:lnTo>
                  <a:pt x="12482" y="3956"/>
                </a:lnTo>
                <a:lnTo>
                  <a:pt x="12496" y="3970"/>
                </a:lnTo>
                <a:lnTo>
                  <a:pt x="12509" y="3984"/>
                </a:lnTo>
                <a:lnTo>
                  <a:pt x="12523" y="4000"/>
                </a:lnTo>
                <a:lnTo>
                  <a:pt x="12536" y="4017"/>
                </a:lnTo>
                <a:lnTo>
                  <a:pt x="12548" y="4034"/>
                </a:lnTo>
                <a:lnTo>
                  <a:pt x="12559" y="4052"/>
                </a:lnTo>
                <a:lnTo>
                  <a:pt x="12569" y="4069"/>
                </a:lnTo>
                <a:lnTo>
                  <a:pt x="12577" y="4086"/>
                </a:lnTo>
                <a:lnTo>
                  <a:pt x="12583" y="4104"/>
                </a:lnTo>
                <a:lnTo>
                  <a:pt x="12587" y="4118"/>
                </a:lnTo>
                <a:lnTo>
                  <a:pt x="12589" y="4125"/>
                </a:lnTo>
                <a:lnTo>
                  <a:pt x="12589" y="4132"/>
                </a:lnTo>
                <a:lnTo>
                  <a:pt x="12589" y="4138"/>
                </a:lnTo>
                <a:lnTo>
                  <a:pt x="12589" y="4143"/>
                </a:lnTo>
                <a:lnTo>
                  <a:pt x="12604" y="4142"/>
                </a:lnTo>
                <a:lnTo>
                  <a:pt x="12619" y="4141"/>
                </a:lnTo>
                <a:lnTo>
                  <a:pt x="12632" y="4138"/>
                </a:lnTo>
                <a:lnTo>
                  <a:pt x="12644" y="4134"/>
                </a:lnTo>
                <a:lnTo>
                  <a:pt x="12656" y="4129"/>
                </a:lnTo>
                <a:lnTo>
                  <a:pt x="12668" y="4124"/>
                </a:lnTo>
                <a:lnTo>
                  <a:pt x="12679" y="4118"/>
                </a:lnTo>
                <a:lnTo>
                  <a:pt x="12689" y="4112"/>
                </a:lnTo>
                <a:lnTo>
                  <a:pt x="12708" y="4100"/>
                </a:lnTo>
                <a:lnTo>
                  <a:pt x="12727" y="4089"/>
                </a:lnTo>
                <a:lnTo>
                  <a:pt x="12737" y="4085"/>
                </a:lnTo>
                <a:lnTo>
                  <a:pt x="12747" y="4081"/>
                </a:lnTo>
                <a:lnTo>
                  <a:pt x="12757" y="4079"/>
                </a:lnTo>
                <a:lnTo>
                  <a:pt x="12768" y="4079"/>
                </a:lnTo>
                <a:lnTo>
                  <a:pt x="12769" y="4092"/>
                </a:lnTo>
                <a:lnTo>
                  <a:pt x="12772" y="4104"/>
                </a:lnTo>
                <a:lnTo>
                  <a:pt x="12776" y="4114"/>
                </a:lnTo>
                <a:lnTo>
                  <a:pt x="12781" y="4122"/>
                </a:lnTo>
                <a:lnTo>
                  <a:pt x="12788" y="4129"/>
                </a:lnTo>
                <a:lnTo>
                  <a:pt x="12797" y="4134"/>
                </a:lnTo>
                <a:lnTo>
                  <a:pt x="12805" y="4137"/>
                </a:lnTo>
                <a:lnTo>
                  <a:pt x="12813" y="4138"/>
                </a:lnTo>
                <a:lnTo>
                  <a:pt x="12822" y="4138"/>
                </a:lnTo>
                <a:lnTo>
                  <a:pt x="12831" y="4136"/>
                </a:lnTo>
                <a:lnTo>
                  <a:pt x="12840" y="4132"/>
                </a:lnTo>
                <a:lnTo>
                  <a:pt x="12849" y="4125"/>
                </a:lnTo>
                <a:lnTo>
                  <a:pt x="12856" y="4117"/>
                </a:lnTo>
                <a:lnTo>
                  <a:pt x="12863" y="4107"/>
                </a:lnTo>
                <a:lnTo>
                  <a:pt x="12869" y="4093"/>
                </a:lnTo>
                <a:lnTo>
                  <a:pt x="12874" y="4079"/>
                </a:lnTo>
                <a:lnTo>
                  <a:pt x="12868" y="4078"/>
                </a:lnTo>
                <a:lnTo>
                  <a:pt x="12863" y="4078"/>
                </a:lnTo>
                <a:lnTo>
                  <a:pt x="12858" y="4076"/>
                </a:lnTo>
                <a:lnTo>
                  <a:pt x="12854" y="4075"/>
                </a:lnTo>
                <a:lnTo>
                  <a:pt x="12850" y="4073"/>
                </a:lnTo>
                <a:lnTo>
                  <a:pt x="12847" y="4070"/>
                </a:lnTo>
                <a:lnTo>
                  <a:pt x="12844" y="4067"/>
                </a:lnTo>
                <a:lnTo>
                  <a:pt x="12842" y="4064"/>
                </a:lnTo>
                <a:lnTo>
                  <a:pt x="12838" y="4057"/>
                </a:lnTo>
                <a:lnTo>
                  <a:pt x="12836" y="4049"/>
                </a:lnTo>
                <a:lnTo>
                  <a:pt x="12835" y="4040"/>
                </a:lnTo>
                <a:lnTo>
                  <a:pt x="12835" y="4032"/>
                </a:lnTo>
                <a:lnTo>
                  <a:pt x="12836" y="4023"/>
                </a:lnTo>
                <a:lnTo>
                  <a:pt x="12837" y="4014"/>
                </a:lnTo>
                <a:lnTo>
                  <a:pt x="12839" y="4006"/>
                </a:lnTo>
                <a:lnTo>
                  <a:pt x="12842" y="3999"/>
                </a:lnTo>
                <a:lnTo>
                  <a:pt x="12845" y="3993"/>
                </a:lnTo>
                <a:lnTo>
                  <a:pt x="12848" y="3988"/>
                </a:lnTo>
                <a:lnTo>
                  <a:pt x="12850" y="3985"/>
                </a:lnTo>
                <a:lnTo>
                  <a:pt x="12853" y="3984"/>
                </a:lnTo>
                <a:lnTo>
                  <a:pt x="12857" y="3978"/>
                </a:lnTo>
                <a:lnTo>
                  <a:pt x="12861" y="3972"/>
                </a:lnTo>
                <a:lnTo>
                  <a:pt x="12866" y="3965"/>
                </a:lnTo>
                <a:lnTo>
                  <a:pt x="12871" y="3961"/>
                </a:lnTo>
                <a:lnTo>
                  <a:pt x="12876" y="3957"/>
                </a:lnTo>
                <a:lnTo>
                  <a:pt x="12881" y="3954"/>
                </a:lnTo>
                <a:lnTo>
                  <a:pt x="12886" y="3951"/>
                </a:lnTo>
                <a:lnTo>
                  <a:pt x="12892" y="3949"/>
                </a:lnTo>
                <a:lnTo>
                  <a:pt x="12903" y="3946"/>
                </a:lnTo>
                <a:lnTo>
                  <a:pt x="12916" y="3944"/>
                </a:lnTo>
                <a:lnTo>
                  <a:pt x="12928" y="3943"/>
                </a:lnTo>
                <a:lnTo>
                  <a:pt x="12940" y="3942"/>
                </a:lnTo>
                <a:lnTo>
                  <a:pt x="12952" y="3942"/>
                </a:lnTo>
                <a:lnTo>
                  <a:pt x="12964" y="3940"/>
                </a:lnTo>
                <a:lnTo>
                  <a:pt x="12975" y="3938"/>
                </a:lnTo>
                <a:lnTo>
                  <a:pt x="12986" y="3934"/>
                </a:lnTo>
                <a:lnTo>
                  <a:pt x="12992" y="3931"/>
                </a:lnTo>
                <a:lnTo>
                  <a:pt x="12997" y="3928"/>
                </a:lnTo>
                <a:lnTo>
                  <a:pt x="13002" y="3924"/>
                </a:lnTo>
                <a:lnTo>
                  <a:pt x="13007" y="3919"/>
                </a:lnTo>
                <a:lnTo>
                  <a:pt x="13012" y="3914"/>
                </a:lnTo>
                <a:lnTo>
                  <a:pt x="13016" y="3908"/>
                </a:lnTo>
                <a:lnTo>
                  <a:pt x="13020" y="3901"/>
                </a:lnTo>
                <a:lnTo>
                  <a:pt x="13024" y="3894"/>
                </a:lnTo>
                <a:lnTo>
                  <a:pt x="13103" y="3988"/>
                </a:lnTo>
                <a:lnTo>
                  <a:pt x="13179" y="4083"/>
                </a:lnTo>
                <a:lnTo>
                  <a:pt x="13253" y="4181"/>
                </a:lnTo>
                <a:lnTo>
                  <a:pt x="13326" y="4280"/>
                </a:lnTo>
                <a:lnTo>
                  <a:pt x="13396" y="4380"/>
                </a:lnTo>
                <a:lnTo>
                  <a:pt x="13465" y="4482"/>
                </a:lnTo>
                <a:lnTo>
                  <a:pt x="13532" y="4584"/>
                </a:lnTo>
                <a:lnTo>
                  <a:pt x="13598" y="4688"/>
                </a:lnTo>
                <a:lnTo>
                  <a:pt x="13660" y="4794"/>
                </a:lnTo>
                <a:lnTo>
                  <a:pt x="13722" y="4901"/>
                </a:lnTo>
                <a:lnTo>
                  <a:pt x="13781" y="5009"/>
                </a:lnTo>
                <a:lnTo>
                  <a:pt x="13839" y="5118"/>
                </a:lnTo>
                <a:lnTo>
                  <a:pt x="13893" y="5227"/>
                </a:lnTo>
                <a:lnTo>
                  <a:pt x="13947" y="5339"/>
                </a:lnTo>
                <a:lnTo>
                  <a:pt x="13998" y="5452"/>
                </a:lnTo>
                <a:lnTo>
                  <a:pt x="14046" y="5566"/>
                </a:lnTo>
                <a:lnTo>
                  <a:pt x="14094" y="5681"/>
                </a:lnTo>
                <a:lnTo>
                  <a:pt x="14138" y="5797"/>
                </a:lnTo>
                <a:lnTo>
                  <a:pt x="14181" y="5914"/>
                </a:lnTo>
                <a:lnTo>
                  <a:pt x="14221" y="6033"/>
                </a:lnTo>
                <a:lnTo>
                  <a:pt x="14259" y="6152"/>
                </a:lnTo>
                <a:lnTo>
                  <a:pt x="14295" y="6272"/>
                </a:lnTo>
                <a:lnTo>
                  <a:pt x="14329" y="6393"/>
                </a:lnTo>
                <a:lnTo>
                  <a:pt x="14360" y="6515"/>
                </a:lnTo>
                <a:lnTo>
                  <a:pt x="14389" y="6638"/>
                </a:lnTo>
                <a:lnTo>
                  <a:pt x="14415" y="6762"/>
                </a:lnTo>
                <a:lnTo>
                  <a:pt x="14440" y="6886"/>
                </a:lnTo>
                <a:lnTo>
                  <a:pt x="14462" y="7012"/>
                </a:lnTo>
                <a:lnTo>
                  <a:pt x="14481" y="7138"/>
                </a:lnTo>
                <a:lnTo>
                  <a:pt x="14498" y="7265"/>
                </a:lnTo>
                <a:lnTo>
                  <a:pt x="14512" y="7393"/>
                </a:lnTo>
                <a:lnTo>
                  <a:pt x="14524" y="7522"/>
                </a:lnTo>
                <a:close/>
                <a:moveTo>
                  <a:pt x="3650" y="3319"/>
                </a:moveTo>
                <a:lnTo>
                  <a:pt x="3656" y="3318"/>
                </a:lnTo>
                <a:lnTo>
                  <a:pt x="3663" y="3316"/>
                </a:lnTo>
                <a:lnTo>
                  <a:pt x="3671" y="3313"/>
                </a:lnTo>
                <a:lnTo>
                  <a:pt x="3679" y="3309"/>
                </a:lnTo>
                <a:lnTo>
                  <a:pt x="3697" y="3301"/>
                </a:lnTo>
                <a:lnTo>
                  <a:pt x="3715" y="3292"/>
                </a:lnTo>
                <a:lnTo>
                  <a:pt x="3749" y="3274"/>
                </a:lnTo>
                <a:lnTo>
                  <a:pt x="3769" y="3264"/>
                </a:lnTo>
                <a:lnTo>
                  <a:pt x="3767" y="3304"/>
                </a:lnTo>
                <a:lnTo>
                  <a:pt x="3765" y="3333"/>
                </a:lnTo>
                <a:lnTo>
                  <a:pt x="3765" y="3349"/>
                </a:lnTo>
                <a:lnTo>
                  <a:pt x="3767" y="3366"/>
                </a:lnTo>
                <a:lnTo>
                  <a:pt x="3772" y="3386"/>
                </a:lnTo>
                <a:lnTo>
                  <a:pt x="3780" y="3412"/>
                </a:lnTo>
                <a:lnTo>
                  <a:pt x="3783" y="3413"/>
                </a:lnTo>
                <a:lnTo>
                  <a:pt x="3787" y="3417"/>
                </a:lnTo>
                <a:lnTo>
                  <a:pt x="3791" y="3422"/>
                </a:lnTo>
                <a:lnTo>
                  <a:pt x="3797" y="3429"/>
                </a:lnTo>
                <a:lnTo>
                  <a:pt x="3809" y="3447"/>
                </a:lnTo>
                <a:lnTo>
                  <a:pt x="3822" y="3470"/>
                </a:lnTo>
                <a:lnTo>
                  <a:pt x="3834" y="3494"/>
                </a:lnTo>
                <a:lnTo>
                  <a:pt x="3845" y="3518"/>
                </a:lnTo>
                <a:lnTo>
                  <a:pt x="3849" y="3530"/>
                </a:lnTo>
                <a:lnTo>
                  <a:pt x="3852" y="3541"/>
                </a:lnTo>
                <a:lnTo>
                  <a:pt x="3854" y="3551"/>
                </a:lnTo>
                <a:lnTo>
                  <a:pt x="3854" y="3560"/>
                </a:lnTo>
                <a:lnTo>
                  <a:pt x="3877" y="3557"/>
                </a:lnTo>
                <a:lnTo>
                  <a:pt x="3900" y="3553"/>
                </a:lnTo>
                <a:lnTo>
                  <a:pt x="3924" y="3549"/>
                </a:lnTo>
                <a:lnTo>
                  <a:pt x="3948" y="3547"/>
                </a:lnTo>
                <a:lnTo>
                  <a:pt x="3959" y="3547"/>
                </a:lnTo>
                <a:lnTo>
                  <a:pt x="3970" y="3549"/>
                </a:lnTo>
                <a:lnTo>
                  <a:pt x="3980" y="3551"/>
                </a:lnTo>
                <a:lnTo>
                  <a:pt x="3988" y="3556"/>
                </a:lnTo>
                <a:lnTo>
                  <a:pt x="3993" y="3558"/>
                </a:lnTo>
                <a:lnTo>
                  <a:pt x="3996" y="3561"/>
                </a:lnTo>
                <a:lnTo>
                  <a:pt x="4000" y="3565"/>
                </a:lnTo>
                <a:lnTo>
                  <a:pt x="4003" y="3569"/>
                </a:lnTo>
                <a:lnTo>
                  <a:pt x="4006" y="3574"/>
                </a:lnTo>
                <a:lnTo>
                  <a:pt x="4009" y="3579"/>
                </a:lnTo>
                <a:lnTo>
                  <a:pt x="4011" y="3585"/>
                </a:lnTo>
                <a:lnTo>
                  <a:pt x="4013" y="3593"/>
                </a:lnTo>
                <a:lnTo>
                  <a:pt x="3992" y="3592"/>
                </a:lnTo>
                <a:lnTo>
                  <a:pt x="3971" y="3589"/>
                </a:lnTo>
                <a:lnTo>
                  <a:pt x="3949" y="3586"/>
                </a:lnTo>
                <a:lnTo>
                  <a:pt x="3928" y="3581"/>
                </a:lnTo>
                <a:lnTo>
                  <a:pt x="3930" y="3596"/>
                </a:lnTo>
                <a:lnTo>
                  <a:pt x="3930" y="3610"/>
                </a:lnTo>
                <a:lnTo>
                  <a:pt x="3931" y="3621"/>
                </a:lnTo>
                <a:lnTo>
                  <a:pt x="3931" y="3631"/>
                </a:lnTo>
                <a:lnTo>
                  <a:pt x="3930" y="3640"/>
                </a:lnTo>
                <a:lnTo>
                  <a:pt x="3928" y="3648"/>
                </a:lnTo>
                <a:lnTo>
                  <a:pt x="3927" y="3655"/>
                </a:lnTo>
                <a:lnTo>
                  <a:pt x="3924" y="3661"/>
                </a:lnTo>
                <a:lnTo>
                  <a:pt x="3921" y="3665"/>
                </a:lnTo>
                <a:lnTo>
                  <a:pt x="3918" y="3669"/>
                </a:lnTo>
                <a:lnTo>
                  <a:pt x="3914" y="3672"/>
                </a:lnTo>
                <a:lnTo>
                  <a:pt x="3910" y="3674"/>
                </a:lnTo>
                <a:lnTo>
                  <a:pt x="3906" y="3675"/>
                </a:lnTo>
                <a:lnTo>
                  <a:pt x="3901" y="3675"/>
                </a:lnTo>
                <a:lnTo>
                  <a:pt x="3896" y="3675"/>
                </a:lnTo>
                <a:lnTo>
                  <a:pt x="3891" y="3675"/>
                </a:lnTo>
                <a:lnTo>
                  <a:pt x="3879" y="3672"/>
                </a:lnTo>
                <a:lnTo>
                  <a:pt x="3866" y="3668"/>
                </a:lnTo>
                <a:lnTo>
                  <a:pt x="3853" y="3663"/>
                </a:lnTo>
                <a:lnTo>
                  <a:pt x="3838" y="3658"/>
                </a:lnTo>
                <a:lnTo>
                  <a:pt x="3824" y="3653"/>
                </a:lnTo>
                <a:lnTo>
                  <a:pt x="3809" y="3649"/>
                </a:lnTo>
                <a:lnTo>
                  <a:pt x="3794" y="3646"/>
                </a:lnTo>
                <a:lnTo>
                  <a:pt x="3780" y="3645"/>
                </a:lnTo>
                <a:lnTo>
                  <a:pt x="3777" y="3642"/>
                </a:lnTo>
                <a:lnTo>
                  <a:pt x="3770" y="3638"/>
                </a:lnTo>
                <a:lnTo>
                  <a:pt x="3759" y="3633"/>
                </a:lnTo>
                <a:lnTo>
                  <a:pt x="3745" y="3627"/>
                </a:lnTo>
                <a:lnTo>
                  <a:pt x="3729" y="3621"/>
                </a:lnTo>
                <a:lnTo>
                  <a:pt x="3711" y="3616"/>
                </a:lnTo>
                <a:lnTo>
                  <a:pt x="3693" y="3612"/>
                </a:lnTo>
                <a:lnTo>
                  <a:pt x="3676" y="3609"/>
                </a:lnTo>
                <a:lnTo>
                  <a:pt x="3667" y="3609"/>
                </a:lnTo>
                <a:lnTo>
                  <a:pt x="3659" y="3608"/>
                </a:lnTo>
                <a:lnTo>
                  <a:pt x="3651" y="3609"/>
                </a:lnTo>
                <a:lnTo>
                  <a:pt x="3644" y="3610"/>
                </a:lnTo>
                <a:lnTo>
                  <a:pt x="3638" y="3612"/>
                </a:lnTo>
                <a:lnTo>
                  <a:pt x="3633" y="3615"/>
                </a:lnTo>
                <a:lnTo>
                  <a:pt x="3628" y="3618"/>
                </a:lnTo>
                <a:lnTo>
                  <a:pt x="3624" y="3623"/>
                </a:lnTo>
                <a:lnTo>
                  <a:pt x="3622" y="3628"/>
                </a:lnTo>
                <a:lnTo>
                  <a:pt x="3620" y="3634"/>
                </a:lnTo>
                <a:lnTo>
                  <a:pt x="3620" y="3642"/>
                </a:lnTo>
                <a:lnTo>
                  <a:pt x="3621" y="3651"/>
                </a:lnTo>
                <a:lnTo>
                  <a:pt x="3624" y="3660"/>
                </a:lnTo>
                <a:lnTo>
                  <a:pt x="3628" y="3672"/>
                </a:lnTo>
                <a:lnTo>
                  <a:pt x="3634" y="3684"/>
                </a:lnTo>
                <a:lnTo>
                  <a:pt x="3642" y="3698"/>
                </a:lnTo>
                <a:lnTo>
                  <a:pt x="3646" y="3698"/>
                </a:lnTo>
                <a:lnTo>
                  <a:pt x="3650" y="3700"/>
                </a:lnTo>
                <a:lnTo>
                  <a:pt x="3653" y="3702"/>
                </a:lnTo>
                <a:lnTo>
                  <a:pt x="3656" y="3704"/>
                </a:lnTo>
                <a:lnTo>
                  <a:pt x="3660" y="3711"/>
                </a:lnTo>
                <a:lnTo>
                  <a:pt x="3666" y="3721"/>
                </a:lnTo>
                <a:lnTo>
                  <a:pt x="3670" y="3726"/>
                </a:lnTo>
                <a:lnTo>
                  <a:pt x="3674" y="3731"/>
                </a:lnTo>
                <a:lnTo>
                  <a:pt x="3679" y="3736"/>
                </a:lnTo>
                <a:lnTo>
                  <a:pt x="3685" y="3741"/>
                </a:lnTo>
                <a:lnTo>
                  <a:pt x="3692" y="3746"/>
                </a:lnTo>
                <a:lnTo>
                  <a:pt x="3701" y="3751"/>
                </a:lnTo>
                <a:lnTo>
                  <a:pt x="3712" y="3756"/>
                </a:lnTo>
                <a:lnTo>
                  <a:pt x="3725" y="3760"/>
                </a:lnTo>
                <a:lnTo>
                  <a:pt x="3755" y="3770"/>
                </a:lnTo>
                <a:lnTo>
                  <a:pt x="3787" y="3779"/>
                </a:lnTo>
                <a:lnTo>
                  <a:pt x="3818" y="3786"/>
                </a:lnTo>
                <a:lnTo>
                  <a:pt x="3852" y="3793"/>
                </a:lnTo>
                <a:lnTo>
                  <a:pt x="3884" y="3800"/>
                </a:lnTo>
                <a:lnTo>
                  <a:pt x="3916" y="3806"/>
                </a:lnTo>
                <a:lnTo>
                  <a:pt x="3948" y="3811"/>
                </a:lnTo>
                <a:lnTo>
                  <a:pt x="3981" y="3816"/>
                </a:lnTo>
                <a:lnTo>
                  <a:pt x="3994" y="3818"/>
                </a:lnTo>
                <a:lnTo>
                  <a:pt x="4006" y="3819"/>
                </a:lnTo>
                <a:lnTo>
                  <a:pt x="4017" y="3819"/>
                </a:lnTo>
                <a:lnTo>
                  <a:pt x="4028" y="3819"/>
                </a:lnTo>
                <a:lnTo>
                  <a:pt x="4049" y="3817"/>
                </a:lnTo>
                <a:lnTo>
                  <a:pt x="4069" y="3814"/>
                </a:lnTo>
                <a:lnTo>
                  <a:pt x="4088" y="3811"/>
                </a:lnTo>
                <a:lnTo>
                  <a:pt x="4109" y="3807"/>
                </a:lnTo>
                <a:lnTo>
                  <a:pt x="4129" y="3805"/>
                </a:lnTo>
                <a:lnTo>
                  <a:pt x="4150" y="3804"/>
                </a:lnTo>
                <a:lnTo>
                  <a:pt x="4152" y="3801"/>
                </a:lnTo>
                <a:lnTo>
                  <a:pt x="4156" y="3798"/>
                </a:lnTo>
                <a:lnTo>
                  <a:pt x="4163" y="3794"/>
                </a:lnTo>
                <a:lnTo>
                  <a:pt x="4171" y="3788"/>
                </a:lnTo>
                <a:lnTo>
                  <a:pt x="4190" y="3777"/>
                </a:lnTo>
                <a:lnTo>
                  <a:pt x="4210" y="3764"/>
                </a:lnTo>
                <a:lnTo>
                  <a:pt x="4218" y="3757"/>
                </a:lnTo>
                <a:lnTo>
                  <a:pt x="4225" y="3751"/>
                </a:lnTo>
                <a:lnTo>
                  <a:pt x="4227" y="3748"/>
                </a:lnTo>
                <a:lnTo>
                  <a:pt x="4229" y="3746"/>
                </a:lnTo>
                <a:lnTo>
                  <a:pt x="4230" y="3743"/>
                </a:lnTo>
                <a:lnTo>
                  <a:pt x="4230" y="3741"/>
                </a:lnTo>
                <a:lnTo>
                  <a:pt x="4229" y="3738"/>
                </a:lnTo>
                <a:lnTo>
                  <a:pt x="4227" y="3736"/>
                </a:lnTo>
                <a:lnTo>
                  <a:pt x="4225" y="3735"/>
                </a:lnTo>
                <a:lnTo>
                  <a:pt x="4220" y="3733"/>
                </a:lnTo>
                <a:lnTo>
                  <a:pt x="4209" y="3731"/>
                </a:lnTo>
                <a:lnTo>
                  <a:pt x="4193" y="3730"/>
                </a:lnTo>
                <a:lnTo>
                  <a:pt x="4195" y="3720"/>
                </a:lnTo>
                <a:lnTo>
                  <a:pt x="4196" y="3710"/>
                </a:lnTo>
                <a:lnTo>
                  <a:pt x="4196" y="3701"/>
                </a:lnTo>
                <a:lnTo>
                  <a:pt x="4196" y="3694"/>
                </a:lnTo>
                <a:lnTo>
                  <a:pt x="4194" y="3687"/>
                </a:lnTo>
                <a:lnTo>
                  <a:pt x="4192" y="3681"/>
                </a:lnTo>
                <a:lnTo>
                  <a:pt x="4188" y="3676"/>
                </a:lnTo>
                <a:lnTo>
                  <a:pt x="4184" y="3671"/>
                </a:lnTo>
                <a:lnTo>
                  <a:pt x="4179" y="3668"/>
                </a:lnTo>
                <a:lnTo>
                  <a:pt x="4173" y="3664"/>
                </a:lnTo>
                <a:lnTo>
                  <a:pt x="4166" y="3662"/>
                </a:lnTo>
                <a:lnTo>
                  <a:pt x="4158" y="3660"/>
                </a:lnTo>
                <a:lnTo>
                  <a:pt x="4140" y="3657"/>
                </a:lnTo>
                <a:lnTo>
                  <a:pt x="4119" y="3656"/>
                </a:lnTo>
                <a:lnTo>
                  <a:pt x="4120" y="3651"/>
                </a:lnTo>
                <a:lnTo>
                  <a:pt x="4121" y="3646"/>
                </a:lnTo>
                <a:lnTo>
                  <a:pt x="4124" y="3641"/>
                </a:lnTo>
                <a:lnTo>
                  <a:pt x="4127" y="3637"/>
                </a:lnTo>
                <a:lnTo>
                  <a:pt x="4131" y="3634"/>
                </a:lnTo>
                <a:lnTo>
                  <a:pt x="4135" y="3631"/>
                </a:lnTo>
                <a:lnTo>
                  <a:pt x="4140" y="3629"/>
                </a:lnTo>
                <a:lnTo>
                  <a:pt x="4146" y="3627"/>
                </a:lnTo>
                <a:lnTo>
                  <a:pt x="4158" y="3624"/>
                </a:lnTo>
                <a:lnTo>
                  <a:pt x="4172" y="3622"/>
                </a:lnTo>
                <a:lnTo>
                  <a:pt x="4187" y="3622"/>
                </a:lnTo>
                <a:lnTo>
                  <a:pt x="4204" y="3622"/>
                </a:lnTo>
                <a:lnTo>
                  <a:pt x="4239" y="3625"/>
                </a:lnTo>
                <a:lnTo>
                  <a:pt x="4273" y="3629"/>
                </a:lnTo>
                <a:lnTo>
                  <a:pt x="4304" y="3633"/>
                </a:lnTo>
                <a:lnTo>
                  <a:pt x="4330" y="3635"/>
                </a:lnTo>
                <a:lnTo>
                  <a:pt x="4337" y="3621"/>
                </a:lnTo>
                <a:lnTo>
                  <a:pt x="4343" y="3610"/>
                </a:lnTo>
                <a:lnTo>
                  <a:pt x="4348" y="3600"/>
                </a:lnTo>
                <a:lnTo>
                  <a:pt x="4351" y="3590"/>
                </a:lnTo>
                <a:lnTo>
                  <a:pt x="4352" y="3582"/>
                </a:lnTo>
                <a:lnTo>
                  <a:pt x="4353" y="3575"/>
                </a:lnTo>
                <a:lnTo>
                  <a:pt x="4354" y="3569"/>
                </a:lnTo>
                <a:lnTo>
                  <a:pt x="4354" y="3562"/>
                </a:lnTo>
                <a:lnTo>
                  <a:pt x="4354" y="3550"/>
                </a:lnTo>
                <a:lnTo>
                  <a:pt x="4355" y="3536"/>
                </a:lnTo>
                <a:lnTo>
                  <a:pt x="4358" y="3528"/>
                </a:lnTo>
                <a:lnTo>
                  <a:pt x="4361" y="3519"/>
                </a:lnTo>
                <a:lnTo>
                  <a:pt x="4366" y="3508"/>
                </a:lnTo>
                <a:lnTo>
                  <a:pt x="4372" y="3496"/>
                </a:lnTo>
                <a:lnTo>
                  <a:pt x="4377" y="3489"/>
                </a:lnTo>
                <a:lnTo>
                  <a:pt x="4381" y="3482"/>
                </a:lnTo>
                <a:lnTo>
                  <a:pt x="4386" y="3476"/>
                </a:lnTo>
                <a:lnTo>
                  <a:pt x="4391" y="3471"/>
                </a:lnTo>
                <a:lnTo>
                  <a:pt x="4400" y="3462"/>
                </a:lnTo>
                <a:lnTo>
                  <a:pt x="4410" y="3456"/>
                </a:lnTo>
                <a:lnTo>
                  <a:pt x="4419" y="3452"/>
                </a:lnTo>
                <a:lnTo>
                  <a:pt x="4428" y="3450"/>
                </a:lnTo>
                <a:lnTo>
                  <a:pt x="4438" y="3448"/>
                </a:lnTo>
                <a:lnTo>
                  <a:pt x="4447" y="3447"/>
                </a:lnTo>
                <a:lnTo>
                  <a:pt x="4456" y="3446"/>
                </a:lnTo>
                <a:lnTo>
                  <a:pt x="4465" y="3445"/>
                </a:lnTo>
                <a:lnTo>
                  <a:pt x="4474" y="3443"/>
                </a:lnTo>
                <a:lnTo>
                  <a:pt x="4482" y="3439"/>
                </a:lnTo>
                <a:lnTo>
                  <a:pt x="4490" y="3434"/>
                </a:lnTo>
                <a:lnTo>
                  <a:pt x="4497" y="3426"/>
                </a:lnTo>
                <a:lnTo>
                  <a:pt x="4504" y="3416"/>
                </a:lnTo>
                <a:lnTo>
                  <a:pt x="4510" y="3402"/>
                </a:lnTo>
                <a:lnTo>
                  <a:pt x="4528" y="3409"/>
                </a:lnTo>
                <a:lnTo>
                  <a:pt x="4544" y="3418"/>
                </a:lnTo>
                <a:lnTo>
                  <a:pt x="4553" y="3422"/>
                </a:lnTo>
                <a:lnTo>
                  <a:pt x="4560" y="3427"/>
                </a:lnTo>
                <a:lnTo>
                  <a:pt x="4568" y="3433"/>
                </a:lnTo>
                <a:lnTo>
                  <a:pt x="4575" y="3438"/>
                </a:lnTo>
                <a:lnTo>
                  <a:pt x="4582" y="3445"/>
                </a:lnTo>
                <a:lnTo>
                  <a:pt x="4588" y="3452"/>
                </a:lnTo>
                <a:lnTo>
                  <a:pt x="4594" y="3459"/>
                </a:lnTo>
                <a:lnTo>
                  <a:pt x="4600" y="3468"/>
                </a:lnTo>
                <a:lnTo>
                  <a:pt x="4605" y="3477"/>
                </a:lnTo>
                <a:lnTo>
                  <a:pt x="4609" y="3486"/>
                </a:lnTo>
                <a:lnTo>
                  <a:pt x="4613" y="3497"/>
                </a:lnTo>
                <a:lnTo>
                  <a:pt x="4616" y="3508"/>
                </a:lnTo>
                <a:lnTo>
                  <a:pt x="4625" y="3516"/>
                </a:lnTo>
                <a:lnTo>
                  <a:pt x="4637" y="3530"/>
                </a:lnTo>
                <a:lnTo>
                  <a:pt x="4652" y="3547"/>
                </a:lnTo>
                <a:lnTo>
                  <a:pt x="4668" y="3567"/>
                </a:lnTo>
                <a:lnTo>
                  <a:pt x="4687" y="3589"/>
                </a:lnTo>
                <a:lnTo>
                  <a:pt x="4706" y="3612"/>
                </a:lnTo>
                <a:lnTo>
                  <a:pt x="4727" y="3634"/>
                </a:lnTo>
                <a:lnTo>
                  <a:pt x="4747" y="3654"/>
                </a:lnTo>
                <a:lnTo>
                  <a:pt x="4757" y="3663"/>
                </a:lnTo>
                <a:lnTo>
                  <a:pt x="4766" y="3671"/>
                </a:lnTo>
                <a:lnTo>
                  <a:pt x="4776" y="3678"/>
                </a:lnTo>
                <a:lnTo>
                  <a:pt x="4785" y="3685"/>
                </a:lnTo>
                <a:lnTo>
                  <a:pt x="4794" y="3690"/>
                </a:lnTo>
                <a:lnTo>
                  <a:pt x="4802" y="3693"/>
                </a:lnTo>
                <a:lnTo>
                  <a:pt x="4810" y="3695"/>
                </a:lnTo>
                <a:lnTo>
                  <a:pt x="4817" y="3696"/>
                </a:lnTo>
                <a:lnTo>
                  <a:pt x="4824" y="3694"/>
                </a:lnTo>
                <a:lnTo>
                  <a:pt x="4830" y="3691"/>
                </a:lnTo>
                <a:lnTo>
                  <a:pt x="4835" y="3686"/>
                </a:lnTo>
                <a:lnTo>
                  <a:pt x="4840" y="3678"/>
                </a:lnTo>
                <a:lnTo>
                  <a:pt x="4843" y="3669"/>
                </a:lnTo>
                <a:lnTo>
                  <a:pt x="4846" y="3656"/>
                </a:lnTo>
                <a:lnTo>
                  <a:pt x="4848" y="3642"/>
                </a:lnTo>
                <a:lnTo>
                  <a:pt x="4848" y="3624"/>
                </a:lnTo>
                <a:lnTo>
                  <a:pt x="4856" y="3627"/>
                </a:lnTo>
                <a:lnTo>
                  <a:pt x="4862" y="3630"/>
                </a:lnTo>
                <a:lnTo>
                  <a:pt x="4868" y="3633"/>
                </a:lnTo>
                <a:lnTo>
                  <a:pt x="4873" y="3637"/>
                </a:lnTo>
                <a:lnTo>
                  <a:pt x="4884" y="3647"/>
                </a:lnTo>
                <a:lnTo>
                  <a:pt x="4895" y="3659"/>
                </a:lnTo>
                <a:lnTo>
                  <a:pt x="4904" y="3672"/>
                </a:lnTo>
                <a:lnTo>
                  <a:pt x="4912" y="3686"/>
                </a:lnTo>
                <a:lnTo>
                  <a:pt x="4920" y="3702"/>
                </a:lnTo>
                <a:lnTo>
                  <a:pt x="4927" y="3719"/>
                </a:lnTo>
                <a:lnTo>
                  <a:pt x="4933" y="3735"/>
                </a:lnTo>
                <a:lnTo>
                  <a:pt x="4939" y="3752"/>
                </a:lnTo>
                <a:lnTo>
                  <a:pt x="4943" y="3769"/>
                </a:lnTo>
                <a:lnTo>
                  <a:pt x="4947" y="3786"/>
                </a:lnTo>
                <a:lnTo>
                  <a:pt x="4950" y="3802"/>
                </a:lnTo>
                <a:lnTo>
                  <a:pt x="4952" y="3818"/>
                </a:lnTo>
                <a:lnTo>
                  <a:pt x="4953" y="3833"/>
                </a:lnTo>
                <a:lnTo>
                  <a:pt x="4954" y="3847"/>
                </a:lnTo>
                <a:lnTo>
                  <a:pt x="4966" y="3845"/>
                </a:lnTo>
                <a:lnTo>
                  <a:pt x="4976" y="3842"/>
                </a:lnTo>
                <a:lnTo>
                  <a:pt x="4987" y="3839"/>
                </a:lnTo>
                <a:lnTo>
                  <a:pt x="4997" y="3836"/>
                </a:lnTo>
                <a:lnTo>
                  <a:pt x="5006" y="3832"/>
                </a:lnTo>
                <a:lnTo>
                  <a:pt x="5014" y="3828"/>
                </a:lnTo>
                <a:lnTo>
                  <a:pt x="5022" y="3824"/>
                </a:lnTo>
                <a:lnTo>
                  <a:pt x="5029" y="3819"/>
                </a:lnTo>
                <a:lnTo>
                  <a:pt x="5036" y="3814"/>
                </a:lnTo>
                <a:lnTo>
                  <a:pt x="5042" y="3809"/>
                </a:lnTo>
                <a:lnTo>
                  <a:pt x="5048" y="3803"/>
                </a:lnTo>
                <a:lnTo>
                  <a:pt x="5054" y="3797"/>
                </a:lnTo>
                <a:lnTo>
                  <a:pt x="5063" y="3784"/>
                </a:lnTo>
                <a:lnTo>
                  <a:pt x="5070" y="3771"/>
                </a:lnTo>
                <a:lnTo>
                  <a:pt x="5077" y="3756"/>
                </a:lnTo>
                <a:lnTo>
                  <a:pt x="5082" y="3740"/>
                </a:lnTo>
                <a:lnTo>
                  <a:pt x="5085" y="3724"/>
                </a:lnTo>
                <a:lnTo>
                  <a:pt x="5088" y="3706"/>
                </a:lnTo>
                <a:lnTo>
                  <a:pt x="5090" y="3689"/>
                </a:lnTo>
                <a:lnTo>
                  <a:pt x="5091" y="3671"/>
                </a:lnTo>
                <a:lnTo>
                  <a:pt x="5092" y="3653"/>
                </a:lnTo>
                <a:lnTo>
                  <a:pt x="5092" y="3635"/>
                </a:lnTo>
                <a:lnTo>
                  <a:pt x="5096" y="3634"/>
                </a:lnTo>
                <a:lnTo>
                  <a:pt x="5100" y="3633"/>
                </a:lnTo>
                <a:lnTo>
                  <a:pt x="5102" y="3630"/>
                </a:lnTo>
                <a:lnTo>
                  <a:pt x="5102" y="3627"/>
                </a:lnTo>
                <a:lnTo>
                  <a:pt x="5102" y="3623"/>
                </a:lnTo>
                <a:lnTo>
                  <a:pt x="5101" y="3619"/>
                </a:lnTo>
                <a:lnTo>
                  <a:pt x="5099" y="3614"/>
                </a:lnTo>
                <a:lnTo>
                  <a:pt x="5097" y="3609"/>
                </a:lnTo>
                <a:lnTo>
                  <a:pt x="5092" y="3599"/>
                </a:lnTo>
                <a:lnTo>
                  <a:pt x="5087" y="3587"/>
                </a:lnTo>
                <a:lnTo>
                  <a:pt x="5083" y="3578"/>
                </a:lnTo>
                <a:lnTo>
                  <a:pt x="5081" y="3571"/>
                </a:lnTo>
                <a:lnTo>
                  <a:pt x="5090" y="3568"/>
                </a:lnTo>
                <a:lnTo>
                  <a:pt x="5099" y="3567"/>
                </a:lnTo>
                <a:lnTo>
                  <a:pt x="5109" y="3568"/>
                </a:lnTo>
                <a:lnTo>
                  <a:pt x="5118" y="3569"/>
                </a:lnTo>
                <a:lnTo>
                  <a:pt x="5136" y="3574"/>
                </a:lnTo>
                <a:lnTo>
                  <a:pt x="5152" y="3578"/>
                </a:lnTo>
                <a:lnTo>
                  <a:pt x="5159" y="3580"/>
                </a:lnTo>
                <a:lnTo>
                  <a:pt x="5166" y="3580"/>
                </a:lnTo>
                <a:lnTo>
                  <a:pt x="5172" y="3580"/>
                </a:lnTo>
                <a:lnTo>
                  <a:pt x="5177" y="3578"/>
                </a:lnTo>
                <a:lnTo>
                  <a:pt x="5179" y="3577"/>
                </a:lnTo>
                <a:lnTo>
                  <a:pt x="5181" y="3574"/>
                </a:lnTo>
                <a:lnTo>
                  <a:pt x="5183" y="3572"/>
                </a:lnTo>
                <a:lnTo>
                  <a:pt x="5185" y="3569"/>
                </a:lnTo>
                <a:lnTo>
                  <a:pt x="5186" y="3561"/>
                </a:lnTo>
                <a:lnTo>
                  <a:pt x="5187" y="3550"/>
                </a:lnTo>
                <a:lnTo>
                  <a:pt x="5191" y="3550"/>
                </a:lnTo>
                <a:lnTo>
                  <a:pt x="5194" y="3551"/>
                </a:lnTo>
                <a:lnTo>
                  <a:pt x="5197" y="3552"/>
                </a:lnTo>
                <a:lnTo>
                  <a:pt x="5199" y="3553"/>
                </a:lnTo>
                <a:lnTo>
                  <a:pt x="5203" y="3557"/>
                </a:lnTo>
                <a:lnTo>
                  <a:pt x="5205" y="3563"/>
                </a:lnTo>
                <a:lnTo>
                  <a:pt x="5207" y="3569"/>
                </a:lnTo>
                <a:lnTo>
                  <a:pt x="5208" y="3576"/>
                </a:lnTo>
                <a:lnTo>
                  <a:pt x="5208" y="3584"/>
                </a:lnTo>
                <a:lnTo>
                  <a:pt x="5208" y="3593"/>
                </a:lnTo>
                <a:lnTo>
                  <a:pt x="5220" y="3595"/>
                </a:lnTo>
                <a:lnTo>
                  <a:pt x="5233" y="3596"/>
                </a:lnTo>
                <a:lnTo>
                  <a:pt x="5244" y="3597"/>
                </a:lnTo>
                <a:lnTo>
                  <a:pt x="5254" y="3597"/>
                </a:lnTo>
                <a:lnTo>
                  <a:pt x="5274" y="3597"/>
                </a:lnTo>
                <a:lnTo>
                  <a:pt x="5292" y="3596"/>
                </a:lnTo>
                <a:lnTo>
                  <a:pt x="5309" y="3594"/>
                </a:lnTo>
                <a:lnTo>
                  <a:pt x="5326" y="3594"/>
                </a:lnTo>
                <a:lnTo>
                  <a:pt x="5333" y="3595"/>
                </a:lnTo>
                <a:lnTo>
                  <a:pt x="5341" y="3596"/>
                </a:lnTo>
                <a:lnTo>
                  <a:pt x="5349" y="3597"/>
                </a:lnTo>
                <a:lnTo>
                  <a:pt x="5357" y="3599"/>
                </a:lnTo>
                <a:lnTo>
                  <a:pt x="5360" y="3601"/>
                </a:lnTo>
                <a:lnTo>
                  <a:pt x="5362" y="3603"/>
                </a:lnTo>
                <a:lnTo>
                  <a:pt x="5364" y="3605"/>
                </a:lnTo>
                <a:lnTo>
                  <a:pt x="5366" y="3609"/>
                </a:lnTo>
                <a:lnTo>
                  <a:pt x="5369" y="3618"/>
                </a:lnTo>
                <a:lnTo>
                  <a:pt x="5371" y="3628"/>
                </a:lnTo>
                <a:lnTo>
                  <a:pt x="5372" y="3641"/>
                </a:lnTo>
                <a:lnTo>
                  <a:pt x="5373" y="3655"/>
                </a:lnTo>
                <a:lnTo>
                  <a:pt x="5373" y="3670"/>
                </a:lnTo>
                <a:lnTo>
                  <a:pt x="5373" y="3686"/>
                </a:lnTo>
                <a:lnTo>
                  <a:pt x="5371" y="3720"/>
                </a:lnTo>
                <a:lnTo>
                  <a:pt x="5367" y="3752"/>
                </a:lnTo>
                <a:lnTo>
                  <a:pt x="5363" y="3781"/>
                </a:lnTo>
                <a:lnTo>
                  <a:pt x="5358" y="3804"/>
                </a:lnTo>
                <a:lnTo>
                  <a:pt x="5356" y="3810"/>
                </a:lnTo>
                <a:lnTo>
                  <a:pt x="5353" y="3815"/>
                </a:lnTo>
                <a:lnTo>
                  <a:pt x="5350" y="3820"/>
                </a:lnTo>
                <a:lnTo>
                  <a:pt x="5347" y="3825"/>
                </a:lnTo>
                <a:lnTo>
                  <a:pt x="5339" y="3834"/>
                </a:lnTo>
                <a:lnTo>
                  <a:pt x="5329" y="3841"/>
                </a:lnTo>
                <a:lnTo>
                  <a:pt x="5318" y="3849"/>
                </a:lnTo>
                <a:lnTo>
                  <a:pt x="5307" y="3855"/>
                </a:lnTo>
                <a:lnTo>
                  <a:pt x="5295" y="3860"/>
                </a:lnTo>
                <a:lnTo>
                  <a:pt x="5282" y="3865"/>
                </a:lnTo>
                <a:lnTo>
                  <a:pt x="5259" y="3873"/>
                </a:lnTo>
                <a:lnTo>
                  <a:pt x="5239" y="3881"/>
                </a:lnTo>
                <a:lnTo>
                  <a:pt x="5231" y="3885"/>
                </a:lnTo>
                <a:lnTo>
                  <a:pt x="5224" y="3889"/>
                </a:lnTo>
                <a:lnTo>
                  <a:pt x="5222" y="3892"/>
                </a:lnTo>
                <a:lnTo>
                  <a:pt x="5220" y="3894"/>
                </a:lnTo>
                <a:lnTo>
                  <a:pt x="5219" y="3897"/>
                </a:lnTo>
                <a:lnTo>
                  <a:pt x="5219" y="3899"/>
                </a:lnTo>
                <a:lnTo>
                  <a:pt x="5207" y="3909"/>
                </a:lnTo>
                <a:lnTo>
                  <a:pt x="5198" y="3918"/>
                </a:lnTo>
                <a:lnTo>
                  <a:pt x="5191" y="3927"/>
                </a:lnTo>
                <a:lnTo>
                  <a:pt x="5186" y="3936"/>
                </a:lnTo>
                <a:lnTo>
                  <a:pt x="5183" y="3944"/>
                </a:lnTo>
                <a:lnTo>
                  <a:pt x="5183" y="3953"/>
                </a:lnTo>
                <a:lnTo>
                  <a:pt x="5184" y="3961"/>
                </a:lnTo>
                <a:lnTo>
                  <a:pt x="5186" y="3968"/>
                </a:lnTo>
                <a:lnTo>
                  <a:pt x="5191" y="3977"/>
                </a:lnTo>
                <a:lnTo>
                  <a:pt x="5196" y="3985"/>
                </a:lnTo>
                <a:lnTo>
                  <a:pt x="5204" y="3992"/>
                </a:lnTo>
                <a:lnTo>
                  <a:pt x="5212" y="3999"/>
                </a:lnTo>
                <a:lnTo>
                  <a:pt x="5221" y="4006"/>
                </a:lnTo>
                <a:lnTo>
                  <a:pt x="5232" y="4013"/>
                </a:lnTo>
                <a:lnTo>
                  <a:pt x="5243" y="4019"/>
                </a:lnTo>
                <a:lnTo>
                  <a:pt x="5255" y="4026"/>
                </a:lnTo>
                <a:lnTo>
                  <a:pt x="5306" y="4050"/>
                </a:lnTo>
                <a:lnTo>
                  <a:pt x="5358" y="4074"/>
                </a:lnTo>
                <a:lnTo>
                  <a:pt x="5382" y="4086"/>
                </a:lnTo>
                <a:lnTo>
                  <a:pt x="5402" y="4098"/>
                </a:lnTo>
                <a:lnTo>
                  <a:pt x="5411" y="4104"/>
                </a:lnTo>
                <a:lnTo>
                  <a:pt x="5419" y="4110"/>
                </a:lnTo>
                <a:lnTo>
                  <a:pt x="5425" y="4116"/>
                </a:lnTo>
                <a:lnTo>
                  <a:pt x="5431" y="4122"/>
                </a:lnTo>
                <a:lnTo>
                  <a:pt x="5417" y="4121"/>
                </a:lnTo>
                <a:lnTo>
                  <a:pt x="5397" y="4119"/>
                </a:lnTo>
                <a:lnTo>
                  <a:pt x="5375" y="4117"/>
                </a:lnTo>
                <a:lnTo>
                  <a:pt x="5351" y="4114"/>
                </a:lnTo>
                <a:lnTo>
                  <a:pt x="5329" y="4110"/>
                </a:lnTo>
                <a:lnTo>
                  <a:pt x="5310" y="4107"/>
                </a:lnTo>
                <a:lnTo>
                  <a:pt x="5303" y="4105"/>
                </a:lnTo>
                <a:lnTo>
                  <a:pt x="5298" y="4104"/>
                </a:lnTo>
                <a:lnTo>
                  <a:pt x="5294" y="4102"/>
                </a:lnTo>
                <a:lnTo>
                  <a:pt x="5293" y="4101"/>
                </a:lnTo>
                <a:lnTo>
                  <a:pt x="5279" y="4102"/>
                </a:lnTo>
                <a:lnTo>
                  <a:pt x="5263" y="4104"/>
                </a:lnTo>
                <a:lnTo>
                  <a:pt x="5246" y="4107"/>
                </a:lnTo>
                <a:lnTo>
                  <a:pt x="5226" y="4111"/>
                </a:lnTo>
                <a:lnTo>
                  <a:pt x="5185" y="4121"/>
                </a:lnTo>
                <a:lnTo>
                  <a:pt x="5142" y="4131"/>
                </a:lnTo>
                <a:lnTo>
                  <a:pt x="5121" y="4135"/>
                </a:lnTo>
                <a:lnTo>
                  <a:pt x="5099" y="4138"/>
                </a:lnTo>
                <a:lnTo>
                  <a:pt x="5079" y="4140"/>
                </a:lnTo>
                <a:lnTo>
                  <a:pt x="5059" y="4140"/>
                </a:lnTo>
                <a:lnTo>
                  <a:pt x="5050" y="4140"/>
                </a:lnTo>
                <a:lnTo>
                  <a:pt x="5041" y="4139"/>
                </a:lnTo>
                <a:lnTo>
                  <a:pt x="5033" y="4137"/>
                </a:lnTo>
                <a:lnTo>
                  <a:pt x="5025" y="4136"/>
                </a:lnTo>
                <a:lnTo>
                  <a:pt x="5017" y="4133"/>
                </a:lnTo>
                <a:lnTo>
                  <a:pt x="5010" y="4130"/>
                </a:lnTo>
                <a:lnTo>
                  <a:pt x="5003" y="4126"/>
                </a:lnTo>
                <a:lnTo>
                  <a:pt x="4997" y="4122"/>
                </a:lnTo>
                <a:lnTo>
                  <a:pt x="5005" y="4121"/>
                </a:lnTo>
                <a:lnTo>
                  <a:pt x="5013" y="4120"/>
                </a:lnTo>
                <a:lnTo>
                  <a:pt x="5020" y="4119"/>
                </a:lnTo>
                <a:lnTo>
                  <a:pt x="5027" y="4117"/>
                </a:lnTo>
                <a:lnTo>
                  <a:pt x="5033" y="4114"/>
                </a:lnTo>
                <a:lnTo>
                  <a:pt x="5039" y="4111"/>
                </a:lnTo>
                <a:lnTo>
                  <a:pt x="5045" y="4108"/>
                </a:lnTo>
                <a:lnTo>
                  <a:pt x="5051" y="4104"/>
                </a:lnTo>
                <a:lnTo>
                  <a:pt x="5062" y="4094"/>
                </a:lnTo>
                <a:lnTo>
                  <a:pt x="5071" y="4083"/>
                </a:lnTo>
                <a:lnTo>
                  <a:pt x="5080" y="4071"/>
                </a:lnTo>
                <a:lnTo>
                  <a:pt x="5087" y="4057"/>
                </a:lnTo>
                <a:lnTo>
                  <a:pt x="5094" y="4043"/>
                </a:lnTo>
                <a:lnTo>
                  <a:pt x="5100" y="4027"/>
                </a:lnTo>
                <a:lnTo>
                  <a:pt x="5106" y="4011"/>
                </a:lnTo>
                <a:lnTo>
                  <a:pt x="5111" y="3993"/>
                </a:lnTo>
                <a:lnTo>
                  <a:pt x="5115" y="3976"/>
                </a:lnTo>
                <a:lnTo>
                  <a:pt x="5119" y="3957"/>
                </a:lnTo>
                <a:lnTo>
                  <a:pt x="5122" y="3939"/>
                </a:lnTo>
                <a:lnTo>
                  <a:pt x="5124" y="3920"/>
                </a:lnTo>
                <a:lnTo>
                  <a:pt x="5109" y="3916"/>
                </a:lnTo>
                <a:lnTo>
                  <a:pt x="5093" y="3913"/>
                </a:lnTo>
                <a:lnTo>
                  <a:pt x="5078" y="3912"/>
                </a:lnTo>
                <a:lnTo>
                  <a:pt x="5063" y="3912"/>
                </a:lnTo>
                <a:lnTo>
                  <a:pt x="5048" y="3914"/>
                </a:lnTo>
                <a:lnTo>
                  <a:pt x="5034" y="3918"/>
                </a:lnTo>
                <a:lnTo>
                  <a:pt x="5020" y="3922"/>
                </a:lnTo>
                <a:lnTo>
                  <a:pt x="5006" y="3929"/>
                </a:lnTo>
                <a:lnTo>
                  <a:pt x="4993" y="3936"/>
                </a:lnTo>
                <a:lnTo>
                  <a:pt x="4981" y="3945"/>
                </a:lnTo>
                <a:lnTo>
                  <a:pt x="4969" y="3954"/>
                </a:lnTo>
                <a:lnTo>
                  <a:pt x="4958" y="3965"/>
                </a:lnTo>
                <a:lnTo>
                  <a:pt x="4949" y="3978"/>
                </a:lnTo>
                <a:lnTo>
                  <a:pt x="4941" y="3990"/>
                </a:lnTo>
                <a:lnTo>
                  <a:pt x="4935" y="4004"/>
                </a:lnTo>
                <a:lnTo>
                  <a:pt x="4930" y="4018"/>
                </a:lnTo>
                <a:lnTo>
                  <a:pt x="4926" y="4029"/>
                </a:lnTo>
                <a:lnTo>
                  <a:pt x="4922" y="4039"/>
                </a:lnTo>
                <a:lnTo>
                  <a:pt x="4918" y="4048"/>
                </a:lnTo>
                <a:lnTo>
                  <a:pt x="4914" y="4055"/>
                </a:lnTo>
                <a:lnTo>
                  <a:pt x="4909" y="4061"/>
                </a:lnTo>
                <a:lnTo>
                  <a:pt x="4905" y="4066"/>
                </a:lnTo>
                <a:lnTo>
                  <a:pt x="4900" y="4070"/>
                </a:lnTo>
                <a:lnTo>
                  <a:pt x="4895" y="4073"/>
                </a:lnTo>
                <a:lnTo>
                  <a:pt x="4889" y="4075"/>
                </a:lnTo>
                <a:lnTo>
                  <a:pt x="4884" y="4077"/>
                </a:lnTo>
                <a:lnTo>
                  <a:pt x="4879" y="4077"/>
                </a:lnTo>
                <a:lnTo>
                  <a:pt x="4873" y="4078"/>
                </a:lnTo>
                <a:lnTo>
                  <a:pt x="4862" y="4077"/>
                </a:lnTo>
                <a:lnTo>
                  <a:pt x="4849" y="4075"/>
                </a:lnTo>
                <a:lnTo>
                  <a:pt x="4837" y="4072"/>
                </a:lnTo>
                <a:lnTo>
                  <a:pt x="4825" y="4070"/>
                </a:lnTo>
                <a:lnTo>
                  <a:pt x="4814" y="4068"/>
                </a:lnTo>
                <a:lnTo>
                  <a:pt x="4803" y="4069"/>
                </a:lnTo>
                <a:lnTo>
                  <a:pt x="4797" y="4069"/>
                </a:lnTo>
                <a:lnTo>
                  <a:pt x="4792" y="4071"/>
                </a:lnTo>
                <a:lnTo>
                  <a:pt x="4787" y="4073"/>
                </a:lnTo>
                <a:lnTo>
                  <a:pt x="4782" y="4077"/>
                </a:lnTo>
                <a:lnTo>
                  <a:pt x="4777" y="4081"/>
                </a:lnTo>
                <a:lnTo>
                  <a:pt x="4773" y="4086"/>
                </a:lnTo>
                <a:lnTo>
                  <a:pt x="4768" y="4092"/>
                </a:lnTo>
                <a:lnTo>
                  <a:pt x="4764" y="4101"/>
                </a:lnTo>
                <a:lnTo>
                  <a:pt x="4752" y="4106"/>
                </a:lnTo>
                <a:lnTo>
                  <a:pt x="4731" y="4115"/>
                </a:lnTo>
                <a:lnTo>
                  <a:pt x="4703" y="4126"/>
                </a:lnTo>
                <a:lnTo>
                  <a:pt x="4673" y="4138"/>
                </a:lnTo>
                <a:lnTo>
                  <a:pt x="4644" y="4148"/>
                </a:lnTo>
                <a:lnTo>
                  <a:pt x="4619" y="4156"/>
                </a:lnTo>
                <a:lnTo>
                  <a:pt x="4609" y="4157"/>
                </a:lnTo>
                <a:lnTo>
                  <a:pt x="4602" y="4158"/>
                </a:lnTo>
                <a:lnTo>
                  <a:pt x="4598" y="4157"/>
                </a:lnTo>
                <a:lnTo>
                  <a:pt x="4596" y="4156"/>
                </a:lnTo>
                <a:lnTo>
                  <a:pt x="4595" y="4155"/>
                </a:lnTo>
                <a:lnTo>
                  <a:pt x="4594" y="4153"/>
                </a:lnTo>
                <a:lnTo>
                  <a:pt x="4579" y="4156"/>
                </a:lnTo>
                <a:lnTo>
                  <a:pt x="4565" y="4159"/>
                </a:lnTo>
                <a:lnTo>
                  <a:pt x="4552" y="4163"/>
                </a:lnTo>
                <a:lnTo>
                  <a:pt x="4540" y="4168"/>
                </a:lnTo>
                <a:lnTo>
                  <a:pt x="4529" y="4173"/>
                </a:lnTo>
                <a:lnTo>
                  <a:pt x="4519" y="4179"/>
                </a:lnTo>
                <a:lnTo>
                  <a:pt x="4511" y="4185"/>
                </a:lnTo>
                <a:lnTo>
                  <a:pt x="4503" y="4192"/>
                </a:lnTo>
                <a:lnTo>
                  <a:pt x="4496" y="4200"/>
                </a:lnTo>
                <a:lnTo>
                  <a:pt x="4490" y="4208"/>
                </a:lnTo>
                <a:lnTo>
                  <a:pt x="4484" y="4216"/>
                </a:lnTo>
                <a:lnTo>
                  <a:pt x="4480" y="4227"/>
                </a:lnTo>
                <a:lnTo>
                  <a:pt x="4476" y="4236"/>
                </a:lnTo>
                <a:lnTo>
                  <a:pt x="4471" y="4246"/>
                </a:lnTo>
                <a:lnTo>
                  <a:pt x="4469" y="4256"/>
                </a:lnTo>
                <a:lnTo>
                  <a:pt x="4466" y="4267"/>
                </a:lnTo>
                <a:lnTo>
                  <a:pt x="4464" y="4290"/>
                </a:lnTo>
                <a:lnTo>
                  <a:pt x="4462" y="4314"/>
                </a:lnTo>
                <a:lnTo>
                  <a:pt x="4462" y="4340"/>
                </a:lnTo>
                <a:lnTo>
                  <a:pt x="4463" y="4367"/>
                </a:lnTo>
                <a:lnTo>
                  <a:pt x="4466" y="4423"/>
                </a:lnTo>
                <a:lnTo>
                  <a:pt x="4467" y="4482"/>
                </a:lnTo>
                <a:lnTo>
                  <a:pt x="4482" y="4490"/>
                </a:lnTo>
                <a:lnTo>
                  <a:pt x="4497" y="4500"/>
                </a:lnTo>
                <a:lnTo>
                  <a:pt x="4512" y="4512"/>
                </a:lnTo>
                <a:lnTo>
                  <a:pt x="4529" y="4524"/>
                </a:lnTo>
                <a:lnTo>
                  <a:pt x="4546" y="4538"/>
                </a:lnTo>
                <a:lnTo>
                  <a:pt x="4563" y="4552"/>
                </a:lnTo>
                <a:lnTo>
                  <a:pt x="4580" y="4568"/>
                </a:lnTo>
                <a:lnTo>
                  <a:pt x="4596" y="4583"/>
                </a:lnTo>
                <a:lnTo>
                  <a:pt x="4612" y="4600"/>
                </a:lnTo>
                <a:lnTo>
                  <a:pt x="4626" y="4616"/>
                </a:lnTo>
                <a:lnTo>
                  <a:pt x="4639" y="4632"/>
                </a:lnTo>
                <a:lnTo>
                  <a:pt x="4650" y="4647"/>
                </a:lnTo>
                <a:lnTo>
                  <a:pt x="4658" y="4663"/>
                </a:lnTo>
                <a:lnTo>
                  <a:pt x="4665" y="4677"/>
                </a:lnTo>
                <a:lnTo>
                  <a:pt x="4667" y="4684"/>
                </a:lnTo>
                <a:lnTo>
                  <a:pt x="4668" y="4691"/>
                </a:lnTo>
                <a:lnTo>
                  <a:pt x="4669" y="4697"/>
                </a:lnTo>
                <a:lnTo>
                  <a:pt x="4669" y="4703"/>
                </a:lnTo>
                <a:lnTo>
                  <a:pt x="4722" y="4713"/>
                </a:lnTo>
                <a:lnTo>
                  <a:pt x="4769" y="4722"/>
                </a:lnTo>
                <a:lnTo>
                  <a:pt x="4810" y="4731"/>
                </a:lnTo>
                <a:lnTo>
                  <a:pt x="4849" y="4738"/>
                </a:lnTo>
                <a:lnTo>
                  <a:pt x="4887" y="4746"/>
                </a:lnTo>
                <a:lnTo>
                  <a:pt x="4926" y="4753"/>
                </a:lnTo>
                <a:lnTo>
                  <a:pt x="4969" y="4760"/>
                </a:lnTo>
                <a:lnTo>
                  <a:pt x="5018" y="4767"/>
                </a:lnTo>
                <a:lnTo>
                  <a:pt x="5021" y="4771"/>
                </a:lnTo>
                <a:lnTo>
                  <a:pt x="5024" y="4776"/>
                </a:lnTo>
                <a:lnTo>
                  <a:pt x="5028" y="4780"/>
                </a:lnTo>
                <a:lnTo>
                  <a:pt x="5032" y="4784"/>
                </a:lnTo>
                <a:lnTo>
                  <a:pt x="5043" y="4791"/>
                </a:lnTo>
                <a:lnTo>
                  <a:pt x="5054" y="4798"/>
                </a:lnTo>
                <a:lnTo>
                  <a:pt x="5067" y="4805"/>
                </a:lnTo>
                <a:lnTo>
                  <a:pt x="5079" y="4811"/>
                </a:lnTo>
                <a:lnTo>
                  <a:pt x="5091" y="4815"/>
                </a:lnTo>
                <a:lnTo>
                  <a:pt x="5102" y="4819"/>
                </a:lnTo>
                <a:lnTo>
                  <a:pt x="5104" y="4827"/>
                </a:lnTo>
                <a:lnTo>
                  <a:pt x="5104" y="4835"/>
                </a:lnTo>
                <a:lnTo>
                  <a:pt x="5105" y="4842"/>
                </a:lnTo>
                <a:lnTo>
                  <a:pt x="5107" y="4848"/>
                </a:lnTo>
                <a:lnTo>
                  <a:pt x="5109" y="4855"/>
                </a:lnTo>
                <a:lnTo>
                  <a:pt x="5111" y="4861"/>
                </a:lnTo>
                <a:lnTo>
                  <a:pt x="5114" y="4865"/>
                </a:lnTo>
                <a:lnTo>
                  <a:pt x="5117" y="4870"/>
                </a:lnTo>
                <a:lnTo>
                  <a:pt x="5121" y="4874"/>
                </a:lnTo>
                <a:lnTo>
                  <a:pt x="5125" y="4877"/>
                </a:lnTo>
                <a:lnTo>
                  <a:pt x="5129" y="4880"/>
                </a:lnTo>
                <a:lnTo>
                  <a:pt x="5133" y="4883"/>
                </a:lnTo>
                <a:lnTo>
                  <a:pt x="5143" y="4888"/>
                </a:lnTo>
                <a:lnTo>
                  <a:pt x="5154" y="4891"/>
                </a:lnTo>
                <a:lnTo>
                  <a:pt x="5165" y="4893"/>
                </a:lnTo>
                <a:lnTo>
                  <a:pt x="5178" y="4895"/>
                </a:lnTo>
                <a:lnTo>
                  <a:pt x="5191" y="4895"/>
                </a:lnTo>
                <a:lnTo>
                  <a:pt x="5204" y="4895"/>
                </a:lnTo>
                <a:lnTo>
                  <a:pt x="5233" y="4895"/>
                </a:lnTo>
                <a:lnTo>
                  <a:pt x="5262" y="4894"/>
                </a:lnTo>
                <a:lnTo>
                  <a:pt x="5262" y="4884"/>
                </a:lnTo>
                <a:lnTo>
                  <a:pt x="5263" y="4876"/>
                </a:lnTo>
                <a:lnTo>
                  <a:pt x="5265" y="4870"/>
                </a:lnTo>
                <a:lnTo>
                  <a:pt x="5267" y="4865"/>
                </a:lnTo>
                <a:lnTo>
                  <a:pt x="5270" y="4862"/>
                </a:lnTo>
                <a:lnTo>
                  <a:pt x="5274" y="4861"/>
                </a:lnTo>
                <a:lnTo>
                  <a:pt x="5278" y="4860"/>
                </a:lnTo>
                <a:lnTo>
                  <a:pt x="5283" y="4861"/>
                </a:lnTo>
                <a:lnTo>
                  <a:pt x="5288" y="4863"/>
                </a:lnTo>
                <a:lnTo>
                  <a:pt x="5293" y="4867"/>
                </a:lnTo>
                <a:lnTo>
                  <a:pt x="5299" y="4871"/>
                </a:lnTo>
                <a:lnTo>
                  <a:pt x="5305" y="4876"/>
                </a:lnTo>
                <a:lnTo>
                  <a:pt x="5317" y="4889"/>
                </a:lnTo>
                <a:lnTo>
                  <a:pt x="5330" y="4904"/>
                </a:lnTo>
                <a:lnTo>
                  <a:pt x="5343" y="4921"/>
                </a:lnTo>
                <a:lnTo>
                  <a:pt x="5357" y="4939"/>
                </a:lnTo>
                <a:lnTo>
                  <a:pt x="5370" y="4958"/>
                </a:lnTo>
                <a:lnTo>
                  <a:pt x="5381" y="4976"/>
                </a:lnTo>
                <a:lnTo>
                  <a:pt x="5391" y="4994"/>
                </a:lnTo>
                <a:lnTo>
                  <a:pt x="5399" y="5009"/>
                </a:lnTo>
                <a:lnTo>
                  <a:pt x="5406" y="5022"/>
                </a:lnTo>
                <a:lnTo>
                  <a:pt x="5410" y="5032"/>
                </a:lnTo>
                <a:lnTo>
                  <a:pt x="5408" y="5032"/>
                </a:lnTo>
                <a:lnTo>
                  <a:pt x="5407" y="5033"/>
                </a:lnTo>
                <a:lnTo>
                  <a:pt x="5406" y="5034"/>
                </a:lnTo>
                <a:lnTo>
                  <a:pt x="5406" y="5037"/>
                </a:lnTo>
                <a:lnTo>
                  <a:pt x="5406" y="5043"/>
                </a:lnTo>
                <a:lnTo>
                  <a:pt x="5407" y="5051"/>
                </a:lnTo>
                <a:lnTo>
                  <a:pt x="5412" y="5071"/>
                </a:lnTo>
                <a:lnTo>
                  <a:pt x="5420" y="5095"/>
                </a:lnTo>
                <a:lnTo>
                  <a:pt x="5429" y="5123"/>
                </a:lnTo>
                <a:lnTo>
                  <a:pt x="5438" y="5149"/>
                </a:lnTo>
                <a:lnTo>
                  <a:pt x="5446" y="5172"/>
                </a:lnTo>
                <a:lnTo>
                  <a:pt x="5451" y="5190"/>
                </a:lnTo>
                <a:lnTo>
                  <a:pt x="5444" y="5188"/>
                </a:lnTo>
                <a:lnTo>
                  <a:pt x="5438" y="5188"/>
                </a:lnTo>
                <a:lnTo>
                  <a:pt x="5434" y="5188"/>
                </a:lnTo>
                <a:lnTo>
                  <a:pt x="5431" y="5190"/>
                </a:lnTo>
                <a:lnTo>
                  <a:pt x="5429" y="5194"/>
                </a:lnTo>
                <a:lnTo>
                  <a:pt x="5428" y="5198"/>
                </a:lnTo>
                <a:lnTo>
                  <a:pt x="5429" y="5204"/>
                </a:lnTo>
                <a:lnTo>
                  <a:pt x="5431" y="5211"/>
                </a:lnTo>
                <a:lnTo>
                  <a:pt x="5443" y="5216"/>
                </a:lnTo>
                <a:lnTo>
                  <a:pt x="5457" y="5219"/>
                </a:lnTo>
                <a:lnTo>
                  <a:pt x="5471" y="5222"/>
                </a:lnTo>
                <a:lnTo>
                  <a:pt x="5487" y="5223"/>
                </a:lnTo>
                <a:lnTo>
                  <a:pt x="5501" y="5224"/>
                </a:lnTo>
                <a:lnTo>
                  <a:pt x="5516" y="5224"/>
                </a:lnTo>
                <a:lnTo>
                  <a:pt x="5530" y="5223"/>
                </a:lnTo>
                <a:lnTo>
                  <a:pt x="5544" y="5221"/>
                </a:lnTo>
                <a:lnTo>
                  <a:pt x="5558" y="5217"/>
                </a:lnTo>
                <a:lnTo>
                  <a:pt x="5571" y="5213"/>
                </a:lnTo>
                <a:lnTo>
                  <a:pt x="5582" y="5207"/>
                </a:lnTo>
                <a:lnTo>
                  <a:pt x="5593" y="5200"/>
                </a:lnTo>
                <a:lnTo>
                  <a:pt x="5598" y="5196"/>
                </a:lnTo>
                <a:lnTo>
                  <a:pt x="5602" y="5192"/>
                </a:lnTo>
                <a:lnTo>
                  <a:pt x="5608" y="5187"/>
                </a:lnTo>
                <a:lnTo>
                  <a:pt x="5611" y="5182"/>
                </a:lnTo>
                <a:lnTo>
                  <a:pt x="5615" y="5177"/>
                </a:lnTo>
                <a:lnTo>
                  <a:pt x="5617" y="5171"/>
                </a:lnTo>
                <a:lnTo>
                  <a:pt x="5620" y="5165"/>
                </a:lnTo>
                <a:lnTo>
                  <a:pt x="5622" y="5159"/>
                </a:lnTo>
                <a:lnTo>
                  <a:pt x="5611" y="5158"/>
                </a:lnTo>
                <a:lnTo>
                  <a:pt x="5600" y="5155"/>
                </a:lnTo>
                <a:lnTo>
                  <a:pt x="5593" y="5152"/>
                </a:lnTo>
                <a:lnTo>
                  <a:pt x="5587" y="5147"/>
                </a:lnTo>
                <a:lnTo>
                  <a:pt x="5583" y="5140"/>
                </a:lnTo>
                <a:lnTo>
                  <a:pt x="5579" y="5133"/>
                </a:lnTo>
                <a:lnTo>
                  <a:pt x="5577" y="5125"/>
                </a:lnTo>
                <a:lnTo>
                  <a:pt x="5576" y="5117"/>
                </a:lnTo>
                <a:lnTo>
                  <a:pt x="5576" y="5078"/>
                </a:lnTo>
                <a:lnTo>
                  <a:pt x="5579" y="5042"/>
                </a:lnTo>
                <a:lnTo>
                  <a:pt x="5567" y="5033"/>
                </a:lnTo>
                <a:lnTo>
                  <a:pt x="5557" y="5024"/>
                </a:lnTo>
                <a:lnTo>
                  <a:pt x="5549" y="5014"/>
                </a:lnTo>
                <a:lnTo>
                  <a:pt x="5543" y="5003"/>
                </a:lnTo>
                <a:lnTo>
                  <a:pt x="5539" y="4992"/>
                </a:lnTo>
                <a:lnTo>
                  <a:pt x="5536" y="4981"/>
                </a:lnTo>
                <a:lnTo>
                  <a:pt x="5534" y="4969"/>
                </a:lnTo>
                <a:lnTo>
                  <a:pt x="5534" y="4958"/>
                </a:lnTo>
                <a:lnTo>
                  <a:pt x="5536" y="4947"/>
                </a:lnTo>
                <a:lnTo>
                  <a:pt x="5539" y="4937"/>
                </a:lnTo>
                <a:lnTo>
                  <a:pt x="5544" y="4928"/>
                </a:lnTo>
                <a:lnTo>
                  <a:pt x="5550" y="4919"/>
                </a:lnTo>
                <a:lnTo>
                  <a:pt x="5558" y="4911"/>
                </a:lnTo>
                <a:lnTo>
                  <a:pt x="5567" y="4904"/>
                </a:lnTo>
                <a:lnTo>
                  <a:pt x="5577" y="4899"/>
                </a:lnTo>
                <a:lnTo>
                  <a:pt x="5589" y="4894"/>
                </a:lnTo>
                <a:lnTo>
                  <a:pt x="5590" y="4899"/>
                </a:lnTo>
                <a:lnTo>
                  <a:pt x="5592" y="4904"/>
                </a:lnTo>
                <a:lnTo>
                  <a:pt x="5594" y="4907"/>
                </a:lnTo>
                <a:lnTo>
                  <a:pt x="5598" y="4910"/>
                </a:lnTo>
                <a:lnTo>
                  <a:pt x="5603" y="4912"/>
                </a:lnTo>
                <a:lnTo>
                  <a:pt x="5609" y="4913"/>
                </a:lnTo>
                <a:lnTo>
                  <a:pt x="5615" y="4913"/>
                </a:lnTo>
                <a:lnTo>
                  <a:pt x="5622" y="4913"/>
                </a:lnTo>
                <a:lnTo>
                  <a:pt x="5637" y="4911"/>
                </a:lnTo>
                <a:lnTo>
                  <a:pt x="5652" y="4906"/>
                </a:lnTo>
                <a:lnTo>
                  <a:pt x="5668" y="4900"/>
                </a:lnTo>
                <a:lnTo>
                  <a:pt x="5683" y="4892"/>
                </a:lnTo>
                <a:lnTo>
                  <a:pt x="5690" y="4888"/>
                </a:lnTo>
                <a:lnTo>
                  <a:pt x="5697" y="4883"/>
                </a:lnTo>
                <a:lnTo>
                  <a:pt x="5703" y="4878"/>
                </a:lnTo>
                <a:lnTo>
                  <a:pt x="5708" y="4873"/>
                </a:lnTo>
                <a:lnTo>
                  <a:pt x="5713" y="4868"/>
                </a:lnTo>
                <a:lnTo>
                  <a:pt x="5717" y="4862"/>
                </a:lnTo>
                <a:lnTo>
                  <a:pt x="5719" y="4857"/>
                </a:lnTo>
                <a:lnTo>
                  <a:pt x="5721" y="4852"/>
                </a:lnTo>
                <a:lnTo>
                  <a:pt x="5722" y="4845"/>
                </a:lnTo>
                <a:lnTo>
                  <a:pt x="5721" y="4839"/>
                </a:lnTo>
                <a:lnTo>
                  <a:pt x="5719" y="4834"/>
                </a:lnTo>
                <a:lnTo>
                  <a:pt x="5715" y="4829"/>
                </a:lnTo>
                <a:lnTo>
                  <a:pt x="5710" y="4824"/>
                </a:lnTo>
                <a:lnTo>
                  <a:pt x="5704" y="4819"/>
                </a:lnTo>
                <a:lnTo>
                  <a:pt x="5695" y="4814"/>
                </a:lnTo>
                <a:lnTo>
                  <a:pt x="5685" y="4809"/>
                </a:lnTo>
                <a:lnTo>
                  <a:pt x="5690" y="4796"/>
                </a:lnTo>
                <a:lnTo>
                  <a:pt x="5695" y="4783"/>
                </a:lnTo>
                <a:lnTo>
                  <a:pt x="5700" y="4768"/>
                </a:lnTo>
                <a:lnTo>
                  <a:pt x="5704" y="4754"/>
                </a:lnTo>
                <a:lnTo>
                  <a:pt x="5708" y="4738"/>
                </a:lnTo>
                <a:lnTo>
                  <a:pt x="5711" y="4722"/>
                </a:lnTo>
                <a:lnTo>
                  <a:pt x="5713" y="4707"/>
                </a:lnTo>
                <a:lnTo>
                  <a:pt x="5715" y="4691"/>
                </a:lnTo>
                <a:lnTo>
                  <a:pt x="5715" y="4675"/>
                </a:lnTo>
                <a:lnTo>
                  <a:pt x="5715" y="4660"/>
                </a:lnTo>
                <a:lnTo>
                  <a:pt x="5713" y="4645"/>
                </a:lnTo>
                <a:lnTo>
                  <a:pt x="5710" y="4631"/>
                </a:lnTo>
                <a:lnTo>
                  <a:pt x="5706" y="4617"/>
                </a:lnTo>
                <a:lnTo>
                  <a:pt x="5701" y="4604"/>
                </a:lnTo>
                <a:lnTo>
                  <a:pt x="5694" y="4591"/>
                </a:lnTo>
                <a:lnTo>
                  <a:pt x="5686" y="4579"/>
                </a:lnTo>
                <a:lnTo>
                  <a:pt x="5680" y="4573"/>
                </a:lnTo>
                <a:lnTo>
                  <a:pt x="5674" y="4569"/>
                </a:lnTo>
                <a:lnTo>
                  <a:pt x="5668" y="4565"/>
                </a:lnTo>
                <a:lnTo>
                  <a:pt x="5662" y="4563"/>
                </a:lnTo>
                <a:lnTo>
                  <a:pt x="5650" y="4560"/>
                </a:lnTo>
                <a:lnTo>
                  <a:pt x="5638" y="4558"/>
                </a:lnTo>
                <a:lnTo>
                  <a:pt x="5632" y="4557"/>
                </a:lnTo>
                <a:lnTo>
                  <a:pt x="5626" y="4556"/>
                </a:lnTo>
                <a:lnTo>
                  <a:pt x="5621" y="4554"/>
                </a:lnTo>
                <a:lnTo>
                  <a:pt x="5616" y="4551"/>
                </a:lnTo>
                <a:lnTo>
                  <a:pt x="5612" y="4546"/>
                </a:lnTo>
                <a:lnTo>
                  <a:pt x="5608" y="4541"/>
                </a:lnTo>
                <a:lnTo>
                  <a:pt x="5603" y="4533"/>
                </a:lnTo>
                <a:lnTo>
                  <a:pt x="5600" y="4524"/>
                </a:lnTo>
                <a:lnTo>
                  <a:pt x="5608" y="4522"/>
                </a:lnTo>
                <a:lnTo>
                  <a:pt x="5615" y="4518"/>
                </a:lnTo>
                <a:lnTo>
                  <a:pt x="5620" y="4515"/>
                </a:lnTo>
                <a:lnTo>
                  <a:pt x="5625" y="4510"/>
                </a:lnTo>
                <a:lnTo>
                  <a:pt x="5630" y="4505"/>
                </a:lnTo>
                <a:lnTo>
                  <a:pt x="5633" y="4499"/>
                </a:lnTo>
                <a:lnTo>
                  <a:pt x="5636" y="4493"/>
                </a:lnTo>
                <a:lnTo>
                  <a:pt x="5639" y="4486"/>
                </a:lnTo>
                <a:lnTo>
                  <a:pt x="5641" y="4479"/>
                </a:lnTo>
                <a:lnTo>
                  <a:pt x="5642" y="4470"/>
                </a:lnTo>
                <a:lnTo>
                  <a:pt x="5643" y="4462"/>
                </a:lnTo>
                <a:lnTo>
                  <a:pt x="5644" y="4453"/>
                </a:lnTo>
                <a:lnTo>
                  <a:pt x="5644" y="4436"/>
                </a:lnTo>
                <a:lnTo>
                  <a:pt x="5643" y="4417"/>
                </a:lnTo>
                <a:lnTo>
                  <a:pt x="5637" y="4378"/>
                </a:lnTo>
                <a:lnTo>
                  <a:pt x="5630" y="4337"/>
                </a:lnTo>
                <a:lnTo>
                  <a:pt x="5627" y="4319"/>
                </a:lnTo>
                <a:lnTo>
                  <a:pt x="5624" y="4301"/>
                </a:lnTo>
                <a:lnTo>
                  <a:pt x="5622" y="4285"/>
                </a:lnTo>
                <a:lnTo>
                  <a:pt x="5622" y="4270"/>
                </a:lnTo>
                <a:lnTo>
                  <a:pt x="5627" y="4268"/>
                </a:lnTo>
                <a:lnTo>
                  <a:pt x="5633" y="4268"/>
                </a:lnTo>
                <a:lnTo>
                  <a:pt x="5640" y="4268"/>
                </a:lnTo>
                <a:lnTo>
                  <a:pt x="5647" y="4268"/>
                </a:lnTo>
                <a:lnTo>
                  <a:pt x="5663" y="4270"/>
                </a:lnTo>
                <a:lnTo>
                  <a:pt x="5679" y="4272"/>
                </a:lnTo>
                <a:lnTo>
                  <a:pt x="5693" y="4275"/>
                </a:lnTo>
                <a:lnTo>
                  <a:pt x="5705" y="4276"/>
                </a:lnTo>
                <a:lnTo>
                  <a:pt x="5710" y="4275"/>
                </a:lnTo>
                <a:lnTo>
                  <a:pt x="5713" y="4274"/>
                </a:lnTo>
                <a:lnTo>
                  <a:pt x="5716" y="4273"/>
                </a:lnTo>
                <a:lnTo>
                  <a:pt x="5716" y="4270"/>
                </a:lnTo>
                <a:lnTo>
                  <a:pt x="5732" y="4271"/>
                </a:lnTo>
                <a:lnTo>
                  <a:pt x="5750" y="4274"/>
                </a:lnTo>
                <a:lnTo>
                  <a:pt x="5767" y="4279"/>
                </a:lnTo>
                <a:lnTo>
                  <a:pt x="5786" y="4284"/>
                </a:lnTo>
                <a:lnTo>
                  <a:pt x="5823" y="4296"/>
                </a:lnTo>
                <a:lnTo>
                  <a:pt x="5862" y="4306"/>
                </a:lnTo>
                <a:lnTo>
                  <a:pt x="5880" y="4309"/>
                </a:lnTo>
                <a:lnTo>
                  <a:pt x="5898" y="4310"/>
                </a:lnTo>
                <a:lnTo>
                  <a:pt x="5907" y="4309"/>
                </a:lnTo>
                <a:lnTo>
                  <a:pt x="5915" y="4308"/>
                </a:lnTo>
                <a:lnTo>
                  <a:pt x="5923" y="4307"/>
                </a:lnTo>
                <a:lnTo>
                  <a:pt x="5931" y="4304"/>
                </a:lnTo>
                <a:lnTo>
                  <a:pt x="5939" y="4301"/>
                </a:lnTo>
                <a:lnTo>
                  <a:pt x="5946" y="4296"/>
                </a:lnTo>
                <a:lnTo>
                  <a:pt x="5953" y="4291"/>
                </a:lnTo>
                <a:lnTo>
                  <a:pt x="5959" y="4285"/>
                </a:lnTo>
                <a:lnTo>
                  <a:pt x="5965" y="4278"/>
                </a:lnTo>
                <a:lnTo>
                  <a:pt x="5971" y="4269"/>
                </a:lnTo>
                <a:lnTo>
                  <a:pt x="5976" y="4259"/>
                </a:lnTo>
                <a:lnTo>
                  <a:pt x="5981" y="4248"/>
                </a:lnTo>
                <a:lnTo>
                  <a:pt x="5994" y="4254"/>
                </a:lnTo>
                <a:lnTo>
                  <a:pt x="6004" y="4260"/>
                </a:lnTo>
                <a:lnTo>
                  <a:pt x="6014" y="4266"/>
                </a:lnTo>
                <a:lnTo>
                  <a:pt x="6022" y="4271"/>
                </a:lnTo>
                <a:lnTo>
                  <a:pt x="6035" y="4282"/>
                </a:lnTo>
                <a:lnTo>
                  <a:pt x="6045" y="4293"/>
                </a:lnTo>
                <a:lnTo>
                  <a:pt x="6052" y="4302"/>
                </a:lnTo>
                <a:lnTo>
                  <a:pt x="6057" y="4311"/>
                </a:lnTo>
                <a:lnTo>
                  <a:pt x="6061" y="4319"/>
                </a:lnTo>
                <a:lnTo>
                  <a:pt x="6064" y="4326"/>
                </a:lnTo>
                <a:lnTo>
                  <a:pt x="6067" y="4332"/>
                </a:lnTo>
                <a:lnTo>
                  <a:pt x="6070" y="4336"/>
                </a:lnTo>
                <a:lnTo>
                  <a:pt x="6073" y="4337"/>
                </a:lnTo>
                <a:lnTo>
                  <a:pt x="6076" y="4338"/>
                </a:lnTo>
                <a:lnTo>
                  <a:pt x="6079" y="4339"/>
                </a:lnTo>
                <a:lnTo>
                  <a:pt x="6083" y="4339"/>
                </a:lnTo>
                <a:lnTo>
                  <a:pt x="6094" y="4338"/>
                </a:lnTo>
                <a:lnTo>
                  <a:pt x="6108" y="4335"/>
                </a:lnTo>
                <a:lnTo>
                  <a:pt x="6127" y="4330"/>
                </a:lnTo>
                <a:lnTo>
                  <a:pt x="6151" y="4322"/>
                </a:lnTo>
                <a:lnTo>
                  <a:pt x="6151" y="4326"/>
                </a:lnTo>
                <a:lnTo>
                  <a:pt x="6152" y="4330"/>
                </a:lnTo>
                <a:lnTo>
                  <a:pt x="6154" y="4335"/>
                </a:lnTo>
                <a:lnTo>
                  <a:pt x="6157" y="4340"/>
                </a:lnTo>
                <a:lnTo>
                  <a:pt x="6165" y="4353"/>
                </a:lnTo>
                <a:lnTo>
                  <a:pt x="6176" y="4367"/>
                </a:lnTo>
                <a:lnTo>
                  <a:pt x="6188" y="4382"/>
                </a:lnTo>
                <a:lnTo>
                  <a:pt x="6202" y="4398"/>
                </a:lnTo>
                <a:lnTo>
                  <a:pt x="6217" y="4414"/>
                </a:lnTo>
                <a:lnTo>
                  <a:pt x="6232" y="4430"/>
                </a:lnTo>
                <a:lnTo>
                  <a:pt x="6265" y="4461"/>
                </a:lnTo>
                <a:lnTo>
                  <a:pt x="6294" y="4488"/>
                </a:lnTo>
                <a:lnTo>
                  <a:pt x="6306" y="4499"/>
                </a:lnTo>
                <a:lnTo>
                  <a:pt x="6317" y="4507"/>
                </a:lnTo>
                <a:lnTo>
                  <a:pt x="6325" y="4511"/>
                </a:lnTo>
                <a:lnTo>
                  <a:pt x="6330" y="4513"/>
                </a:lnTo>
                <a:lnTo>
                  <a:pt x="6330" y="4518"/>
                </a:lnTo>
                <a:lnTo>
                  <a:pt x="6330" y="4525"/>
                </a:lnTo>
                <a:lnTo>
                  <a:pt x="6331" y="4533"/>
                </a:lnTo>
                <a:lnTo>
                  <a:pt x="6333" y="4542"/>
                </a:lnTo>
                <a:lnTo>
                  <a:pt x="6334" y="4547"/>
                </a:lnTo>
                <a:lnTo>
                  <a:pt x="6336" y="4551"/>
                </a:lnTo>
                <a:lnTo>
                  <a:pt x="6339" y="4555"/>
                </a:lnTo>
                <a:lnTo>
                  <a:pt x="6342" y="4558"/>
                </a:lnTo>
                <a:lnTo>
                  <a:pt x="6346" y="4561"/>
                </a:lnTo>
                <a:lnTo>
                  <a:pt x="6350" y="4564"/>
                </a:lnTo>
                <a:lnTo>
                  <a:pt x="6355" y="4565"/>
                </a:lnTo>
                <a:lnTo>
                  <a:pt x="6361" y="4566"/>
                </a:lnTo>
                <a:lnTo>
                  <a:pt x="6361" y="4571"/>
                </a:lnTo>
                <a:lnTo>
                  <a:pt x="6361" y="4574"/>
                </a:lnTo>
                <a:lnTo>
                  <a:pt x="6360" y="4577"/>
                </a:lnTo>
                <a:lnTo>
                  <a:pt x="6358" y="4578"/>
                </a:lnTo>
                <a:lnTo>
                  <a:pt x="6355" y="4577"/>
                </a:lnTo>
                <a:lnTo>
                  <a:pt x="6351" y="4576"/>
                </a:lnTo>
                <a:lnTo>
                  <a:pt x="6349" y="4576"/>
                </a:lnTo>
                <a:lnTo>
                  <a:pt x="6347" y="4576"/>
                </a:lnTo>
                <a:lnTo>
                  <a:pt x="6345" y="4577"/>
                </a:lnTo>
                <a:lnTo>
                  <a:pt x="6344" y="4580"/>
                </a:lnTo>
                <a:lnTo>
                  <a:pt x="6343" y="4584"/>
                </a:lnTo>
                <a:lnTo>
                  <a:pt x="6341" y="4589"/>
                </a:lnTo>
                <a:lnTo>
                  <a:pt x="6341" y="4597"/>
                </a:lnTo>
                <a:lnTo>
                  <a:pt x="6341" y="4608"/>
                </a:lnTo>
                <a:lnTo>
                  <a:pt x="6352" y="4610"/>
                </a:lnTo>
                <a:lnTo>
                  <a:pt x="6370" y="4612"/>
                </a:lnTo>
                <a:lnTo>
                  <a:pt x="6390" y="4614"/>
                </a:lnTo>
                <a:lnTo>
                  <a:pt x="6412" y="4615"/>
                </a:lnTo>
                <a:lnTo>
                  <a:pt x="6423" y="4614"/>
                </a:lnTo>
                <a:lnTo>
                  <a:pt x="6433" y="4613"/>
                </a:lnTo>
                <a:lnTo>
                  <a:pt x="6442" y="4612"/>
                </a:lnTo>
                <a:lnTo>
                  <a:pt x="6451" y="4609"/>
                </a:lnTo>
                <a:lnTo>
                  <a:pt x="6458" y="4605"/>
                </a:lnTo>
                <a:lnTo>
                  <a:pt x="6463" y="4601"/>
                </a:lnTo>
                <a:lnTo>
                  <a:pt x="6465" y="4597"/>
                </a:lnTo>
                <a:lnTo>
                  <a:pt x="6467" y="4594"/>
                </a:lnTo>
                <a:lnTo>
                  <a:pt x="6467" y="4590"/>
                </a:lnTo>
                <a:lnTo>
                  <a:pt x="6468" y="4587"/>
                </a:lnTo>
                <a:lnTo>
                  <a:pt x="6480" y="4586"/>
                </a:lnTo>
                <a:lnTo>
                  <a:pt x="6493" y="4583"/>
                </a:lnTo>
                <a:lnTo>
                  <a:pt x="6504" y="4578"/>
                </a:lnTo>
                <a:lnTo>
                  <a:pt x="6515" y="4573"/>
                </a:lnTo>
                <a:lnTo>
                  <a:pt x="6525" y="4565"/>
                </a:lnTo>
                <a:lnTo>
                  <a:pt x="6535" y="4557"/>
                </a:lnTo>
                <a:lnTo>
                  <a:pt x="6544" y="4547"/>
                </a:lnTo>
                <a:lnTo>
                  <a:pt x="6552" y="4537"/>
                </a:lnTo>
                <a:lnTo>
                  <a:pt x="6559" y="4526"/>
                </a:lnTo>
                <a:lnTo>
                  <a:pt x="6565" y="4514"/>
                </a:lnTo>
                <a:lnTo>
                  <a:pt x="6571" y="4502"/>
                </a:lnTo>
                <a:lnTo>
                  <a:pt x="6576" y="4489"/>
                </a:lnTo>
                <a:lnTo>
                  <a:pt x="6579" y="4477"/>
                </a:lnTo>
                <a:lnTo>
                  <a:pt x="6582" y="4463"/>
                </a:lnTo>
                <a:lnTo>
                  <a:pt x="6584" y="4451"/>
                </a:lnTo>
                <a:lnTo>
                  <a:pt x="6584" y="4439"/>
                </a:lnTo>
                <a:lnTo>
                  <a:pt x="6588" y="4437"/>
                </a:lnTo>
                <a:lnTo>
                  <a:pt x="6592" y="4437"/>
                </a:lnTo>
                <a:lnTo>
                  <a:pt x="6597" y="4438"/>
                </a:lnTo>
                <a:lnTo>
                  <a:pt x="6602" y="4441"/>
                </a:lnTo>
                <a:lnTo>
                  <a:pt x="6606" y="4445"/>
                </a:lnTo>
                <a:lnTo>
                  <a:pt x="6611" y="4450"/>
                </a:lnTo>
                <a:lnTo>
                  <a:pt x="6617" y="4456"/>
                </a:lnTo>
                <a:lnTo>
                  <a:pt x="6622" y="4463"/>
                </a:lnTo>
                <a:lnTo>
                  <a:pt x="6633" y="4481"/>
                </a:lnTo>
                <a:lnTo>
                  <a:pt x="6643" y="4501"/>
                </a:lnTo>
                <a:lnTo>
                  <a:pt x="6655" y="4522"/>
                </a:lnTo>
                <a:lnTo>
                  <a:pt x="6666" y="4545"/>
                </a:lnTo>
                <a:lnTo>
                  <a:pt x="6677" y="4568"/>
                </a:lnTo>
                <a:lnTo>
                  <a:pt x="6689" y="4590"/>
                </a:lnTo>
                <a:lnTo>
                  <a:pt x="6700" y="4612"/>
                </a:lnTo>
                <a:lnTo>
                  <a:pt x="6711" y="4632"/>
                </a:lnTo>
                <a:lnTo>
                  <a:pt x="6722" y="4648"/>
                </a:lnTo>
                <a:lnTo>
                  <a:pt x="6733" y="4661"/>
                </a:lnTo>
                <a:lnTo>
                  <a:pt x="6738" y="4665"/>
                </a:lnTo>
                <a:lnTo>
                  <a:pt x="6744" y="4669"/>
                </a:lnTo>
                <a:lnTo>
                  <a:pt x="6749" y="4671"/>
                </a:lnTo>
                <a:lnTo>
                  <a:pt x="6754" y="4672"/>
                </a:lnTo>
                <a:lnTo>
                  <a:pt x="6762" y="4683"/>
                </a:lnTo>
                <a:lnTo>
                  <a:pt x="6771" y="4695"/>
                </a:lnTo>
                <a:lnTo>
                  <a:pt x="6782" y="4707"/>
                </a:lnTo>
                <a:lnTo>
                  <a:pt x="6794" y="4720"/>
                </a:lnTo>
                <a:lnTo>
                  <a:pt x="6820" y="4747"/>
                </a:lnTo>
                <a:lnTo>
                  <a:pt x="6847" y="4774"/>
                </a:lnTo>
                <a:lnTo>
                  <a:pt x="6860" y="4787"/>
                </a:lnTo>
                <a:lnTo>
                  <a:pt x="6873" y="4800"/>
                </a:lnTo>
                <a:lnTo>
                  <a:pt x="6884" y="4813"/>
                </a:lnTo>
                <a:lnTo>
                  <a:pt x="6893" y="4826"/>
                </a:lnTo>
                <a:lnTo>
                  <a:pt x="6901" y="4838"/>
                </a:lnTo>
                <a:lnTo>
                  <a:pt x="6907" y="4850"/>
                </a:lnTo>
                <a:lnTo>
                  <a:pt x="6910" y="4857"/>
                </a:lnTo>
                <a:lnTo>
                  <a:pt x="6911" y="4862"/>
                </a:lnTo>
                <a:lnTo>
                  <a:pt x="6912" y="4868"/>
                </a:lnTo>
                <a:lnTo>
                  <a:pt x="6913" y="4873"/>
                </a:lnTo>
                <a:lnTo>
                  <a:pt x="6931" y="4888"/>
                </a:lnTo>
                <a:lnTo>
                  <a:pt x="6948" y="4902"/>
                </a:lnTo>
                <a:lnTo>
                  <a:pt x="6952" y="4906"/>
                </a:lnTo>
                <a:lnTo>
                  <a:pt x="6955" y="4911"/>
                </a:lnTo>
                <a:lnTo>
                  <a:pt x="6958" y="4917"/>
                </a:lnTo>
                <a:lnTo>
                  <a:pt x="6960" y="4925"/>
                </a:lnTo>
                <a:lnTo>
                  <a:pt x="6962" y="4933"/>
                </a:lnTo>
                <a:lnTo>
                  <a:pt x="6964" y="4943"/>
                </a:lnTo>
                <a:lnTo>
                  <a:pt x="6965" y="4954"/>
                </a:lnTo>
                <a:lnTo>
                  <a:pt x="6965" y="4968"/>
                </a:lnTo>
                <a:lnTo>
                  <a:pt x="6968" y="4967"/>
                </a:lnTo>
                <a:lnTo>
                  <a:pt x="6971" y="4966"/>
                </a:lnTo>
                <a:lnTo>
                  <a:pt x="6975" y="4965"/>
                </a:lnTo>
                <a:lnTo>
                  <a:pt x="6978" y="4962"/>
                </a:lnTo>
                <a:lnTo>
                  <a:pt x="6986" y="4957"/>
                </a:lnTo>
                <a:lnTo>
                  <a:pt x="6994" y="4950"/>
                </a:lnTo>
                <a:lnTo>
                  <a:pt x="7010" y="4934"/>
                </a:lnTo>
                <a:lnTo>
                  <a:pt x="7025" y="4919"/>
                </a:lnTo>
                <a:lnTo>
                  <a:pt x="7033" y="4913"/>
                </a:lnTo>
                <a:lnTo>
                  <a:pt x="7039" y="4910"/>
                </a:lnTo>
                <a:lnTo>
                  <a:pt x="7042" y="4909"/>
                </a:lnTo>
                <a:lnTo>
                  <a:pt x="7045" y="4908"/>
                </a:lnTo>
                <a:lnTo>
                  <a:pt x="7048" y="4909"/>
                </a:lnTo>
                <a:lnTo>
                  <a:pt x="7050" y="4910"/>
                </a:lnTo>
                <a:lnTo>
                  <a:pt x="7053" y="4912"/>
                </a:lnTo>
                <a:lnTo>
                  <a:pt x="7055" y="4915"/>
                </a:lnTo>
                <a:lnTo>
                  <a:pt x="7057" y="4919"/>
                </a:lnTo>
                <a:lnTo>
                  <a:pt x="7058" y="4925"/>
                </a:lnTo>
                <a:lnTo>
                  <a:pt x="7060" y="4938"/>
                </a:lnTo>
                <a:lnTo>
                  <a:pt x="7061" y="4957"/>
                </a:lnTo>
                <a:lnTo>
                  <a:pt x="7067" y="4958"/>
                </a:lnTo>
                <a:lnTo>
                  <a:pt x="7074" y="4960"/>
                </a:lnTo>
                <a:lnTo>
                  <a:pt x="7083" y="4963"/>
                </a:lnTo>
                <a:lnTo>
                  <a:pt x="7092" y="4968"/>
                </a:lnTo>
                <a:lnTo>
                  <a:pt x="7101" y="4974"/>
                </a:lnTo>
                <a:lnTo>
                  <a:pt x="7111" y="4981"/>
                </a:lnTo>
                <a:lnTo>
                  <a:pt x="7122" y="4988"/>
                </a:lnTo>
                <a:lnTo>
                  <a:pt x="7132" y="4997"/>
                </a:lnTo>
                <a:lnTo>
                  <a:pt x="7142" y="5005"/>
                </a:lnTo>
                <a:lnTo>
                  <a:pt x="7151" y="5014"/>
                </a:lnTo>
                <a:lnTo>
                  <a:pt x="7160" y="5024"/>
                </a:lnTo>
                <a:lnTo>
                  <a:pt x="7168" y="5034"/>
                </a:lnTo>
                <a:lnTo>
                  <a:pt x="7175" y="5044"/>
                </a:lnTo>
                <a:lnTo>
                  <a:pt x="7180" y="5054"/>
                </a:lnTo>
                <a:lnTo>
                  <a:pt x="7185" y="5064"/>
                </a:lnTo>
                <a:lnTo>
                  <a:pt x="7188" y="5073"/>
                </a:lnTo>
                <a:lnTo>
                  <a:pt x="7175" y="5074"/>
                </a:lnTo>
                <a:lnTo>
                  <a:pt x="7166" y="5077"/>
                </a:lnTo>
                <a:lnTo>
                  <a:pt x="7162" y="5078"/>
                </a:lnTo>
                <a:lnTo>
                  <a:pt x="7159" y="5080"/>
                </a:lnTo>
                <a:lnTo>
                  <a:pt x="7157" y="5082"/>
                </a:lnTo>
                <a:lnTo>
                  <a:pt x="7155" y="5085"/>
                </a:lnTo>
                <a:lnTo>
                  <a:pt x="7152" y="5091"/>
                </a:lnTo>
                <a:lnTo>
                  <a:pt x="7151" y="5097"/>
                </a:lnTo>
                <a:lnTo>
                  <a:pt x="7152" y="5104"/>
                </a:lnTo>
                <a:lnTo>
                  <a:pt x="7153" y="5111"/>
                </a:lnTo>
                <a:lnTo>
                  <a:pt x="7156" y="5125"/>
                </a:lnTo>
                <a:lnTo>
                  <a:pt x="7158" y="5137"/>
                </a:lnTo>
                <a:lnTo>
                  <a:pt x="7157" y="5141"/>
                </a:lnTo>
                <a:lnTo>
                  <a:pt x="7155" y="5145"/>
                </a:lnTo>
                <a:lnTo>
                  <a:pt x="7154" y="5146"/>
                </a:lnTo>
                <a:lnTo>
                  <a:pt x="7151" y="5147"/>
                </a:lnTo>
                <a:lnTo>
                  <a:pt x="7149" y="5148"/>
                </a:lnTo>
                <a:lnTo>
                  <a:pt x="7145" y="5148"/>
                </a:lnTo>
                <a:lnTo>
                  <a:pt x="7145" y="5155"/>
                </a:lnTo>
                <a:lnTo>
                  <a:pt x="7144" y="5160"/>
                </a:lnTo>
                <a:lnTo>
                  <a:pt x="7141" y="5165"/>
                </a:lnTo>
                <a:lnTo>
                  <a:pt x="7138" y="5170"/>
                </a:lnTo>
                <a:lnTo>
                  <a:pt x="7135" y="5173"/>
                </a:lnTo>
                <a:lnTo>
                  <a:pt x="7130" y="5176"/>
                </a:lnTo>
                <a:lnTo>
                  <a:pt x="7125" y="5179"/>
                </a:lnTo>
                <a:lnTo>
                  <a:pt x="7118" y="5181"/>
                </a:lnTo>
                <a:lnTo>
                  <a:pt x="7106" y="5184"/>
                </a:lnTo>
                <a:lnTo>
                  <a:pt x="7091" y="5185"/>
                </a:lnTo>
                <a:lnTo>
                  <a:pt x="7075" y="5184"/>
                </a:lnTo>
                <a:lnTo>
                  <a:pt x="7059" y="5182"/>
                </a:lnTo>
                <a:lnTo>
                  <a:pt x="7025" y="5176"/>
                </a:lnTo>
                <a:lnTo>
                  <a:pt x="6991" y="5169"/>
                </a:lnTo>
                <a:lnTo>
                  <a:pt x="6963" y="5162"/>
                </a:lnTo>
                <a:lnTo>
                  <a:pt x="6944" y="5159"/>
                </a:lnTo>
                <a:lnTo>
                  <a:pt x="6939" y="5179"/>
                </a:lnTo>
                <a:lnTo>
                  <a:pt x="6932" y="5197"/>
                </a:lnTo>
                <a:lnTo>
                  <a:pt x="6924" y="5212"/>
                </a:lnTo>
                <a:lnTo>
                  <a:pt x="6914" y="5226"/>
                </a:lnTo>
                <a:lnTo>
                  <a:pt x="6904" y="5239"/>
                </a:lnTo>
                <a:lnTo>
                  <a:pt x="6892" y="5250"/>
                </a:lnTo>
                <a:lnTo>
                  <a:pt x="6879" y="5259"/>
                </a:lnTo>
                <a:lnTo>
                  <a:pt x="6864" y="5266"/>
                </a:lnTo>
                <a:lnTo>
                  <a:pt x="6849" y="5272"/>
                </a:lnTo>
                <a:lnTo>
                  <a:pt x="6834" y="5276"/>
                </a:lnTo>
                <a:lnTo>
                  <a:pt x="6817" y="5280"/>
                </a:lnTo>
                <a:lnTo>
                  <a:pt x="6800" y="5282"/>
                </a:lnTo>
                <a:lnTo>
                  <a:pt x="6782" y="5284"/>
                </a:lnTo>
                <a:lnTo>
                  <a:pt x="6763" y="5284"/>
                </a:lnTo>
                <a:lnTo>
                  <a:pt x="6744" y="5284"/>
                </a:lnTo>
                <a:lnTo>
                  <a:pt x="6724" y="5283"/>
                </a:lnTo>
                <a:lnTo>
                  <a:pt x="6643" y="5277"/>
                </a:lnTo>
                <a:lnTo>
                  <a:pt x="6559" y="5270"/>
                </a:lnTo>
                <a:lnTo>
                  <a:pt x="6538" y="5269"/>
                </a:lnTo>
                <a:lnTo>
                  <a:pt x="6518" y="5268"/>
                </a:lnTo>
                <a:lnTo>
                  <a:pt x="6498" y="5268"/>
                </a:lnTo>
                <a:lnTo>
                  <a:pt x="6477" y="5269"/>
                </a:lnTo>
                <a:lnTo>
                  <a:pt x="6458" y="5271"/>
                </a:lnTo>
                <a:lnTo>
                  <a:pt x="6440" y="5273"/>
                </a:lnTo>
                <a:lnTo>
                  <a:pt x="6421" y="5277"/>
                </a:lnTo>
                <a:lnTo>
                  <a:pt x="6404" y="5282"/>
                </a:lnTo>
                <a:lnTo>
                  <a:pt x="6395" y="5285"/>
                </a:lnTo>
                <a:lnTo>
                  <a:pt x="6385" y="5289"/>
                </a:lnTo>
                <a:lnTo>
                  <a:pt x="6375" y="5295"/>
                </a:lnTo>
                <a:lnTo>
                  <a:pt x="6364" y="5301"/>
                </a:lnTo>
                <a:lnTo>
                  <a:pt x="6341" y="5316"/>
                </a:lnTo>
                <a:lnTo>
                  <a:pt x="6318" y="5335"/>
                </a:lnTo>
                <a:lnTo>
                  <a:pt x="6294" y="5356"/>
                </a:lnTo>
                <a:lnTo>
                  <a:pt x="6270" y="5379"/>
                </a:lnTo>
                <a:lnTo>
                  <a:pt x="6247" y="5404"/>
                </a:lnTo>
                <a:lnTo>
                  <a:pt x="6223" y="5430"/>
                </a:lnTo>
                <a:lnTo>
                  <a:pt x="6201" y="5456"/>
                </a:lnTo>
                <a:lnTo>
                  <a:pt x="6180" y="5485"/>
                </a:lnTo>
                <a:lnTo>
                  <a:pt x="6162" y="5512"/>
                </a:lnTo>
                <a:lnTo>
                  <a:pt x="6145" y="5539"/>
                </a:lnTo>
                <a:lnTo>
                  <a:pt x="6138" y="5552"/>
                </a:lnTo>
                <a:lnTo>
                  <a:pt x="6131" y="5565"/>
                </a:lnTo>
                <a:lnTo>
                  <a:pt x="6125" y="5578"/>
                </a:lnTo>
                <a:lnTo>
                  <a:pt x="6120" y="5590"/>
                </a:lnTo>
                <a:lnTo>
                  <a:pt x="6116" y="5602"/>
                </a:lnTo>
                <a:lnTo>
                  <a:pt x="6112" y="5614"/>
                </a:lnTo>
                <a:lnTo>
                  <a:pt x="6109" y="5625"/>
                </a:lnTo>
                <a:lnTo>
                  <a:pt x="6107" y="5635"/>
                </a:lnTo>
                <a:lnTo>
                  <a:pt x="6119" y="5635"/>
                </a:lnTo>
                <a:lnTo>
                  <a:pt x="6130" y="5634"/>
                </a:lnTo>
                <a:lnTo>
                  <a:pt x="6140" y="5633"/>
                </a:lnTo>
                <a:lnTo>
                  <a:pt x="6150" y="5631"/>
                </a:lnTo>
                <a:lnTo>
                  <a:pt x="6168" y="5626"/>
                </a:lnTo>
                <a:lnTo>
                  <a:pt x="6186" y="5619"/>
                </a:lnTo>
                <a:lnTo>
                  <a:pt x="6203" y="5611"/>
                </a:lnTo>
                <a:lnTo>
                  <a:pt x="6219" y="5601"/>
                </a:lnTo>
                <a:lnTo>
                  <a:pt x="6234" y="5590"/>
                </a:lnTo>
                <a:lnTo>
                  <a:pt x="6251" y="5579"/>
                </a:lnTo>
                <a:lnTo>
                  <a:pt x="6281" y="5556"/>
                </a:lnTo>
                <a:lnTo>
                  <a:pt x="6312" y="5534"/>
                </a:lnTo>
                <a:lnTo>
                  <a:pt x="6329" y="5523"/>
                </a:lnTo>
                <a:lnTo>
                  <a:pt x="6346" y="5513"/>
                </a:lnTo>
                <a:lnTo>
                  <a:pt x="6365" y="5505"/>
                </a:lnTo>
                <a:lnTo>
                  <a:pt x="6383" y="5497"/>
                </a:lnTo>
                <a:lnTo>
                  <a:pt x="6399" y="5497"/>
                </a:lnTo>
                <a:lnTo>
                  <a:pt x="6412" y="5495"/>
                </a:lnTo>
                <a:lnTo>
                  <a:pt x="6425" y="5492"/>
                </a:lnTo>
                <a:lnTo>
                  <a:pt x="6437" y="5489"/>
                </a:lnTo>
                <a:lnTo>
                  <a:pt x="6447" y="5485"/>
                </a:lnTo>
                <a:lnTo>
                  <a:pt x="6457" y="5479"/>
                </a:lnTo>
                <a:lnTo>
                  <a:pt x="6467" y="5473"/>
                </a:lnTo>
                <a:lnTo>
                  <a:pt x="6476" y="5468"/>
                </a:lnTo>
                <a:lnTo>
                  <a:pt x="6495" y="5456"/>
                </a:lnTo>
                <a:lnTo>
                  <a:pt x="6515" y="5444"/>
                </a:lnTo>
                <a:lnTo>
                  <a:pt x="6526" y="5438"/>
                </a:lnTo>
                <a:lnTo>
                  <a:pt x="6537" y="5432"/>
                </a:lnTo>
                <a:lnTo>
                  <a:pt x="6550" y="5427"/>
                </a:lnTo>
                <a:lnTo>
                  <a:pt x="6563" y="5423"/>
                </a:lnTo>
                <a:lnTo>
                  <a:pt x="6564" y="5427"/>
                </a:lnTo>
                <a:lnTo>
                  <a:pt x="6564" y="5430"/>
                </a:lnTo>
                <a:lnTo>
                  <a:pt x="6565" y="5432"/>
                </a:lnTo>
                <a:lnTo>
                  <a:pt x="6567" y="5434"/>
                </a:lnTo>
                <a:lnTo>
                  <a:pt x="6570" y="5437"/>
                </a:lnTo>
                <a:lnTo>
                  <a:pt x="6574" y="5439"/>
                </a:lnTo>
                <a:lnTo>
                  <a:pt x="6578" y="5441"/>
                </a:lnTo>
                <a:lnTo>
                  <a:pt x="6581" y="5444"/>
                </a:lnTo>
                <a:lnTo>
                  <a:pt x="6582" y="5446"/>
                </a:lnTo>
                <a:lnTo>
                  <a:pt x="6583" y="5448"/>
                </a:lnTo>
                <a:lnTo>
                  <a:pt x="6584" y="5451"/>
                </a:lnTo>
                <a:lnTo>
                  <a:pt x="6584" y="5455"/>
                </a:lnTo>
                <a:lnTo>
                  <a:pt x="6571" y="5455"/>
                </a:lnTo>
                <a:lnTo>
                  <a:pt x="6559" y="5456"/>
                </a:lnTo>
                <a:lnTo>
                  <a:pt x="6548" y="5457"/>
                </a:lnTo>
                <a:lnTo>
                  <a:pt x="6539" y="5459"/>
                </a:lnTo>
                <a:lnTo>
                  <a:pt x="6531" y="5461"/>
                </a:lnTo>
                <a:lnTo>
                  <a:pt x="6524" y="5464"/>
                </a:lnTo>
                <a:lnTo>
                  <a:pt x="6518" y="5467"/>
                </a:lnTo>
                <a:lnTo>
                  <a:pt x="6513" y="5471"/>
                </a:lnTo>
                <a:lnTo>
                  <a:pt x="6509" y="5475"/>
                </a:lnTo>
                <a:lnTo>
                  <a:pt x="6506" y="5479"/>
                </a:lnTo>
                <a:lnTo>
                  <a:pt x="6503" y="5485"/>
                </a:lnTo>
                <a:lnTo>
                  <a:pt x="6502" y="5490"/>
                </a:lnTo>
                <a:lnTo>
                  <a:pt x="6502" y="5495"/>
                </a:lnTo>
                <a:lnTo>
                  <a:pt x="6502" y="5501"/>
                </a:lnTo>
                <a:lnTo>
                  <a:pt x="6503" y="5507"/>
                </a:lnTo>
                <a:lnTo>
                  <a:pt x="6504" y="5513"/>
                </a:lnTo>
                <a:lnTo>
                  <a:pt x="6509" y="5526"/>
                </a:lnTo>
                <a:lnTo>
                  <a:pt x="6515" y="5539"/>
                </a:lnTo>
                <a:lnTo>
                  <a:pt x="6523" y="5553"/>
                </a:lnTo>
                <a:lnTo>
                  <a:pt x="6532" y="5567"/>
                </a:lnTo>
                <a:lnTo>
                  <a:pt x="6551" y="5596"/>
                </a:lnTo>
                <a:lnTo>
                  <a:pt x="6569" y="5624"/>
                </a:lnTo>
                <a:lnTo>
                  <a:pt x="6577" y="5636"/>
                </a:lnTo>
                <a:lnTo>
                  <a:pt x="6585" y="5647"/>
                </a:lnTo>
                <a:lnTo>
                  <a:pt x="6593" y="5658"/>
                </a:lnTo>
                <a:lnTo>
                  <a:pt x="6602" y="5667"/>
                </a:lnTo>
                <a:lnTo>
                  <a:pt x="6610" y="5675"/>
                </a:lnTo>
                <a:lnTo>
                  <a:pt x="6620" y="5683"/>
                </a:lnTo>
                <a:lnTo>
                  <a:pt x="6629" y="5690"/>
                </a:lnTo>
                <a:lnTo>
                  <a:pt x="6638" y="5696"/>
                </a:lnTo>
                <a:lnTo>
                  <a:pt x="6648" y="5701"/>
                </a:lnTo>
                <a:lnTo>
                  <a:pt x="6658" y="5705"/>
                </a:lnTo>
                <a:lnTo>
                  <a:pt x="6668" y="5709"/>
                </a:lnTo>
                <a:lnTo>
                  <a:pt x="6678" y="5712"/>
                </a:lnTo>
                <a:lnTo>
                  <a:pt x="6688" y="5715"/>
                </a:lnTo>
                <a:lnTo>
                  <a:pt x="6699" y="5717"/>
                </a:lnTo>
                <a:lnTo>
                  <a:pt x="6710" y="5718"/>
                </a:lnTo>
                <a:lnTo>
                  <a:pt x="6722" y="5719"/>
                </a:lnTo>
                <a:lnTo>
                  <a:pt x="6718" y="5727"/>
                </a:lnTo>
                <a:lnTo>
                  <a:pt x="6713" y="5734"/>
                </a:lnTo>
                <a:lnTo>
                  <a:pt x="6707" y="5739"/>
                </a:lnTo>
                <a:lnTo>
                  <a:pt x="6700" y="5742"/>
                </a:lnTo>
                <a:lnTo>
                  <a:pt x="6685" y="5747"/>
                </a:lnTo>
                <a:lnTo>
                  <a:pt x="6669" y="5749"/>
                </a:lnTo>
                <a:lnTo>
                  <a:pt x="6661" y="5750"/>
                </a:lnTo>
                <a:lnTo>
                  <a:pt x="6653" y="5752"/>
                </a:lnTo>
                <a:lnTo>
                  <a:pt x="6646" y="5754"/>
                </a:lnTo>
                <a:lnTo>
                  <a:pt x="6640" y="5757"/>
                </a:lnTo>
                <a:lnTo>
                  <a:pt x="6635" y="5761"/>
                </a:lnTo>
                <a:lnTo>
                  <a:pt x="6631" y="5767"/>
                </a:lnTo>
                <a:lnTo>
                  <a:pt x="6628" y="5774"/>
                </a:lnTo>
                <a:lnTo>
                  <a:pt x="6627" y="5783"/>
                </a:lnTo>
                <a:lnTo>
                  <a:pt x="6601" y="5792"/>
                </a:lnTo>
                <a:lnTo>
                  <a:pt x="6572" y="5805"/>
                </a:lnTo>
                <a:lnTo>
                  <a:pt x="6559" y="5812"/>
                </a:lnTo>
                <a:lnTo>
                  <a:pt x="6547" y="5819"/>
                </a:lnTo>
                <a:lnTo>
                  <a:pt x="6542" y="5823"/>
                </a:lnTo>
                <a:lnTo>
                  <a:pt x="6537" y="5827"/>
                </a:lnTo>
                <a:lnTo>
                  <a:pt x="6534" y="5831"/>
                </a:lnTo>
                <a:lnTo>
                  <a:pt x="6531" y="5836"/>
                </a:lnTo>
                <a:lnTo>
                  <a:pt x="6478" y="5841"/>
                </a:lnTo>
                <a:lnTo>
                  <a:pt x="6446" y="5844"/>
                </a:lnTo>
                <a:lnTo>
                  <a:pt x="6436" y="5844"/>
                </a:lnTo>
                <a:lnTo>
                  <a:pt x="6430" y="5844"/>
                </a:lnTo>
                <a:lnTo>
                  <a:pt x="6428" y="5844"/>
                </a:lnTo>
                <a:lnTo>
                  <a:pt x="6426" y="5843"/>
                </a:lnTo>
                <a:lnTo>
                  <a:pt x="6426" y="5842"/>
                </a:lnTo>
                <a:lnTo>
                  <a:pt x="6426" y="5841"/>
                </a:lnTo>
                <a:lnTo>
                  <a:pt x="6430" y="5836"/>
                </a:lnTo>
                <a:lnTo>
                  <a:pt x="6439" y="5827"/>
                </a:lnTo>
                <a:lnTo>
                  <a:pt x="6444" y="5822"/>
                </a:lnTo>
                <a:lnTo>
                  <a:pt x="6449" y="5816"/>
                </a:lnTo>
                <a:lnTo>
                  <a:pt x="6453" y="5809"/>
                </a:lnTo>
                <a:lnTo>
                  <a:pt x="6456" y="5802"/>
                </a:lnTo>
                <a:lnTo>
                  <a:pt x="6458" y="5805"/>
                </a:lnTo>
                <a:lnTo>
                  <a:pt x="6461" y="5806"/>
                </a:lnTo>
                <a:lnTo>
                  <a:pt x="6465" y="5808"/>
                </a:lnTo>
                <a:lnTo>
                  <a:pt x="6469" y="5809"/>
                </a:lnTo>
                <a:lnTo>
                  <a:pt x="6480" y="5809"/>
                </a:lnTo>
                <a:lnTo>
                  <a:pt x="6492" y="5808"/>
                </a:lnTo>
                <a:lnTo>
                  <a:pt x="6513" y="5806"/>
                </a:lnTo>
                <a:lnTo>
                  <a:pt x="6521" y="5804"/>
                </a:lnTo>
                <a:lnTo>
                  <a:pt x="6517" y="5788"/>
                </a:lnTo>
                <a:lnTo>
                  <a:pt x="6513" y="5775"/>
                </a:lnTo>
                <a:lnTo>
                  <a:pt x="6509" y="5766"/>
                </a:lnTo>
                <a:lnTo>
                  <a:pt x="6507" y="5759"/>
                </a:lnTo>
                <a:lnTo>
                  <a:pt x="6505" y="5753"/>
                </a:lnTo>
                <a:lnTo>
                  <a:pt x="6505" y="5747"/>
                </a:lnTo>
                <a:lnTo>
                  <a:pt x="6507" y="5740"/>
                </a:lnTo>
                <a:lnTo>
                  <a:pt x="6511" y="5730"/>
                </a:lnTo>
                <a:lnTo>
                  <a:pt x="6494" y="5730"/>
                </a:lnTo>
                <a:lnTo>
                  <a:pt x="6477" y="5731"/>
                </a:lnTo>
                <a:lnTo>
                  <a:pt x="6463" y="5734"/>
                </a:lnTo>
                <a:lnTo>
                  <a:pt x="6449" y="5737"/>
                </a:lnTo>
                <a:lnTo>
                  <a:pt x="6422" y="5744"/>
                </a:lnTo>
                <a:lnTo>
                  <a:pt x="6398" y="5752"/>
                </a:lnTo>
                <a:lnTo>
                  <a:pt x="6374" y="5759"/>
                </a:lnTo>
                <a:lnTo>
                  <a:pt x="6350" y="5766"/>
                </a:lnTo>
                <a:lnTo>
                  <a:pt x="6338" y="5769"/>
                </a:lnTo>
                <a:lnTo>
                  <a:pt x="6325" y="5771"/>
                </a:lnTo>
                <a:lnTo>
                  <a:pt x="6312" y="5772"/>
                </a:lnTo>
                <a:lnTo>
                  <a:pt x="6299" y="5773"/>
                </a:lnTo>
                <a:lnTo>
                  <a:pt x="6292" y="5783"/>
                </a:lnTo>
                <a:lnTo>
                  <a:pt x="6281" y="5796"/>
                </a:lnTo>
                <a:lnTo>
                  <a:pt x="6267" y="5810"/>
                </a:lnTo>
                <a:lnTo>
                  <a:pt x="6252" y="5824"/>
                </a:lnTo>
                <a:lnTo>
                  <a:pt x="6235" y="5837"/>
                </a:lnTo>
                <a:lnTo>
                  <a:pt x="6219" y="5847"/>
                </a:lnTo>
                <a:lnTo>
                  <a:pt x="6212" y="5851"/>
                </a:lnTo>
                <a:lnTo>
                  <a:pt x="6205" y="5854"/>
                </a:lnTo>
                <a:lnTo>
                  <a:pt x="6198" y="5856"/>
                </a:lnTo>
                <a:lnTo>
                  <a:pt x="6193" y="5857"/>
                </a:lnTo>
                <a:lnTo>
                  <a:pt x="6183" y="5884"/>
                </a:lnTo>
                <a:lnTo>
                  <a:pt x="6172" y="5914"/>
                </a:lnTo>
                <a:lnTo>
                  <a:pt x="6158" y="5946"/>
                </a:lnTo>
                <a:lnTo>
                  <a:pt x="6143" y="5978"/>
                </a:lnTo>
                <a:lnTo>
                  <a:pt x="6134" y="5995"/>
                </a:lnTo>
                <a:lnTo>
                  <a:pt x="6126" y="6010"/>
                </a:lnTo>
                <a:lnTo>
                  <a:pt x="6116" y="6024"/>
                </a:lnTo>
                <a:lnTo>
                  <a:pt x="6106" y="6038"/>
                </a:lnTo>
                <a:lnTo>
                  <a:pt x="6096" y="6050"/>
                </a:lnTo>
                <a:lnTo>
                  <a:pt x="6086" y="6062"/>
                </a:lnTo>
                <a:lnTo>
                  <a:pt x="6076" y="6071"/>
                </a:lnTo>
                <a:lnTo>
                  <a:pt x="6066" y="6079"/>
                </a:lnTo>
                <a:lnTo>
                  <a:pt x="6065" y="6078"/>
                </a:lnTo>
                <a:lnTo>
                  <a:pt x="6064" y="6077"/>
                </a:lnTo>
                <a:lnTo>
                  <a:pt x="6062" y="6078"/>
                </a:lnTo>
                <a:lnTo>
                  <a:pt x="6059" y="6078"/>
                </a:lnTo>
                <a:lnTo>
                  <a:pt x="6052" y="6081"/>
                </a:lnTo>
                <a:lnTo>
                  <a:pt x="6042" y="6087"/>
                </a:lnTo>
                <a:lnTo>
                  <a:pt x="6019" y="6102"/>
                </a:lnTo>
                <a:lnTo>
                  <a:pt x="5993" y="6121"/>
                </a:lnTo>
                <a:lnTo>
                  <a:pt x="5966" y="6140"/>
                </a:lnTo>
                <a:lnTo>
                  <a:pt x="5944" y="6157"/>
                </a:lnTo>
                <a:lnTo>
                  <a:pt x="5936" y="6164"/>
                </a:lnTo>
                <a:lnTo>
                  <a:pt x="5930" y="6170"/>
                </a:lnTo>
                <a:lnTo>
                  <a:pt x="5929" y="6172"/>
                </a:lnTo>
                <a:lnTo>
                  <a:pt x="5928" y="6173"/>
                </a:lnTo>
                <a:lnTo>
                  <a:pt x="5927" y="6174"/>
                </a:lnTo>
                <a:lnTo>
                  <a:pt x="5928" y="6174"/>
                </a:lnTo>
                <a:lnTo>
                  <a:pt x="5922" y="6184"/>
                </a:lnTo>
                <a:lnTo>
                  <a:pt x="5915" y="6192"/>
                </a:lnTo>
                <a:lnTo>
                  <a:pt x="5909" y="6200"/>
                </a:lnTo>
                <a:lnTo>
                  <a:pt x="5903" y="6207"/>
                </a:lnTo>
                <a:lnTo>
                  <a:pt x="5891" y="6219"/>
                </a:lnTo>
                <a:lnTo>
                  <a:pt x="5879" y="6231"/>
                </a:lnTo>
                <a:lnTo>
                  <a:pt x="5873" y="6239"/>
                </a:lnTo>
                <a:lnTo>
                  <a:pt x="5868" y="6246"/>
                </a:lnTo>
                <a:lnTo>
                  <a:pt x="5863" y="6254"/>
                </a:lnTo>
                <a:lnTo>
                  <a:pt x="5857" y="6263"/>
                </a:lnTo>
                <a:lnTo>
                  <a:pt x="5853" y="6273"/>
                </a:lnTo>
                <a:lnTo>
                  <a:pt x="5849" y="6284"/>
                </a:lnTo>
                <a:lnTo>
                  <a:pt x="5846" y="6297"/>
                </a:lnTo>
                <a:lnTo>
                  <a:pt x="5843" y="6312"/>
                </a:lnTo>
                <a:lnTo>
                  <a:pt x="5841" y="6314"/>
                </a:lnTo>
                <a:lnTo>
                  <a:pt x="5838" y="6320"/>
                </a:lnTo>
                <a:lnTo>
                  <a:pt x="5834" y="6327"/>
                </a:lnTo>
                <a:lnTo>
                  <a:pt x="5830" y="6337"/>
                </a:lnTo>
                <a:lnTo>
                  <a:pt x="5822" y="6362"/>
                </a:lnTo>
                <a:lnTo>
                  <a:pt x="5813" y="6391"/>
                </a:lnTo>
                <a:lnTo>
                  <a:pt x="5804" y="6419"/>
                </a:lnTo>
                <a:lnTo>
                  <a:pt x="5797" y="6446"/>
                </a:lnTo>
                <a:lnTo>
                  <a:pt x="5792" y="6467"/>
                </a:lnTo>
                <a:lnTo>
                  <a:pt x="5791" y="6481"/>
                </a:lnTo>
                <a:lnTo>
                  <a:pt x="5785" y="6485"/>
                </a:lnTo>
                <a:lnTo>
                  <a:pt x="5779" y="6491"/>
                </a:lnTo>
                <a:lnTo>
                  <a:pt x="5773" y="6497"/>
                </a:lnTo>
                <a:lnTo>
                  <a:pt x="5768" y="6504"/>
                </a:lnTo>
                <a:lnTo>
                  <a:pt x="5757" y="6518"/>
                </a:lnTo>
                <a:lnTo>
                  <a:pt x="5748" y="6535"/>
                </a:lnTo>
                <a:lnTo>
                  <a:pt x="5727" y="6571"/>
                </a:lnTo>
                <a:lnTo>
                  <a:pt x="5707" y="6608"/>
                </a:lnTo>
                <a:lnTo>
                  <a:pt x="5696" y="6628"/>
                </a:lnTo>
                <a:lnTo>
                  <a:pt x="5685" y="6645"/>
                </a:lnTo>
                <a:lnTo>
                  <a:pt x="5678" y="6653"/>
                </a:lnTo>
                <a:lnTo>
                  <a:pt x="5672" y="6661"/>
                </a:lnTo>
                <a:lnTo>
                  <a:pt x="5666" y="6668"/>
                </a:lnTo>
                <a:lnTo>
                  <a:pt x="5659" y="6675"/>
                </a:lnTo>
                <a:lnTo>
                  <a:pt x="5651" y="6681"/>
                </a:lnTo>
                <a:lnTo>
                  <a:pt x="5644" y="6687"/>
                </a:lnTo>
                <a:lnTo>
                  <a:pt x="5636" y="6692"/>
                </a:lnTo>
                <a:lnTo>
                  <a:pt x="5628" y="6696"/>
                </a:lnTo>
                <a:lnTo>
                  <a:pt x="5619" y="6699"/>
                </a:lnTo>
                <a:lnTo>
                  <a:pt x="5610" y="6701"/>
                </a:lnTo>
                <a:lnTo>
                  <a:pt x="5599" y="6703"/>
                </a:lnTo>
                <a:lnTo>
                  <a:pt x="5589" y="6703"/>
                </a:lnTo>
                <a:lnTo>
                  <a:pt x="5583" y="6716"/>
                </a:lnTo>
                <a:lnTo>
                  <a:pt x="5576" y="6727"/>
                </a:lnTo>
                <a:lnTo>
                  <a:pt x="5569" y="6738"/>
                </a:lnTo>
                <a:lnTo>
                  <a:pt x="5562" y="6749"/>
                </a:lnTo>
                <a:lnTo>
                  <a:pt x="5547" y="6766"/>
                </a:lnTo>
                <a:lnTo>
                  <a:pt x="5531" y="6782"/>
                </a:lnTo>
                <a:lnTo>
                  <a:pt x="5500" y="6810"/>
                </a:lnTo>
                <a:lnTo>
                  <a:pt x="5468" y="6836"/>
                </a:lnTo>
                <a:lnTo>
                  <a:pt x="5454" y="6849"/>
                </a:lnTo>
                <a:lnTo>
                  <a:pt x="5441" y="6863"/>
                </a:lnTo>
                <a:lnTo>
                  <a:pt x="5435" y="6872"/>
                </a:lnTo>
                <a:lnTo>
                  <a:pt x="5429" y="6880"/>
                </a:lnTo>
                <a:lnTo>
                  <a:pt x="5424" y="6889"/>
                </a:lnTo>
                <a:lnTo>
                  <a:pt x="5419" y="6898"/>
                </a:lnTo>
                <a:lnTo>
                  <a:pt x="5415" y="6908"/>
                </a:lnTo>
                <a:lnTo>
                  <a:pt x="5411" y="6918"/>
                </a:lnTo>
                <a:lnTo>
                  <a:pt x="5407" y="6929"/>
                </a:lnTo>
                <a:lnTo>
                  <a:pt x="5405" y="6941"/>
                </a:lnTo>
                <a:lnTo>
                  <a:pt x="5402" y="6955"/>
                </a:lnTo>
                <a:lnTo>
                  <a:pt x="5401" y="6968"/>
                </a:lnTo>
                <a:lnTo>
                  <a:pt x="5400" y="6983"/>
                </a:lnTo>
                <a:lnTo>
                  <a:pt x="5399" y="7000"/>
                </a:lnTo>
                <a:lnTo>
                  <a:pt x="5403" y="7005"/>
                </a:lnTo>
                <a:lnTo>
                  <a:pt x="5407" y="7010"/>
                </a:lnTo>
                <a:lnTo>
                  <a:pt x="5410" y="7016"/>
                </a:lnTo>
                <a:lnTo>
                  <a:pt x="5413" y="7023"/>
                </a:lnTo>
                <a:lnTo>
                  <a:pt x="5420" y="7038"/>
                </a:lnTo>
                <a:lnTo>
                  <a:pt x="5426" y="7055"/>
                </a:lnTo>
                <a:lnTo>
                  <a:pt x="5431" y="7074"/>
                </a:lnTo>
                <a:lnTo>
                  <a:pt x="5436" y="7094"/>
                </a:lnTo>
                <a:lnTo>
                  <a:pt x="5441" y="7116"/>
                </a:lnTo>
                <a:lnTo>
                  <a:pt x="5445" y="7139"/>
                </a:lnTo>
                <a:lnTo>
                  <a:pt x="5452" y="7183"/>
                </a:lnTo>
                <a:lnTo>
                  <a:pt x="5458" y="7225"/>
                </a:lnTo>
                <a:lnTo>
                  <a:pt x="5464" y="7263"/>
                </a:lnTo>
                <a:lnTo>
                  <a:pt x="5469" y="7291"/>
                </a:lnTo>
                <a:lnTo>
                  <a:pt x="5475" y="7318"/>
                </a:lnTo>
                <a:lnTo>
                  <a:pt x="5480" y="7346"/>
                </a:lnTo>
                <a:lnTo>
                  <a:pt x="5483" y="7359"/>
                </a:lnTo>
                <a:lnTo>
                  <a:pt x="5484" y="7372"/>
                </a:lnTo>
                <a:lnTo>
                  <a:pt x="5484" y="7384"/>
                </a:lnTo>
                <a:lnTo>
                  <a:pt x="5483" y="7395"/>
                </a:lnTo>
                <a:lnTo>
                  <a:pt x="5480" y="7406"/>
                </a:lnTo>
                <a:lnTo>
                  <a:pt x="5476" y="7415"/>
                </a:lnTo>
                <a:lnTo>
                  <a:pt x="5474" y="7419"/>
                </a:lnTo>
                <a:lnTo>
                  <a:pt x="5470" y="7423"/>
                </a:lnTo>
                <a:lnTo>
                  <a:pt x="5467" y="7427"/>
                </a:lnTo>
                <a:lnTo>
                  <a:pt x="5463" y="7430"/>
                </a:lnTo>
                <a:lnTo>
                  <a:pt x="5458" y="7433"/>
                </a:lnTo>
                <a:lnTo>
                  <a:pt x="5453" y="7436"/>
                </a:lnTo>
                <a:lnTo>
                  <a:pt x="5448" y="7438"/>
                </a:lnTo>
                <a:lnTo>
                  <a:pt x="5441" y="7440"/>
                </a:lnTo>
                <a:lnTo>
                  <a:pt x="5427" y="7443"/>
                </a:lnTo>
                <a:lnTo>
                  <a:pt x="5410" y="7444"/>
                </a:lnTo>
                <a:lnTo>
                  <a:pt x="5395" y="7422"/>
                </a:lnTo>
                <a:lnTo>
                  <a:pt x="5371" y="7383"/>
                </a:lnTo>
                <a:lnTo>
                  <a:pt x="5359" y="7362"/>
                </a:lnTo>
                <a:lnTo>
                  <a:pt x="5349" y="7344"/>
                </a:lnTo>
                <a:lnTo>
                  <a:pt x="5346" y="7338"/>
                </a:lnTo>
                <a:lnTo>
                  <a:pt x="5344" y="7333"/>
                </a:lnTo>
                <a:lnTo>
                  <a:pt x="5344" y="7331"/>
                </a:lnTo>
                <a:lnTo>
                  <a:pt x="5344" y="7329"/>
                </a:lnTo>
                <a:lnTo>
                  <a:pt x="5345" y="7328"/>
                </a:lnTo>
                <a:lnTo>
                  <a:pt x="5346" y="7328"/>
                </a:lnTo>
                <a:lnTo>
                  <a:pt x="5345" y="7319"/>
                </a:lnTo>
                <a:lnTo>
                  <a:pt x="5343" y="7308"/>
                </a:lnTo>
                <a:lnTo>
                  <a:pt x="5341" y="7295"/>
                </a:lnTo>
                <a:lnTo>
                  <a:pt x="5337" y="7281"/>
                </a:lnTo>
                <a:lnTo>
                  <a:pt x="5327" y="7249"/>
                </a:lnTo>
                <a:lnTo>
                  <a:pt x="5315" y="7214"/>
                </a:lnTo>
                <a:lnTo>
                  <a:pt x="5302" y="7181"/>
                </a:lnTo>
                <a:lnTo>
                  <a:pt x="5288" y="7149"/>
                </a:lnTo>
                <a:lnTo>
                  <a:pt x="5281" y="7135"/>
                </a:lnTo>
                <a:lnTo>
                  <a:pt x="5274" y="7122"/>
                </a:lnTo>
                <a:lnTo>
                  <a:pt x="5268" y="7110"/>
                </a:lnTo>
                <a:lnTo>
                  <a:pt x="5262" y="7101"/>
                </a:lnTo>
                <a:lnTo>
                  <a:pt x="5258" y="7095"/>
                </a:lnTo>
                <a:lnTo>
                  <a:pt x="5253" y="7091"/>
                </a:lnTo>
                <a:lnTo>
                  <a:pt x="5249" y="7087"/>
                </a:lnTo>
                <a:lnTo>
                  <a:pt x="5245" y="7084"/>
                </a:lnTo>
                <a:lnTo>
                  <a:pt x="5240" y="7082"/>
                </a:lnTo>
                <a:lnTo>
                  <a:pt x="5235" y="7080"/>
                </a:lnTo>
                <a:lnTo>
                  <a:pt x="5230" y="7078"/>
                </a:lnTo>
                <a:lnTo>
                  <a:pt x="5224" y="7077"/>
                </a:lnTo>
                <a:lnTo>
                  <a:pt x="5213" y="7076"/>
                </a:lnTo>
                <a:lnTo>
                  <a:pt x="5202" y="7077"/>
                </a:lnTo>
                <a:lnTo>
                  <a:pt x="5190" y="7078"/>
                </a:lnTo>
                <a:lnTo>
                  <a:pt x="5179" y="7080"/>
                </a:lnTo>
                <a:lnTo>
                  <a:pt x="5154" y="7085"/>
                </a:lnTo>
                <a:lnTo>
                  <a:pt x="5130" y="7089"/>
                </a:lnTo>
                <a:lnTo>
                  <a:pt x="5117" y="7090"/>
                </a:lnTo>
                <a:lnTo>
                  <a:pt x="5105" y="7090"/>
                </a:lnTo>
                <a:lnTo>
                  <a:pt x="5093" y="7088"/>
                </a:lnTo>
                <a:lnTo>
                  <a:pt x="5081" y="7084"/>
                </a:lnTo>
                <a:lnTo>
                  <a:pt x="5078" y="7080"/>
                </a:lnTo>
                <a:lnTo>
                  <a:pt x="5075" y="7075"/>
                </a:lnTo>
                <a:lnTo>
                  <a:pt x="5070" y="7071"/>
                </a:lnTo>
                <a:lnTo>
                  <a:pt x="5065" y="7067"/>
                </a:lnTo>
                <a:lnTo>
                  <a:pt x="5053" y="7059"/>
                </a:lnTo>
                <a:lnTo>
                  <a:pt x="5038" y="7053"/>
                </a:lnTo>
                <a:lnTo>
                  <a:pt x="5021" y="7047"/>
                </a:lnTo>
                <a:lnTo>
                  <a:pt x="5003" y="7042"/>
                </a:lnTo>
                <a:lnTo>
                  <a:pt x="4984" y="7037"/>
                </a:lnTo>
                <a:lnTo>
                  <a:pt x="4963" y="7034"/>
                </a:lnTo>
                <a:lnTo>
                  <a:pt x="4921" y="7028"/>
                </a:lnTo>
                <a:lnTo>
                  <a:pt x="4881" y="7024"/>
                </a:lnTo>
                <a:lnTo>
                  <a:pt x="4845" y="7022"/>
                </a:lnTo>
                <a:lnTo>
                  <a:pt x="4817" y="7021"/>
                </a:lnTo>
                <a:lnTo>
                  <a:pt x="4821" y="7035"/>
                </a:lnTo>
                <a:lnTo>
                  <a:pt x="4827" y="7046"/>
                </a:lnTo>
                <a:lnTo>
                  <a:pt x="4834" y="7057"/>
                </a:lnTo>
                <a:lnTo>
                  <a:pt x="4840" y="7067"/>
                </a:lnTo>
                <a:lnTo>
                  <a:pt x="4847" y="7077"/>
                </a:lnTo>
                <a:lnTo>
                  <a:pt x="4853" y="7088"/>
                </a:lnTo>
                <a:lnTo>
                  <a:pt x="4856" y="7094"/>
                </a:lnTo>
                <a:lnTo>
                  <a:pt x="4857" y="7101"/>
                </a:lnTo>
                <a:lnTo>
                  <a:pt x="4859" y="7108"/>
                </a:lnTo>
                <a:lnTo>
                  <a:pt x="4860" y="7116"/>
                </a:lnTo>
                <a:lnTo>
                  <a:pt x="4823" y="7133"/>
                </a:lnTo>
                <a:lnTo>
                  <a:pt x="4792" y="7146"/>
                </a:lnTo>
                <a:lnTo>
                  <a:pt x="4777" y="7151"/>
                </a:lnTo>
                <a:lnTo>
                  <a:pt x="4761" y="7154"/>
                </a:lnTo>
                <a:lnTo>
                  <a:pt x="4752" y="7155"/>
                </a:lnTo>
                <a:lnTo>
                  <a:pt x="4743" y="7156"/>
                </a:lnTo>
                <a:lnTo>
                  <a:pt x="4734" y="7155"/>
                </a:lnTo>
                <a:lnTo>
                  <a:pt x="4723" y="7154"/>
                </a:lnTo>
                <a:lnTo>
                  <a:pt x="4707" y="7151"/>
                </a:lnTo>
                <a:lnTo>
                  <a:pt x="4694" y="7147"/>
                </a:lnTo>
                <a:lnTo>
                  <a:pt x="4681" y="7142"/>
                </a:lnTo>
                <a:lnTo>
                  <a:pt x="4671" y="7136"/>
                </a:lnTo>
                <a:lnTo>
                  <a:pt x="4653" y="7122"/>
                </a:lnTo>
                <a:lnTo>
                  <a:pt x="4636" y="7108"/>
                </a:lnTo>
                <a:lnTo>
                  <a:pt x="4628" y="7101"/>
                </a:lnTo>
                <a:lnTo>
                  <a:pt x="4620" y="7095"/>
                </a:lnTo>
                <a:lnTo>
                  <a:pt x="4611" y="7089"/>
                </a:lnTo>
                <a:lnTo>
                  <a:pt x="4600" y="7085"/>
                </a:lnTo>
                <a:lnTo>
                  <a:pt x="4588" y="7081"/>
                </a:lnTo>
                <a:lnTo>
                  <a:pt x="4575" y="7079"/>
                </a:lnTo>
                <a:lnTo>
                  <a:pt x="4559" y="7078"/>
                </a:lnTo>
                <a:lnTo>
                  <a:pt x="4542" y="7079"/>
                </a:lnTo>
                <a:lnTo>
                  <a:pt x="4527" y="7081"/>
                </a:lnTo>
                <a:lnTo>
                  <a:pt x="4512" y="7083"/>
                </a:lnTo>
                <a:lnTo>
                  <a:pt x="4498" y="7087"/>
                </a:lnTo>
                <a:lnTo>
                  <a:pt x="4484" y="7091"/>
                </a:lnTo>
                <a:lnTo>
                  <a:pt x="4469" y="7095"/>
                </a:lnTo>
                <a:lnTo>
                  <a:pt x="4456" y="7100"/>
                </a:lnTo>
                <a:lnTo>
                  <a:pt x="4443" y="7106"/>
                </a:lnTo>
                <a:lnTo>
                  <a:pt x="4430" y="7112"/>
                </a:lnTo>
                <a:lnTo>
                  <a:pt x="4418" y="7120"/>
                </a:lnTo>
                <a:lnTo>
                  <a:pt x="4406" y="7127"/>
                </a:lnTo>
                <a:lnTo>
                  <a:pt x="4395" y="7135"/>
                </a:lnTo>
                <a:lnTo>
                  <a:pt x="4384" y="7143"/>
                </a:lnTo>
                <a:lnTo>
                  <a:pt x="4373" y="7152"/>
                </a:lnTo>
                <a:lnTo>
                  <a:pt x="4363" y="7161"/>
                </a:lnTo>
                <a:lnTo>
                  <a:pt x="4353" y="7171"/>
                </a:lnTo>
                <a:lnTo>
                  <a:pt x="4343" y="7181"/>
                </a:lnTo>
                <a:lnTo>
                  <a:pt x="4334" y="7192"/>
                </a:lnTo>
                <a:lnTo>
                  <a:pt x="4326" y="7203"/>
                </a:lnTo>
                <a:lnTo>
                  <a:pt x="4318" y="7214"/>
                </a:lnTo>
                <a:lnTo>
                  <a:pt x="4311" y="7226"/>
                </a:lnTo>
                <a:lnTo>
                  <a:pt x="4304" y="7238"/>
                </a:lnTo>
                <a:lnTo>
                  <a:pt x="4298" y="7251"/>
                </a:lnTo>
                <a:lnTo>
                  <a:pt x="4292" y="7264"/>
                </a:lnTo>
                <a:lnTo>
                  <a:pt x="4287" y="7277"/>
                </a:lnTo>
                <a:lnTo>
                  <a:pt x="4282" y="7291"/>
                </a:lnTo>
                <a:lnTo>
                  <a:pt x="4278" y="7304"/>
                </a:lnTo>
                <a:lnTo>
                  <a:pt x="4275" y="7318"/>
                </a:lnTo>
                <a:lnTo>
                  <a:pt x="4272" y="7332"/>
                </a:lnTo>
                <a:lnTo>
                  <a:pt x="4270" y="7347"/>
                </a:lnTo>
                <a:lnTo>
                  <a:pt x="4268" y="7361"/>
                </a:lnTo>
                <a:lnTo>
                  <a:pt x="4267" y="7377"/>
                </a:lnTo>
                <a:lnTo>
                  <a:pt x="4267" y="7392"/>
                </a:lnTo>
                <a:lnTo>
                  <a:pt x="4265" y="7393"/>
                </a:lnTo>
                <a:lnTo>
                  <a:pt x="4264" y="7395"/>
                </a:lnTo>
                <a:lnTo>
                  <a:pt x="4262" y="7400"/>
                </a:lnTo>
                <a:lnTo>
                  <a:pt x="4261" y="7405"/>
                </a:lnTo>
                <a:lnTo>
                  <a:pt x="4259" y="7421"/>
                </a:lnTo>
                <a:lnTo>
                  <a:pt x="4257" y="7441"/>
                </a:lnTo>
                <a:lnTo>
                  <a:pt x="4255" y="7491"/>
                </a:lnTo>
                <a:lnTo>
                  <a:pt x="4254" y="7550"/>
                </a:lnTo>
                <a:lnTo>
                  <a:pt x="4255" y="7608"/>
                </a:lnTo>
                <a:lnTo>
                  <a:pt x="4257" y="7659"/>
                </a:lnTo>
                <a:lnTo>
                  <a:pt x="4259" y="7680"/>
                </a:lnTo>
                <a:lnTo>
                  <a:pt x="4261" y="7695"/>
                </a:lnTo>
                <a:lnTo>
                  <a:pt x="4262" y="7701"/>
                </a:lnTo>
                <a:lnTo>
                  <a:pt x="4264" y="7705"/>
                </a:lnTo>
                <a:lnTo>
                  <a:pt x="4265" y="7708"/>
                </a:lnTo>
                <a:lnTo>
                  <a:pt x="4267" y="7709"/>
                </a:lnTo>
                <a:lnTo>
                  <a:pt x="4268" y="7725"/>
                </a:lnTo>
                <a:lnTo>
                  <a:pt x="4270" y="7741"/>
                </a:lnTo>
                <a:lnTo>
                  <a:pt x="4274" y="7757"/>
                </a:lnTo>
                <a:lnTo>
                  <a:pt x="4278" y="7772"/>
                </a:lnTo>
                <a:lnTo>
                  <a:pt x="4284" y="7787"/>
                </a:lnTo>
                <a:lnTo>
                  <a:pt x="4290" y="7801"/>
                </a:lnTo>
                <a:lnTo>
                  <a:pt x="4297" y="7815"/>
                </a:lnTo>
                <a:lnTo>
                  <a:pt x="4304" y="7828"/>
                </a:lnTo>
                <a:lnTo>
                  <a:pt x="4317" y="7854"/>
                </a:lnTo>
                <a:lnTo>
                  <a:pt x="4329" y="7881"/>
                </a:lnTo>
                <a:lnTo>
                  <a:pt x="4333" y="7894"/>
                </a:lnTo>
                <a:lnTo>
                  <a:pt x="4337" y="7906"/>
                </a:lnTo>
                <a:lnTo>
                  <a:pt x="4339" y="7919"/>
                </a:lnTo>
                <a:lnTo>
                  <a:pt x="4340" y="7931"/>
                </a:lnTo>
                <a:lnTo>
                  <a:pt x="4348" y="7932"/>
                </a:lnTo>
                <a:lnTo>
                  <a:pt x="4355" y="7933"/>
                </a:lnTo>
                <a:lnTo>
                  <a:pt x="4362" y="7935"/>
                </a:lnTo>
                <a:lnTo>
                  <a:pt x="4368" y="7938"/>
                </a:lnTo>
                <a:lnTo>
                  <a:pt x="4382" y="7946"/>
                </a:lnTo>
                <a:lnTo>
                  <a:pt x="4396" y="7956"/>
                </a:lnTo>
                <a:lnTo>
                  <a:pt x="4410" y="7968"/>
                </a:lnTo>
                <a:lnTo>
                  <a:pt x="4424" y="7981"/>
                </a:lnTo>
                <a:lnTo>
                  <a:pt x="4438" y="7995"/>
                </a:lnTo>
                <a:lnTo>
                  <a:pt x="4452" y="8011"/>
                </a:lnTo>
                <a:lnTo>
                  <a:pt x="4466" y="8026"/>
                </a:lnTo>
                <a:lnTo>
                  <a:pt x="4481" y="8040"/>
                </a:lnTo>
                <a:lnTo>
                  <a:pt x="4495" y="8053"/>
                </a:lnTo>
                <a:lnTo>
                  <a:pt x="4509" y="8065"/>
                </a:lnTo>
                <a:lnTo>
                  <a:pt x="4523" y="8075"/>
                </a:lnTo>
                <a:lnTo>
                  <a:pt x="4536" y="8083"/>
                </a:lnTo>
                <a:lnTo>
                  <a:pt x="4543" y="8086"/>
                </a:lnTo>
                <a:lnTo>
                  <a:pt x="4550" y="8088"/>
                </a:lnTo>
                <a:lnTo>
                  <a:pt x="4556" y="8089"/>
                </a:lnTo>
                <a:lnTo>
                  <a:pt x="4563" y="8090"/>
                </a:lnTo>
                <a:lnTo>
                  <a:pt x="4564" y="8100"/>
                </a:lnTo>
                <a:lnTo>
                  <a:pt x="4564" y="8108"/>
                </a:lnTo>
                <a:lnTo>
                  <a:pt x="4563" y="8116"/>
                </a:lnTo>
                <a:lnTo>
                  <a:pt x="4563" y="8123"/>
                </a:lnTo>
                <a:lnTo>
                  <a:pt x="4562" y="8130"/>
                </a:lnTo>
                <a:lnTo>
                  <a:pt x="4562" y="8135"/>
                </a:lnTo>
                <a:lnTo>
                  <a:pt x="4562" y="8140"/>
                </a:lnTo>
                <a:lnTo>
                  <a:pt x="4563" y="8144"/>
                </a:lnTo>
                <a:lnTo>
                  <a:pt x="4566" y="8147"/>
                </a:lnTo>
                <a:lnTo>
                  <a:pt x="4570" y="8149"/>
                </a:lnTo>
                <a:lnTo>
                  <a:pt x="4576" y="8151"/>
                </a:lnTo>
                <a:lnTo>
                  <a:pt x="4585" y="8152"/>
                </a:lnTo>
                <a:lnTo>
                  <a:pt x="4610" y="8154"/>
                </a:lnTo>
                <a:lnTo>
                  <a:pt x="4648" y="8154"/>
                </a:lnTo>
                <a:lnTo>
                  <a:pt x="4658" y="8144"/>
                </a:lnTo>
                <a:lnTo>
                  <a:pt x="4681" y="8125"/>
                </a:lnTo>
                <a:lnTo>
                  <a:pt x="4694" y="8113"/>
                </a:lnTo>
                <a:lnTo>
                  <a:pt x="4706" y="8099"/>
                </a:lnTo>
                <a:lnTo>
                  <a:pt x="4711" y="8092"/>
                </a:lnTo>
                <a:lnTo>
                  <a:pt x="4716" y="8084"/>
                </a:lnTo>
                <a:lnTo>
                  <a:pt x="4719" y="8077"/>
                </a:lnTo>
                <a:lnTo>
                  <a:pt x="4721" y="8069"/>
                </a:lnTo>
                <a:lnTo>
                  <a:pt x="4714" y="8066"/>
                </a:lnTo>
                <a:lnTo>
                  <a:pt x="4708" y="8064"/>
                </a:lnTo>
                <a:lnTo>
                  <a:pt x="4702" y="8061"/>
                </a:lnTo>
                <a:lnTo>
                  <a:pt x="4698" y="8057"/>
                </a:lnTo>
                <a:lnTo>
                  <a:pt x="4694" y="8054"/>
                </a:lnTo>
                <a:lnTo>
                  <a:pt x="4691" y="8049"/>
                </a:lnTo>
                <a:lnTo>
                  <a:pt x="4689" y="8045"/>
                </a:lnTo>
                <a:lnTo>
                  <a:pt x="4687" y="8040"/>
                </a:lnTo>
                <a:lnTo>
                  <a:pt x="4686" y="8035"/>
                </a:lnTo>
                <a:lnTo>
                  <a:pt x="4686" y="8030"/>
                </a:lnTo>
                <a:lnTo>
                  <a:pt x="4687" y="8024"/>
                </a:lnTo>
                <a:lnTo>
                  <a:pt x="4688" y="8019"/>
                </a:lnTo>
                <a:lnTo>
                  <a:pt x="4691" y="8007"/>
                </a:lnTo>
                <a:lnTo>
                  <a:pt x="4697" y="7994"/>
                </a:lnTo>
                <a:lnTo>
                  <a:pt x="4704" y="7983"/>
                </a:lnTo>
                <a:lnTo>
                  <a:pt x="4712" y="7971"/>
                </a:lnTo>
                <a:lnTo>
                  <a:pt x="4721" y="7960"/>
                </a:lnTo>
                <a:lnTo>
                  <a:pt x="4733" y="7950"/>
                </a:lnTo>
                <a:lnTo>
                  <a:pt x="4743" y="7940"/>
                </a:lnTo>
                <a:lnTo>
                  <a:pt x="4754" y="7932"/>
                </a:lnTo>
                <a:lnTo>
                  <a:pt x="4765" y="7926"/>
                </a:lnTo>
                <a:lnTo>
                  <a:pt x="4775" y="7921"/>
                </a:lnTo>
                <a:lnTo>
                  <a:pt x="4775" y="7927"/>
                </a:lnTo>
                <a:lnTo>
                  <a:pt x="4776" y="7933"/>
                </a:lnTo>
                <a:lnTo>
                  <a:pt x="4777" y="7937"/>
                </a:lnTo>
                <a:lnTo>
                  <a:pt x="4779" y="7941"/>
                </a:lnTo>
                <a:lnTo>
                  <a:pt x="4782" y="7944"/>
                </a:lnTo>
                <a:lnTo>
                  <a:pt x="4784" y="7946"/>
                </a:lnTo>
                <a:lnTo>
                  <a:pt x="4788" y="7948"/>
                </a:lnTo>
                <a:lnTo>
                  <a:pt x="4791" y="7948"/>
                </a:lnTo>
                <a:lnTo>
                  <a:pt x="4799" y="7948"/>
                </a:lnTo>
                <a:lnTo>
                  <a:pt x="4808" y="7945"/>
                </a:lnTo>
                <a:lnTo>
                  <a:pt x="4817" y="7941"/>
                </a:lnTo>
                <a:lnTo>
                  <a:pt x="4827" y="7936"/>
                </a:lnTo>
                <a:lnTo>
                  <a:pt x="4837" y="7929"/>
                </a:lnTo>
                <a:lnTo>
                  <a:pt x="4846" y="7922"/>
                </a:lnTo>
                <a:lnTo>
                  <a:pt x="4856" y="7914"/>
                </a:lnTo>
                <a:lnTo>
                  <a:pt x="4864" y="7907"/>
                </a:lnTo>
                <a:lnTo>
                  <a:pt x="4876" y="7896"/>
                </a:lnTo>
                <a:lnTo>
                  <a:pt x="4881" y="7889"/>
                </a:lnTo>
                <a:lnTo>
                  <a:pt x="4904" y="7881"/>
                </a:lnTo>
                <a:lnTo>
                  <a:pt x="4943" y="7865"/>
                </a:lnTo>
                <a:lnTo>
                  <a:pt x="4981" y="7852"/>
                </a:lnTo>
                <a:lnTo>
                  <a:pt x="4997" y="7846"/>
                </a:lnTo>
                <a:lnTo>
                  <a:pt x="4998" y="7839"/>
                </a:lnTo>
                <a:lnTo>
                  <a:pt x="4998" y="7832"/>
                </a:lnTo>
                <a:lnTo>
                  <a:pt x="4999" y="7827"/>
                </a:lnTo>
                <a:lnTo>
                  <a:pt x="5001" y="7822"/>
                </a:lnTo>
                <a:lnTo>
                  <a:pt x="5002" y="7819"/>
                </a:lnTo>
                <a:lnTo>
                  <a:pt x="5004" y="7816"/>
                </a:lnTo>
                <a:lnTo>
                  <a:pt x="5006" y="7814"/>
                </a:lnTo>
                <a:lnTo>
                  <a:pt x="5009" y="7812"/>
                </a:lnTo>
                <a:lnTo>
                  <a:pt x="5011" y="7812"/>
                </a:lnTo>
                <a:lnTo>
                  <a:pt x="5014" y="7812"/>
                </a:lnTo>
                <a:lnTo>
                  <a:pt x="5017" y="7812"/>
                </a:lnTo>
                <a:lnTo>
                  <a:pt x="5019" y="7813"/>
                </a:lnTo>
                <a:lnTo>
                  <a:pt x="5025" y="7817"/>
                </a:lnTo>
                <a:lnTo>
                  <a:pt x="5029" y="7823"/>
                </a:lnTo>
                <a:lnTo>
                  <a:pt x="5034" y="7830"/>
                </a:lnTo>
                <a:lnTo>
                  <a:pt x="5037" y="7838"/>
                </a:lnTo>
                <a:lnTo>
                  <a:pt x="5039" y="7847"/>
                </a:lnTo>
                <a:lnTo>
                  <a:pt x="5039" y="7856"/>
                </a:lnTo>
                <a:lnTo>
                  <a:pt x="5039" y="7860"/>
                </a:lnTo>
                <a:lnTo>
                  <a:pt x="5038" y="7865"/>
                </a:lnTo>
                <a:lnTo>
                  <a:pt x="5036" y="7869"/>
                </a:lnTo>
                <a:lnTo>
                  <a:pt x="5034" y="7873"/>
                </a:lnTo>
                <a:lnTo>
                  <a:pt x="5031" y="7878"/>
                </a:lnTo>
                <a:lnTo>
                  <a:pt x="5027" y="7882"/>
                </a:lnTo>
                <a:lnTo>
                  <a:pt x="5023" y="7886"/>
                </a:lnTo>
                <a:lnTo>
                  <a:pt x="5018" y="7889"/>
                </a:lnTo>
                <a:lnTo>
                  <a:pt x="5013" y="7889"/>
                </a:lnTo>
                <a:lnTo>
                  <a:pt x="5008" y="7890"/>
                </a:lnTo>
                <a:lnTo>
                  <a:pt x="5004" y="7892"/>
                </a:lnTo>
                <a:lnTo>
                  <a:pt x="4999" y="7893"/>
                </a:lnTo>
                <a:lnTo>
                  <a:pt x="4992" y="7898"/>
                </a:lnTo>
                <a:lnTo>
                  <a:pt x="4985" y="7904"/>
                </a:lnTo>
                <a:lnTo>
                  <a:pt x="4980" y="7911"/>
                </a:lnTo>
                <a:lnTo>
                  <a:pt x="4974" y="7919"/>
                </a:lnTo>
                <a:lnTo>
                  <a:pt x="4970" y="7928"/>
                </a:lnTo>
                <a:lnTo>
                  <a:pt x="4966" y="7937"/>
                </a:lnTo>
                <a:lnTo>
                  <a:pt x="4959" y="7954"/>
                </a:lnTo>
                <a:lnTo>
                  <a:pt x="4952" y="7969"/>
                </a:lnTo>
                <a:lnTo>
                  <a:pt x="4948" y="7975"/>
                </a:lnTo>
                <a:lnTo>
                  <a:pt x="4944" y="7980"/>
                </a:lnTo>
                <a:lnTo>
                  <a:pt x="4941" y="7982"/>
                </a:lnTo>
                <a:lnTo>
                  <a:pt x="4939" y="7983"/>
                </a:lnTo>
                <a:lnTo>
                  <a:pt x="4936" y="7984"/>
                </a:lnTo>
                <a:lnTo>
                  <a:pt x="4933" y="7984"/>
                </a:lnTo>
                <a:lnTo>
                  <a:pt x="4928" y="8010"/>
                </a:lnTo>
                <a:lnTo>
                  <a:pt x="4921" y="8034"/>
                </a:lnTo>
                <a:lnTo>
                  <a:pt x="4914" y="8058"/>
                </a:lnTo>
                <a:lnTo>
                  <a:pt x="4906" y="8082"/>
                </a:lnTo>
                <a:lnTo>
                  <a:pt x="4898" y="8105"/>
                </a:lnTo>
                <a:lnTo>
                  <a:pt x="4891" y="8130"/>
                </a:lnTo>
                <a:lnTo>
                  <a:pt x="4884" y="8153"/>
                </a:lnTo>
                <a:lnTo>
                  <a:pt x="4877" y="8178"/>
                </a:lnTo>
                <a:lnTo>
                  <a:pt x="4874" y="8192"/>
                </a:lnTo>
                <a:lnTo>
                  <a:pt x="4873" y="8205"/>
                </a:lnTo>
                <a:lnTo>
                  <a:pt x="4874" y="8216"/>
                </a:lnTo>
                <a:lnTo>
                  <a:pt x="4875" y="8227"/>
                </a:lnTo>
                <a:lnTo>
                  <a:pt x="4878" y="8236"/>
                </a:lnTo>
                <a:lnTo>
                  <a:pt x="4882" y="8245"/>
                </a:lnTo>
                <a:lnTo>
                  <a:pt x="4885" y="8255"/>
                </a:lnTo>
                <a:lnTo>
                  <a:pt x="4890" y="8263"/>
                </a:lnTo>
                <a:lnTo>
                  <a:pt x="4894" y="8271"/>
                </a:lnTo>
                <a:lnTo>
                  <a:pt x="4898" y="8279"/>
                </a:lnTo>
                <a:lnTo>
                  <a:pt x="4901" y="8288"/>
                </a:lnTo>
                <a:lnTo>
                  <a:pt x="4904" y="8297"/>
                </a:lnTo>
                <a:lnTo>
                  <a:pt x="4905" y="8307"/>
                </a:lnTo>
                <a:lnTo>
                  <a:pt x="4906" y="8318"/>
                </a:lnTo>
                <a:lnTo>
                  <a:pt x="4905" y="8330"/>
                </a:lnTo>
                <a:lnTo>
                  <a:pt x="4902" y="8344"/>
                </a:lnTo>
                <a:lnTo>
                  <a:pt x="4917" y="8346"/>
                </a:lnTo>
                <a:lnTo>
                  <a:pt x="4933" y="8348"/>
                </a:lnTo>
                <a:lnTo>
                  <a:pt x="4949" y="8349"/>
                </a:lnTo>
                <a:lnTo>
                  <a:pt x="4965" y="8350"/>
                </a:lnTo>
                <a:lnTo>
                  <a:pt x="4997" y="8351"/>
                </a:lnTo>
                <a:lnTo>
                  <a:pt x="5029" y="8350"/>
                </a:lnTo>
                <a:lnTo>
                  <a:pt x="5060" y="8348"/>
                </a:lnTo>
                <a:lnTo>
                  <a:pt x="5092" y="8346"/>
                </a:lnTo>
                <a:lnTo>
                  <a:pt x="5124" y="8345"/>
                </a:lnTo>
                <a:lnTo>
                  <a:pt x="5156" y="8344"/>
                </a:lnTo>
                <a:lnTo>
                  <a:pt x="5155" y="8333"/>
                </a:lnTo>
                <a:lnTo>
                  <a:pt x="5153" y="8322"/>
                </a:lnTo>
                <a:lnTo>
                  <a:pt x="5150" y="8312"/>
                </a:lnTo>
                <a:lnTo>
                  <a:pt x="5145" y="8302"/>
                </a:lnTo>
                <a:lnTo>
                  <a:pt x="5156" y="8303"/>
                </a:lnTo>
                <a:lnTo>
                  <a:pt x="5165" y="8304"/>
                </a:lnTo>
                <a:lnTo>
                  <a:pt x="5174" y="8308"/>
                </a:lnTo>
                <a:lnTo>
                  <a:pt x="5181" y="8312"/>
                </a:lnTo>
                <a:lnTo>
                  <a:pt x="5187" y="8317"/>
                </a:lnTo>
                <a:lnTo>
                  <a:pt x="5192" y="8323"/>
                </a:lnTo>
                <a:lnTo>
                  <a:pt x="5196" y="8330"/>
                </a:lnTo>
                <a:lnTo>
                  <a:pt x="5199" y="8338"/>
                </a:lnTo>
                <a:lnTo>
                  <a:pt x="5202" y="8346"/>
                </a:lnTo>
                <a:lnTo>
                  <a:pt x="5204" y="8355"/>
                </a:lnTo>
                <a:lnTo>
                  <a:pt x="5205" y="8365"/>
                </a:lnTo>
                <a:lnTo>
                  <a:pt x="5206" y="8375"/>
                </a:lnTo>
                <a:lnTo>
                  <a:pt x="5206" y="8397"/>
                </a:lnTo>
                <a:lnTo>
                  <a:pt x="5205" y="8418"/>
                </a:lnTo>
                <a:lnTo>
                  <a:pt x="5204" y="8440"/>
                </a:lnTo>
                <a:lnTo>
                  <a:pt x="5202" y="8461"/>
                </a:lnTo>
                <a:lnTo>
                  <a:pt x="5202" y="8480"/>
                </a:lnTo>
                <a:lnTo>
                  <a:pt x="5202" y="8497"/>
                </a:lnTo>
                <a:lnTo>
                  <a:pt x="5203" y="8506"/>
                </a:lnTo>
                <a:lnTo>
                  <a:pt x="5205" y="8513"/>
                </a:lnTo>
                <a:lnTo>
                  <a:pt x="5207" y="8519"/>
                </a:lnTo>
                <a:lnTo>
                  <a:pt x="5210" y="8525"/>
                </a:lnTo>
                <a:lnTo>
                  <a:pt x="5213" y="8529"/>
                </a:lnTo>
                <a:lnTo>
                  <a:pt x="5218" y="8532"/>
                </a:lnTo>
                <a:lnTo>
                  <a:pt x="5223" y="8534"/>
                </a:lnTo>
                <a:lnTo>
                  <a:pt x="5230" y="8535"/>
                </a:lnTo>
                <a:lnTo>
                  <a:pt x="5231" y="8551"/>
                </a:lnTo>
                <a:lnTo>
                  <a:pt x="5232" y="8566"/>
                </a:lnTo>
                <a:lnTo>
                  <a:pt x="5234" y="8582"/>
                </a:lnTo>
                <a:lnTo>
                  <a:pt x="5237" y="8597"/>
                </a:lnTo>
                <a:lnTo>
                  <a:pt x="5244" y="8625"/>
                </a:lnTo>
                <a:lnTo>
                  <a:pt x="5251" y="8653"/>
                </a:lnTo>
                <a:lnTo>
                  <a:pt x="5259" y="8678"/>
                </a:lnTo>
                <a:lnTo>
                  <a:pt x="5266" y="8702"/>
                </a:lnTo>
                <a:lnTo>
                  <a:pt x="5268" y="8714"/>
                </a:lnTo>
                <a:lnTo>
                  <a:pt x="5270" y="8725"/>
                </a:lnTo>
                <a:lnTo>
                  <a:pt x="5272" y="8735"/>
                </a:lnTo>
                <a:lnTo>
                  <a:pt x="5272" y="8746"/>
                </a:lnTo>
                <a:lnTo>
                  <a:pt x="5282" y="8753"/>
                </a:lnTo>
                <a:lnTo>
                  <a:pt x="5292" y="8762"/>
                </a:lnTo>
                <a:lnTo>
                  <a:pt x="5301" y="8769"/>
                </a:lnTo>
                <a:lnTo>
                  <a:pt x="5310" y="8778"/>
                </a:lnTo>
                <a:lnTo>
                  <a:pt x="5318" y="8786"/>
                </a:lnTo>
                <a:lnTo>
                  <a:pt x="5325" y="8795"/>
                </a:lnTo>
                <a:lnTo>
                  <a:pt x="5331" y="8804"/>
                </a:lnTo>
                <a:lnTo>
                  <a:pt x="5337" y="8814"/>
                </a:lnTo>
                <a:lnTo>
                  <a:pt x="5341" y="8824"/>
                </a:lnTo>
                <a:lnTo>
                  <a:pt x="5345" y="8834"/>
                </a:lnTo>
                <a:lnTo>
                  <a:pt x="5348" y="8845"/>
                </a:lnTo>
                <a:lnTo>
                  <a:pt x="5350" y="8856"/>
                </a:lnTo>
                <a:lnTo>
                  <a:pt x="5350" y="8867"/>
                </a:lnTo>
                <a:lnTo>
                  <a:pt x="5350" y="8879"/>
                </a:lnTo>
                <a:lnTo>
                  <a:pt x="5348" y="8892"/>
                </a:lnTo>
                <a:lnTo>
                  <a:pt x="5346" y="8905"/>
                </a:lnTo>
                <a:lnTo>
                  <a:pt x="5376" y="8909"/>
                </a:lnTo>
                <a:lnTo>
                  <a:pt x="5410" y="8912"/>
                </a:lnTo>
                <a:lnTo>
                  <a:pt x="5429" y="8913"/>
                </a:lnTo>
                <a:lnTo>
                  <a:pt x="5447" y="8913"/>
                </a:lnTo>
                <a:lnTo>
                  <a:pt x="5465" y="8913"/>
                </a:lnTo>
                <a:lnTo>
                  <a:pt x="5484" y="8911"/>
                </a:lnTo>
                <a:lnTo>
                  <a:pt x="5501" y="8909"/>
                </a:lnTo>
                <a:lnTo>
                  <a:pt x="5517" y="8904"/>
                </a:lnTo>
                <a:lnTo>
                  <a:pt x="5524" y="8902"/>
                </a:lnTo>
                <a:lnTo>
                  <a:pt x="5531" y="8899"/>
                </a:lnTo>
                <a:lnTo>
                  <a:pt x="5537" y="8895"/>
                </a:lnTo>
                <a:lnTo>
                  <a:pt x="5543" y="8892"/>
                </a:lnTo>
                <a:lnTo>
                  <a:pt x="5549" y="8887"/>
                </a:lnTo>
                <a:lnTo>
                  <a:pt x="5554" y="8881"/>
                </a:lnTo>
                <a:lnTo>
                  <a:pt x="5558" y="8876"/>
                </a:lnTo>
                <a:lnTo>
                  <a:pt x="5561" y="8870"/>
                </a:lnTo>
                <a:lnTo>
                  <a:pt x="5564" y="8864"/>
                </a:lnTo>
                <a:lnTo>
                  <a:pt x="5566" y="8857"/>
                </a:lnTo>
                <a:lnTo>
                  <a:pt x="5567" y="8849"/>
                </a:lnTo>
                <a:lnTo>
                  <a:pt x="5568" y="8841"/>
                </a:lnTo>
                <a:lnTo>
                  <a:pt x="5587" y="8842"/>
                </a:lnTo>
                <a:lnTo>
                  <a:pt x="5603" y="8844"/>
                </a:lnTo>
                <a:lnTo>
                  <a:pt x="5619" y="8848"/>
                </a:lnTo>
                <a:lnTo>
                  <a:pt x="5631" y="8854"/>
                </a:lnTo>
                <a:lnTo>
                  <a:pt x="5642" y="8860"/>
                </a:lnTo>
                <a:lnTo>
                  <a:pt x="5651" y="8868"/>
                </a:lnTo>
                <a:lnTo>
                  <a:pt x="5658" y="8877"/>
                </a:lnTo>
                <a:lnTo>
                  <a:pt x="5664" y="8888"/>
                </a:lnTo>
                <a:lnTo>
                  <a:pt x="5669" y="8899"/>
                </a:lnTo>
                <a:lnTo>
                  <a:pt x="5673" y="8910"/>
                </a:lnTo>
                <a:lnTo>
                  <a:pt x="5675" y="8922"/>
                </a:lnTo>
                <a:lnTo>
                  <a:pt x="5676" y="8935"/>
                </a:lnTo>
                <a:lnTo>
                  <a:pt x="5677" y="8948"/>
                </a:lnTo>
                <a:lnTo>
                  <a:pt x="5677" y="8962"/>
                </a:lnTo>
                <a:lnTo>
                  <a:pt x="5676" y="8975"/>
                </a:lnTo>
                <a:lnTo>
                  <a:pt x="5674" y="8989"/>
                </a:lnTo>
                <a:lnTo>
                  <a:pt x="5693" y="8988"/>
                </a:lnTo>
                <a:lnTo>
                  <a:pt x="5710" y="8987"/>
                </a:lnTo>
                <a:lnTo>
                  <a:pt x="5725" y="8984"/>
                </a:lnTo>
                <a:lnTo>
                  <a:pt x="5740" y="8980"/>
                </a:lnTo>
                <a:lnTo>
                  <a:pt x="5752" y="8975"/>
                </a:lnTo>
                <a:lnTo>
                  <a:pt x="5762" y="8970"/>
                </a:lnTo>
                <a:lnTo>
                  <a:pt x="5771" y="8963"/>
                </a:lnTo>
                <a:lnTo>
                  <a:pt x="5778" y="8956"/>
                </a:lnTo>
                <a:lnTo>
                  <a:pt x="5785" y="8949"/>
                </a:lnTo>
                <a:lnTo>
                  <a:pt x="5790" y="8940"/>
                </a:lnTo>
                <a:lnTo>
                  <a:pt x="5795" y="8932"/>
                </a:lnTo>
                <a:lnTo>
                  <a:pt x="5798" y="8923"/>
                </a:lnTo>
                <a:lnTo>
                  <a:pt x="5801" y="8913"/>
                </a:lnTo>
                <a:lnTo>
                  <a:pt x="5803" y="8904"/>
                </a:lnTo>
                <a:lnTo>
                  <a:pt x="5804" y="8894"/>
                </a:lnTo>
                <a:lnTo>
                  <a:pt x="5805" y="8884"/>
                </a:lnTo>
                <a:lnTo>
                  <a:pt x="5807" y="8844"/>
                </a:lnTo>
                <a:lnTo>
                  <a:pt x="5809" y="8811"/>
                </a:lnTo>
                <a:lnTo>
                  <a:pt x="5811" y="8804"/>
                </a:lnTo>
                <a:lnTo>
                  <a:pt x="5813" y="8797"/>
                </a:lnTo>
                <a:lnTo>
                  <a:pt x="5816" y="8792"/>
                </a:lnTo>
                <a:lnTo>
                  <a:pt x="5819" y="8787"/>
                </a:lnTo>
                <a:lnTo>
                  <a:pt x="5823" y="8783"/>
                </a:lnTo>
                <a:lnTo>
                  <a:pt x="5829" y="8780"/>
                </a:lnTo>
                <a:lnTo>
                  <a:pt x="5835" y="8779"/>
                </a:lnTo>
                <a:lnTo>
                  <a:pt x="5843" y="8778"/>
                </a:lnTo>
                <a:lnTo>
                  <a:pt x="5846" y="8766"/>
                </a:lnTo>
                <a:lnTo>
                  <a:pt x="5850" y="8758"/>
                </a:lnTo>
                <a:lnTo>
                  <a:pt x="5852" y="8753"/>
                </a:lnTo>
                <a:lnTo>
                  <a:pt x="5855" y="8750"/>
                </a:lnTo>
                <a:lnTo>
                  <a:pt x="5857" y="8748"/>
                </a:lnTo>
                <a:lnTo>
                  <a:pt x="5861" y="8747"/>
                </a:lnTo>
                <a:lnTo>
                  <a:pt x="5864" y="8746"/>
                </a:lnTo>
                <a:lnTo>
                  <a:pt x="5866" y="8746"/>
                </a:lnTo>
                <a:lnTo>
                  <a:pt x="5870" y="8746"/>
                </a:lnTo>
                <a:lnTo>
                  <a:pt x="5873" y="8747"/>
                </a:lnTo>
                <a:lnTo>
                  <a:pt x="5879" y="8752"/>
                </a:lnTo>
                <a:lnTo>
                  <a:pt x="5887" y="8760"/>
                </a:lnTo>
                <a:lnTo>
                  <a:pt x="5895" y="8763"/>
                </a:lnTo>
                <a:lnTo>
                  <a:pt x="5903" y="8765"/>
                </a:lnTo>
                <a:lnTo>
                  <a:pt x="5910" y="8764"/>
                </a:lnTo>
                <a:lnTo>
                  <a:pt x="5918" y="8763"/>
                </a:lnTo>
                <a:lnTo>
                  <a:pt x="5925" y="8760"/>
                </a:lnTo>
                <a:lnTo>
                  <a:pt x="5932" y="8754"/>
                </a:lnTo>
                <a:lnTo>
                  <a:pt x="5939" y="8749"/>
                </a:lnTo>
                <a:lnTo>
                  <a:pt x="5945" y="8743"/>
                </a:lnTo>
                <a:lnTo>
                  <a:pt x="5959" y="8730"/>
                </a:lnTo>
                <a:lnTo>
                  <a:pt x="5972" y="8717"/>
                </a:lnTo>
                <a:lnTo>
                  <a:pt x="5986" y="8704"/>
                </a:lnTo>
                <a:lnTo>
                  <a:pt x="5999" y="8694"/>
                </a:lnTo>
                <a:lnTo>
                  <a:pt x="6011" y="8687"/>
                </a:lnTo>
                <a:lnTo>
                  <a:pt x="6028" y="8677"/>
                </a:lnTo>
                <a:lnTo>
                  <a:pt x="6045" y="8668"/>
                </a:lnTo>
                <a:lnTo>
                  <a:pt x="6055" y="8665"/>
                </a:lnTo>
                <a:lnTo>
                  <a:pt x="6073" y="8674"/>
                </a:lnTo>
                <a:lnTo>
                  <a:pt x="6084" y="8680"/>
                </a:lnTo>
                <a:lnTo>
                  <a:pt x="6088" y="8683"/>
                </a:lnTo>
                <a:lnTo>
                  <a:pt x="6092" y="8686"/>
                </a:lnTo>
                <a:lnTo>
                  <a:pt x="6096" y="8691"/>
                </a:lnTo>
                <a:lnTo>
                  <a:pt x="6100" y="8697"/>
                </a:lnTo>
                <a:lnTo>
                  <a:pt x="6112" y="8697"/>
                </a:lnTo>
                <a:lnTo>
                  <a:pt x="6123" y="8696"/>
                </a:lnTo>
                <a:lnTo>
                  <a:pt x="6133" y="8694"/>
                </a:lnTo>
                <a:lnTo>
                  <a:pt x="6144" y="8691"/>
                </a:lnTo>
                <a:lnTo>
                  <a:pt x="6166" y="8685"/>
                </a:lnTo>
                <a:lnTo>
                  <a:pt x="6187" y="8676"/>
                </a:lnTo>
                <a:lnTo>
                  <a:pt x="6207" y="8666"/>
                </a:lnTo>
                <a:lnTo>
                  <a:pt x="6228" y="8655"/>
                </a:lnTo>
                <a:lnTo>
                  <a:pt x="6248" y="8643"/>
                </a:lnTo>
                <a:lnTo>
                  <a:pt x="6267" y="8629"/>
                </a:lnTo>
                <a:lnTo>
                  <a:pt x="6274" y="8630"/>
                </a:lnTo>
                <a:lnTo>
                  <a:pt x="6280" y="8633"/>
                </a:lnTo>
                <a:lnTo>
                  <a:pt x="6286" y="8636"/>
                </a:lnTo>
                <a:lnTo>
                  <a:pt x="6291" y="8640"/>
                </a:lnTo>
                <a:lnTo>
                  <a:pt x="6296" y="8645"/>
                </a:lnTo>
                <a:lnTo>
                  <a:pt x="6301" y="8649"/>
                </a:lnTo>
                <a:lnTo>
                  <a:pt x="6305" y="8655"/>
                </a:lnTo>
                <a:lnTo>
                  <a:pt x="6309" y="8661"/>
                </a:lnTo>
                <a:lnTo>
                  <a:pt x="6324" y="8689"/>
                </a:lnTo>
                <a:lnTo>
                  <a:pt x="6339" y="8721"/>
                </a:lnTo>
                <a:lnTo>
                  <a:pt x="6347" y="8737"/>
                </a:lnTo>
                <a:lnTo>
                  <a:pt x="6357" y="8753"/>
                </a:lnTo>
                <a:lnTo>
                  <a:pt x="6362" y="8761"/>
                </a:lnTo>
                <a:lnTo>
                  <a:pt x="6369" y="8768"/>
                </a:lnTo>
                <a:lnTo>
                  <a:pt x="6375" y="8775"/>
                </a:lnTo>
                <a:lnTo>
                  <a:pt x="6382" y="8782"/>
                </a:lnTo>
                <a:lnTo>
                  <a:pt x="6389" y="8788"/>
                </a:lnTo>
                <a:lnTo>
                  <a:pt x="6397" y="8793"/>
                </a:lnTo>
                <a:lnTo>
                  <a:pt x="6406" y="8798"/>
                </a:lnTo>
                <a:lnTo>
                  <a:pt x="6415" y="8803"/>
                </a:lnTo>
                <a:lnTo>
                  <a:pt x="6425" y="8807"/>
                </a:lnTo>
                <a:lnTo>
                  <a:pt x="6436" y="8810"/>
                </a:lnTo>
                <a:lnTo>
                  <a:pt x="6448" y="8812"/>
                </a:lnTo>
                <a:lnTo>
                  <a:pt x="6461" y="8813"/>
                </a:lnTo>
                <a:lnTo>
                  <a:pt x="6486" y="8815"/>
                </a:lnTo>
                <a:lnTo>
                  <a:pt x="6516" y="8818"/>
                </a:lnTo>
                <a:lnTo>
                  <a:pt x="6549" y="8820"/>
                </a:lnTo>
                <a:lnTo>
                  <a:pt x="6584" y="8820"/>
                </a:lnTo>
                <a:lnTo>
                  <a:pt x="6601" y="8820"/>
                </a:lnTo>
                <a:lnTo>
                  <a:pt x="6619" y="8820"/>
                </a:lnTo>
                <a:lnTo>
                  <a:pt x="6635" y="8818"/>
                </a:lnTo>
                <a:lnTo>
                  <a:pt x="6651" y="8816"/>
                </a:lnTo>
                <a:lnTo>
                  <a:pt x="6665" y="8814"/>
                </a:lnTo>
                <a:lnTo>
                  <a:pt x="6679" y="8810"/>
                </a:lnTo>
                <a:lnTo>
                  <a:pt x="6690" y="8805"/>
                </a:lnTo>
                <a:lnTo>
                  <a:pt x="6701" y="8799"/>
                </a:lnTo>
                <a:lnTo>
                  <a:pt x="6703" y="8798"/>
                </a:lnTo>
                <a:lnTo>
                  <a:pt x="6707" y="8798"/>
                </a:lnTo>
                <a:lnTo>
                  <a:pt x="6710" y="8799"/>
                </a:lnTo>
                <a:lnTo>
                  <a:pt x="6715" y="8801"/>
                </a:lnTo>
                <a:lnTo>
                  <a:pt x="6724" y="8806"/>
                </a:lnTo>
                <a:lnTo>
                  <a:pt x="6734" y="8812"/>
                </a:lnTo>
                <a:lnTo>
                  <a:pt x="6745" y="8820"/>
                </a:lnTo>
                <a:lnTo>
                  <a:pt x="6754" y="8829"/>
                </a:lnTo>
                <a:lnTo>
                  <a:pt x="6760" y="8837"/>
                </a:lnTo>
                <a:lnTo>
                  <a:pt x="6764" y="8843"/>
                </a:lnTo>
                <a:lnTo>
                  <a:pt x="6772" y="8844"/>
                </a:lnTo>
                <a:lnTo>
                  <a:pt x="6779" y="8845"/>
                </a:lnTo>
                <a:lnTo>
                  <a:pt x="6785" y="8847"/>
                </a:lnTo>
                <a:lnTo>
                  <a:pt x="6791" y="8850"/>
                </a:lnTo>
                <a:lnTo>
                  <a:pt x="6795" y="8853"/>
                </a:lnTo>
                <a:lnTo>
                  <a:pt x="6799" y="8856"/>
                </a:lnTo>
                <a:lnTo>
                  <a:pt x="6802" y="8860"/>
                </a:lnTo>
                <a:lnTo>
                  <a:pt x="6805" y="8864"/>
                </a:lnTo>
                <a:lnTo>
                  <a:pt x="6811" y="8871"/>
                </a:lnTo>
                <a:lnTo>
                  <a:pt x="6815" y="8878"/>
                </a:lnTo>
                <a:lnTo>
                  <a:pt x="6818" y="8880"/>
                </a:lnTo>
                <a:lnTo>
                  <a:pt x="6821" y="8882"/>
                </a:lnTo>
                <a:lnTo>
                  <a:pt x="6824" y="8884"/>
                </a:lnTo>
                <a:lnTo>
                  <a:pt x="6827" y="8884"/>
                </a:lnTo>
                <a:lnTo>
                  <a:pt x="6829" y="8888"/>
                </a:lnTo>
                <a:lnTo>
                  <a:pt x="6831" y="8890"/>
                </a:lnTo>
                <a:lnTo>
                  <a:pt x="6834" y="8893"/>
                </a:lnTo>
                <a:lnTo>
                  <a:pt x="6836" y="8894"/>
                </a:lnTo>
                <a:lnTo>
                  <a:pt x="6839" y="8895"/>
                </a:lnTo>
                <a:lnTo>
                  <a:pt x="6842" y="8896"/>
                </a:lnTo>
                <a:lnTo>
                  <a:pt x="6845" y="8896"/>
                </a:lnTo>
                <a:lnTo>
                  <a:pt x="6848" y="8895"/>
                </a:lnTo>
                <a:lnTo>
                  <a:pt x="6850" y="8898"/>
                </a:lnTo>
                <a:lnTo>
                  <a:pt x="6852" y="8901"/>
                </a:lnTo>
                <a:lnTo>
                  <a:pt x="6855" y="8904"/>
                </a:lnTo>
                <a:lnTo>
                  <a:pt x="6858" y="8907"/>
                </a:lnTo>
                <a:lnTo>
                  <a:pt x="6866" y="8913"/>
                </a:lnTo>
                <a:lnTo>
                  <a:pt x="6876" y="8919"/>
                </a:lnTo>
                <a:lnTo>
                  <a:pt x="6886" y="8928"/>
                </a:lnTo>
                <a:lnTo>
                  <a:pt x="6895" y="8938"/>
                </a:lnTo>
                <a:lnTo>
                  <a:pt x="6900" y="8944"/>
                </a:lnTo>
                <a:lnTo>
                  <a:pt x="6905" y="8951"/>
                </a:lnTo>
                <a:lnTo>
                  <a:pt x="6909" y="8959"/>
                </a:lnTo>
                <a:lnTo>
                  <a:pt x="6913" y="8968"/>
                </a:lnTo>
                <a:lnTo>
                  <a:pt x="6913" y="8972"/>
                </a:lnTo>
                <a:lnTo>
                  <a:pt x="6914" y="8976"/>
                </a:lnTo>
                <a:lnTo>
                  <a:pt x="6915" y="8980"/>
                </a:lnTo>
                <a:lnTo>
                  <a:pt x="6917" y="8984"/>
                </a:lnTo>
                <a:lnTo>
                  <a:pt x="6921" y="8990"/>
                </a:lnTo>
                <a:lnTo>
                  <a:pt x="6927" y="8996"/>
                </a:lnTo>
                <a:lnTo>
                  <a:pt x="6935" y="9002"/>
                </a:lnTo>
                <a:lnTo>
                  <a:pt x="6943" y="9007"/>
                </a:lnTo>
                <a:lnTo>
                  <a:pt x="6951" y="9012"/>
                </a:lnTo>
                <a:lnTo>
                  <a:pt x="6960" y="9017"/>
                </a:lnTo>
                <a:lnTo>
                  <a:pt x="6977" y="9025"/>
                </a:lnTo>
                <a:lnTo>
                  <a:pt x="6992" y="9034"/>
                </a:lnTo>
                <a:lnTo>
                  <a:pt x="6999" y="9038"/>
                </a:lnTo>
                <a:lnTo>
                  <a:pt x="7004" y="9043"/>
                </a:lnTo>
                <a:lnTo>
                  <a:pt x="7007" y="9048"/>
                </a:lnTo>
                <a:lnTo>
                  <a:pt x="7008" y="9053"/>
                </a:lnTo>
                <a:lnTo>
                  <a:pt x="7019" y="9059"/>
                </a:lnTo>
                <a:lnTo>
                  <a:pt x="7027" y="9065"/>
                </a:lnTo>
                <a:lnTo>
                  <a:pt x="7032" y="9070"/>
                </a:lnTo>
                <a:lnTo>
                  <a:pt x="7035" y="9075"/>
                </a:lnTo>
                <a:lnTo>
                  <a:pt x="7036" y="9079"/>
                </a:lnTo>
                <a:lnTo>
                  <a:pt x="7036" y="9083"/>
                </a:lnTo>
                <a:lnTo>
                  <a:pt x="7036" y="9088"/>
                </a:lnTo>
                <a:lnTo>
                  <a:pt x="7035" y="9091"/>
                </a:lnTo>
                <a:lnTo>
                  <a:pt x="7035" y="9095"/>
                </a:lnTo>
                <a:lnTo>
                  <a:pt x="7035" y="9099"/>
                </a:lnTo>
                <a:lnTo>
                  <a:pt x="7038" y="9104"/>
                </a:lnTo>
                <a:lnTo>
                  <a:pt x="7042" y="9108"/>
                </a:lnTo>
                <a:lnTo>
                  <a:pt x="7048" y="9112"/>
                </a:lnTo>
                <a:lnTo>
                  <a:pt x="7058" y="9117"/>
                </a:lnTo>
                <a:lnTo>
                  <a:pt x="7071" y="9122"/>
                </a:lnTo>
                <a:lnTo>
                  <a:pt x="7088" y="9128"/>
                </a:lnTo>
                <a:lnTo>
                  <a:pt x="7110" y="9136"/>
                </a:lnTo>
                <a:lnTo>
                  <a:pt x="7132" y="9144"/>
                </a:lnTo>
                <a:lnTo>
                  <a:pt x="7153" y="9152"/>
                </a:lnTo>
                <a:lnTo>
                  <a:pt x="7174" y="9160"/>
                </a:lnTo>
                <a:lnTo>
                  <a:pt x="7195" y="9167"/>
                </a:lnTo>
                <a:lnTo>
                  <a:pt x="7216" y="9173"/>
                </a:lnTo>
                <a:lnTo>
                  <a:pt x="7239" y="9177"/>
                </a:lnTo>
                <a:lnTo>
                  <a:pt x="7262" y="9180"/>
                </a:lnTo>
                <a:lnTo>
                  <a:pt x="7264" y="9173"/>
                </a:lnTo>
                <a:lnTo>
                  <a:pt x="7266" y="9168"/>
                </a:lnTo>
                <a:lnTo>
                  <a:pt x="7269" y="9163"/>
                </a:lnTo>
                <a:lnTo>
                  <a:pt x="7271" y="9159"/>
                </a:lnTo>
                <a:lnTo>
                  <a:pt x="7274" y="9156"/>
                </a:lnTo>
                <a:lnTo>
                  <a:pt x="7277" y="9153"/>
                </a:lnTo>
                <a:lnTo>
                  <a:pt x="7281" y="9151"/>
                </a:lnTo>
                <a:lnTo>
                  <a:pt x="7284" y="9150"/>
                </a:lnTo>
                <a:lnTo>
                  <a:pt x="7291" y="9149"/>
                </a:lnTo>
                <a:lnTo>
                  <a:pt x="7299" y="9151"/>
                </a:lnTo>
                <a:lnTo>
                  <a:pt x="7307" y="9153"/>
                </a:lnTo>
                <a:lnTo>
                  <a:pt x="7315" y="9157"/>
                </a:lnTo>
                <a:lnTo>
                  <a:pt x="7332" y="9168"/>
                </a:lnTo>
                <a:lnTo>
                  <a:pt x="7349" y="9179"/>
                </a:lnTo>
                <a:lnTo>
                  <a:pt x="7357" y="9183"/>
                </a:lnTo>
                <a:lnTo>
                  <a:pt x="7364" y="9187"/>
                </a:lnTo>
                <a:lnTo>
                  <a:pt x="7372" y="9190"/>
                </a:lnTo>
                <a:lnTo>
                  <a:pt x="7379" y="9191"/>
                </a:lnTo>
                <a:lnTo>
                  <a:pt x="7385" y="9201"/>
                </a:lnTo>
                <a:lnTo>
                  <a:pt x="7390" y="9207"/>
                </a:lnTo>
                <a:lnTo>
                  <a:pt x="7395" y="9210"/>
                </a:lnTo>
                <a:lnTo>
                  <a:pt x="7400" y="9212"/>
                </a:lnTo>
                <a:lnTo>
                  <a:pt x="7404" y="9213"/>
                </a:lnTo>
                <a:lnTo>
                  <a:pt x="7409" y="9216"/>
                </a:lnTo>
                <a:lnTo>
                  <a:pt x="7414" y="9222"/>
                </a:lnTo>
                <a:lnTo>
                  <a:pt x="7420" y="9233"/>
                </a:lnTo>
                <a:lnTo>
                  <a:pt x="7437" y="9247"/>
                </a:lnTo>
                <a:lnTo>
                  <a:pt x="7450" y="9258"/>
                </a:lnTo>
                <a:lnTo>
                  <a:pt x="7460" y="9269"/>
                </a:lnTo>
                <a:lnTo>
                  <a:pt x="7467" y="9277"/>
                </a:lnTo>
                <a:lnTo>
                  <a:pt x="7472" y="9284"/>
                </a:lnTo>
                <a:lnTo>
                  <a:pt x="7475" y="9290"/>
                </a:lnTo>
                <a:lnTo>
                  <a:pt x="7477" y="9295"/>
                </a:lnTo>
                <a:lnTo>
                  <a:pt x="7478" y="9300"/>
                </a:lnTo>
                <a:lnTo>
                  <a:pt x="7478" y="9310"/>
                </a:lnTo>
                <a:lnTo>
                  <a:pt x="7479" y="9324"/>
                </a:lnTo>
                <a:lnTo>
                  <a:pt x="7480" y="9332"/>
                </a:lnTo>
                <a:lnTo>
                  <a:pt x="7483" y="9343"/>
                </a:lnTo>
                <a:lnTo>
                  <a:pt x="7487" y="9355"/>
                </a:lnTo>
                <a:lnTo>
                  <a:pt x="7494" y="9370"/>
                </a:lnTo>
                <a:lnTo>
                  <a:pt x="7503" y="9377"/>
                </a:lnTo>
                <a:lnTo>
                  <a:pt x="7511" y="9385"/>
                </a:lnTo>
                <a:lnTo>
                  <a:pt x="7518" y="9396"/>
                </a:lnTo>
                <a:lnTo>
                  <a:pt x="7524" y="9406"/>
                </a:lnTo>
                <a:lnTo>
                  <a:pt x="7530" y="9418"/>
                </a:lnTo>
                <a:lnTo>
                  <a:pt x="7535" y="9431"/>
                </a:lnTo>
                <a:lnTo>
                  <a:pt x="7540" y="9445"/>
                </a:lnTo>
                <a:lnTo>
                  <a:pt x="7544" y="9459"/>
                </a:lnTo>
                <a:lnTo>
                  <a:pt x="7552" y="9488"/>
                </a:lnTo>
                <a:lnTo>
                  <a:pt x="7558" y="9519"/>
                </a:lnTo>
                <a:lnTo>
                  <a:pt x="7564" y="9546"/>
                </a:lnTo>
                <a:lnTo>
                  <a:pt x="7569" y="9571"/>
                </a:lnTo>
                <a:lnTo>
                  <a:pt x="7565" y="9572"/>
                </a:lnTo>
                <a:lnTo>
                  <a:pt x="7562" y="9573"/>
                </a:lnTo>
                <a:lnTo>
                  <a:pt x="7560" y="9575"/>
                </a:lnTo>
                <a:lnTo>
                  <a:pt x="7557" y="9578"/>
                </a:lnTo>
                <a:lnTo>
                  <a:pt x="7554" y="9585"/>
                </a:lnTo>
                <a:lnTo>
                  <a:pt x="7551" y="9594"/>
                </a:lnTo>
                <a:lnTo>
                  <a:pt x="7549" y="9605"/>
                </a:lnTo>
                <a:lnTo>
                  <a:pt x="7549" y="9618"/>
                </a:lnTo>
                <a:lnTo>
                  <a:pt x="7549" y="9631"/>
                </a:lnTo>
                <a:lnTo>
                  <a:pt x="7549" y="9646"/>
                </a:lnTo>
                <a:lnTo>
                  <a:pt x="7551" y="9674"/>
                </a:lnTo>
                <a:lnTo>
                  <a:pt x="7554" y="9700"/>
                </a:lnTo>
                <a:lnTo>
                  <a:pt x="7557" y="9719"/>
                </a:lnTo>
                <a:lnTo>
                  <a:pt x="7558" y="9730"/>
                </a:lnTo>
                <a:lnTo>
                  <a:pt x="7554" y="9730"/>
                </a:lnTo>
                <a:lnTo>
                  <a:pt x="7552" y="9731"/>
                </a:lnTo>
                <a:lnTo>
                  <a:pt x="7550" y="9732"/>
                </a:lnTo>
                <a:lnTo>
                  <a:pt x="7550" y="9733"/>
                </a:lnTo>
                <a:lnTo>
                  <a:pt x="7552" y="9737"/>
                </a:lnTo>
                <a:lnTo>
                  <a:pt x="7557" y="9742"/>
                </a:lnTo>
                <a:lnTo>
                  <a:pt x="7564" y="9747"/>
                </a:lnTo>
                <a:lnTo>
                  <a:pt x="7574" y="9752"/>
                </a:lnTo>
                <a:lnTo>
                  <a:pt x="7586" y="9756"/>
                </a:lnTo>
                <a:lnTo>
                  <a:pt x="7599" y="9760"/>
                </a:lnTo>
                <a:lnTo>
                  <a:pt x="7612" y="9762"/>
                </a:lnTo>
                <a:lnTo>
                  <a:pt x="7626" y="9763"/>
                </a:lnTo>
                <a:lnTo>
                  <a:pt x="7632" y="9763"/>
                </a:lnTo>
                <a:lnTo>
                  <a:pt x="7639" y="9762"/>
                </a:lnTo>
                <a:lnTo>
                  <a:pt x="7644" y="9760"/>
                </a:lnTo>
                <a:lnTo>
                  <a:pt x="7650" y="9758"/>
                </a:lnTo>
                <a:lnTo>
                  <a:pt x="7655" y="9755"/>
                </a:lnTo>
                <a:lnTo>
                  <a:pt x="7660" y="9751"/>
                </a:lnTo>
                <a:lnTo>
                  <a:pt x="7664" y="9746"/>
                </a:lnTo>
                <a:lnTo>
                  <a:pt x="7668" y="9741"/>
                </a:lnTo>
                <a:lnTo>
                  <a:pt x="7671" y="9734"/>
                </a:lnTo>
                <a:lnTo>
                  <a:pt x="7673" y="9727"/>
                </a:lnTo>
                <a:lnTo>
                  <a:pt x="7674" y="9719"/>
                </a:lnTo>
                <a:lnTo>
                  <a:pt x="7675" y="9709"/>
                </a:lnTo>
                <a:lnTo>
                  <a:pt x="7687" y="9712"/>
                </a:lnTo>
                <a:lnTo>
                  <a:pt x="7698" y="9716"/>
                </a:lnTo>
                <a:lnTo>
                  <a:pt x="7710" y="9721"/>
                </a:lnTo>
                <a:lnTo>
                  <a:pt x="7720" y="9727"/>
                </a:lnTo>
                <a:lnTo>
                  <a:pt x="7741" y="9740"/>
                </a:lnTo>
                <a:lnTo>
                  <a:pt x="7761" y="9755"/>
                </a:lnTo>
                <a:lnTo>
                  <a:pt x="7780" y="9770"/>
                </a:lnTo>
                <a:lnTo>
                  <a:pt x="7798" y="9782"/>
                </a:lnTo>
                <a:lnTo>
                  <a:pt x="7806" y="9787"/>
                </a:lnTo>
                <a:lnTo>
                  <a:pt x="7815" y="9791"/>
                </a:lnTo>
                <a:lnTo>
                  <a:pt x="7824" y="9793"/>
                </a:lnTo>
                <a:lnTo>
                  <a:pt x="7833" y="9794"/>
                </a:lnTo>
                <a:lnTo>
                  <a:pt x="7831" y="9800"/>
                </a:lnTo>
                <a:lnTo>
                  <a:pt x="7829" y="9805"/>
                </a:lnTo>
                <a:lnTo>
                  <a:pt x="7828" y="9811"/>
                </a:lnTo>
                <a:lnTo>
                  <a:pt x="7828" y="9816"/>
                </a:lnTo>
                <a:lnTo>
                  <a:pt x="7829" y="9822"/>
                </a:lnTo>
                <a:lnTo>
                  <a:pt x="7829" y="9827"/>
                </a:lnTo>
                <a:lnTo>
                  <a:pt x="7831" y="9832"/>
                </a:lnTo>
                <a:lnTo>
                  <a:pt x="7833" y="9836"/>
                </a:lnTo>
                <a:lnTo>
                  <a:pt x="7838" y="9844"/>
                </a:lnTo>
                <a:lnTo>
                  <a:pt x="7844" y="9851"/>
                </a:lnTo>
                <a:lnTo>
                  <a:pt x="7851" y="9857"/>
                </a:lnTo>
                <a:lnTo>
                  <a:pt x="7859" y="9860"/>
                </a:lnTo>
                <a:lnTo>
                  <a:pt x="7863" y="9862"/>
                </a:lnTo>
                <a:lnTo>
                  <a:pt x="7868" y="9862"/>
                </a:lnTo>
                <a:lnTo>
                  <a:pt x="7872" y="9862"/>
                </a:lnTo>
                <a:lnTo>
                  <a:pt x="7877" y="9862"/>
                </a:lnTo>
                <a:lnTo>
                  <a:pt x="7881" y="9861"/>
                </a:lnTo>
                <a:lnTo>
                  <a:pt x="7885" y="9859"/>
                </a:lnTo>
                <a:lnTo>
                  <a:pt x="7889" y="9857"/>
                </a:lnTo>
                <a:lnTo>
                  <a:pt x="7892" y="9854"/>
                </a:lnTo>
                <a:lnTo>
                  <a:pt x="7895" y="9850"/>
                </a:lnTo>
                <a:lnTo>
                  <a:pt x="7898" y="9846"/>
                </a:lnTo>
                <a:lnTo>
                  <a:pt x="7901" y="9841"/>
                </a:lnTo>
                <a:lnTo>
                  <a:pt x="7903" y="9836"/>
                </a:lnTo>
                <a:lnTo>
                  <a:pt x="7905" y="9829"/>
                </a:lnTo>
                <a:lnTo>
                  <a:pt x="7906" y="9822"/>
                </a:lnTo>
                <a:lnTo>
                  <a:pt x="7907" y="9814"/>
                </a:lnTo>
                <a:lnTo>
                  <a:pt x="7907" y="9805"/>
                </a:lnTo>
                <a:lnTo>
                  <a:pt x="7916" y="9806"/>
                </a:lnTo>
                <a:lnTo>
                  <a:pt x="7925" y="9808"/>
                </a:lnTo>
                <a:lnTo>
                  <a:pt x="7932" y="9811"/>
                </a:lnTo>
                <a:lnTo>
                  <a:pt x="7939" y="9815"/>
                </a:lnTo>
                <a:lnTo>
                  <a:pt x="7945" y="9819"/>
                </a:lnTo>
                <a:lnTo>
                  <a:pt x="7951" y="9824"/>
                </a:lnTo>
                <a:lnTo>
                  <a:pt x="7956" y="9829"/>
                </a:lnTo>
                <a:lnTo>
                  <a:pt x="7961" y="9835"/>
                </a:lnTo>
                <a:lnTo>
                  <a:pt x="7965" y="9841"/>
                </a:lnTo>
                <a:lnTo>
                  <a:pt x="7968" y="9848"/>
                </a:lnTo>
                <a:lnTo>
                  <a:pt x="7971" y="9855"/>
                </a:lnTo>
                <a:lnTo>
                  <a:pt x="7974" y="9862"/>
                </a:lnTo>
                <a:lnTo>
                  <a:pt x="7978" y="9878"/>
                </a:lnTo>
                <a:lnTo>
                  <a:pt x="7980" y="9896"/>
                </a:lnTo>
                <a:lnTo>
                  <a:pt x="7981" y="9913"/>
                </a:lnTo>
                <a:lnTo>
                  <a:pt x="7981" y="9930"/>
                </a:lnTo>
                <a:lnTo>
                  <a:pt x="7980" y="9947"/>
                </a:lnTo>
                <a:lnTo>
                  <a:pt x="7979" y="9963"/>
                </a:lnTo>
                <a:lnTo>
                  <a:pt x="7975" y="9993"/>
                </a:lnTo>
                <a:lnTo>
                  <a:pt x="7970" y="10016"/>
                </a:lnTo>
                <a:lnTo>
                  <a:pt x="7985" y="10015"/>
                </a:lnTo>
                <a:lnTo>
                  <a:pt x="7998" y="10013"/>
                </a:lnTo>
                <a:lnTo>
                  <a:pt x="8011" y="10010"/>
                </a:lnTo>
                <a:lnTo>
                  <a:pt x="8022" y="10007"/>
                </a:lnTo>
                <a:lnTo>
                  <a:pt x="8041" y="9998"/>
                </a:lnTo>
                <a:lnTo>
                  <a:pt x="8059" y="9987"/>
                </a:lnTo>
                <a:lnTo>
                  <a:pt x="8068" y="9982"/>
                </a:lnTo>
                <a:lnTo>
                  <a:pt x="8077" y="9977"/>
                </a:lnTo>
                <a:lnTo>
                  <a:pt x="8086" y="9972"/>
                </a:lnTo>
                <a:lnTo>
                  <a:pt x="8096" y="9968"/>
                </a:lnTo>
                <a:lnTo>
                  <a:pt x="8107" y="9965"/>
                </a:lnTo>
                <a:lnTo>
                  <a:pt x="8120" y="9962"/>
                </a:lnTo>
                <a:lnTo>
                  <a:pt x="8134" y="9961"/>
                </a:lnTo>
                <a:lnTo>
                  <a:pt x="8149" y="9961"/>
                </a:lnTo>
                <a:lnTo>
                  <a:pt x="8186" y="9966"/>
                </a:lnTo>
                <a:lnTo>
                  <a:pt x="8219" y="9972"/>
                </a:lnTo>
                <a:lnTo>
                  <a:pt x="8227" y="9973"/>
                </a:lnTo>
                <a:lnTo>
                  <a:pt x="8234" y="9972"/>
                </a:lnTo>
                <a:lnTo>
                  <a:pt x="8241" y="9971"/>
                </a:lnTo>
                <a:lnTo>
                  <a:pt x="8247" y="9968"/>
                </a:lnTo>
                <a:lnTo>
                  <a:pt x="8254" y="9964"/>
                </a:lnTo>
                <a:lnTo>
                  <a:pt x="8259" y="9959"/>
                </a:lnTo>
                <a:lnTo>
                  <a:pt x="8264" y="9951"/>
                </a:lnTo>
                <a:lnTo>
                  <a:pt x="8267" y="9942"/>
                </a:lnTo>
                <a:lnTo>
                  <a:pt x="8289" y="9949"/>
                </a:lnTo>
                <a:lnTo>
                  <a:pt x="8309" y="9957"/>
                </a:lnTo>
                <a:lnTo>
                  <a:pt x="8327" y="9964"/>
                </a:lnTo>
                <a:lnTo>
                  <a:pt x="8344" y="9972"/>
                </a:lnTo>
                <a:lnTo>
                  <a:pt x="8361" y="9980"/>
                </a:lnTo>
                <a:lnTo>
                  <a:pt x="8376" y="9988"/>
                </a:lnTo>
                <a:lnTo>
                  <a:pt x="8392" y="9996"/>
                </a:lnTo>
                <a:lnTo>
                  <a:pt x="8406" y="10005"/>
                </a:lnTo>
                <a:lnTo>
                  <a:pt x="8433" y="10024"/>
                </a:lnTo>
                <a:lnTo>
                  <a:pt x="8459" y="10044"/>
                </a:lnTo>
                <a:lnTo>
                  <a:pt x="8486" y="10067"/>
                </a:lnTo>
                <a:lnTo>
                  <a:pt x="8515" y="10092"/>
                </a:lnTo>
                <a:lnTo>
                  <a:pt x="8528" y="10104"/>
                </a:lnTo>
                <a:lnTo>
                  <a:pt x="8540" y="10116"/>
                </a:lnTo>
                <a:lnTo>
                  <a:pt x="8550" y="10130"/>
                </a:lnTo>
                <a:lnTo>
                  <a:pt x="8561" y="10146"/>
                </a:lnTo>
                <a:lnTo>
                  <a:pt x="8570" y="10161"/>
                </a:lnTo>
                <a:lnTo>
                  <a:pt x="8579" y="10178"/>
                </a:lnTo>
                <a:lnTo>
                  <a:pt x="8587" y="10195"/>
                </a:lnTo>
                <a:lnTo>
                  <a:pt x="8595" y="10212"/>
                </a:lnTo>
                <a:lnTo>
                  <a:pt x="8602" y="10230"/>
                </a:lnTo>
                <a:lnTo>
                  <a:pt x="8607" y="10249"/>
                </a:lnTo>
                <a:lnTo>
                  <a:pt x="8613" y="10268"/>
                </a:lnTo>
                <a:lnTo>
                  <a:pt x="8617" y="10288"/>
                </a:lnTo>
                <a:lnTo>
                  <a:pt x="8621" y="10307"/>
                </a:lnTo>
                <a:lnTo>
                  <a:pt x="8624" y="10327"/>
                </a:lnTo>
                <a:lnTo>
                  <a:pt x="8626" y="10347"/>
                </a:lnTo>
                <a:lnTo>
                  <a:pt x="8627" y="10366"/>
                </a:lnTo>
                <a:lnTo>
                  <a:pt x="8628" y="10386"/>
                </a:lnTo>
                <a:lnTo>
                  <a:pt x="8627" y="10407"/>
                </a:lnTo>
                <a:lnTo>
                  <a:pt x="8626" y="10426"/>
                </a:lnTo>
                <a:lnTo>
                  <a:pt x="8624" y="10445"/>
                </a:lnTo>
                <a:lnTo>
                  <a:pt x="8621" y="10464"/>
                </a:lnTo>
                <a:lnTo>
                  <a:pt x="8617" y="10482"/>
                </a:lnTo>
                <a:lnTo>
                  <a:pt x="8613" y="10500"/>
                </a:lnTo>
                <a:lnTo>
                  <a:pt x="8607" y="10518"/>
                </a:lnTo>
                <a:lnTo>
                  <a:pt x="8601" y="10535"/>
                </a:lnTo>
                <a:lnTo>
                  <a:pt x="8594" y="10551"/>
                </a:lnTo>
                <a:lnTo>
                  <a:pt x="8586" y="10567"/>
                </a:lnTo>
                <a:lnTo>
                  <a:pt x="8577" y="10581"/>
                </a:lnTo>
                <a:lnTo>
                  <a:pt x="8567" y="10595"/>
                </a:lnTo>
                <a:lnTo>
                  <a:pt x="8556" y="10607"/>
                </a:lnTo>
                <a:lnTo>
                  <a:pt x="8544" y="10619"/>
                </a:lnTo>
                <a:lnTo>
                  <a:pt x="8532" y="10629"/>
                </a:lnTo>
                <a:lnTo>
                  <a:pt x="8530" y="10635"/>
                </a:lnTo>
                <a:lnTo>
                  <a:pt x="8525" y="10643"/>
                </a:lnTo>
                <a:lnTo>
                  <a:pt x="8518" y="10655"/>
                </a:lnTo>
                <a:lnTo>
                  <a:pt x="8508" y="10668"/>
                </a:lnTo>
                <a:lnTo>
                  <a:pt x="8482" y="10699"/>
                </a:lnTo>
                <a:lnTo>
                  <a:pt x="8454" y="10732"/>
                </a:lnTo>
                <a:lnTo>
                  <a:pt x="8425" y="10765"/>
                </a:lnTo>
                <a:lnTo>
                  <a:pt x="8400" y="10794"/>
                </a:lnTo>
                <a:lnTo>
                  <a:pt x="8382" y="10813"/>
                </a:lnTo>
                <a:lnTo>
                  <a:pt x="8373" y="10821"/>
                </a:lnTo>
                <a:lnTo>
                  <a:pt x="8372" y="10836"/>
                </a:lnTo>
                <a:lnTo>
                  <a:pt x="8372" y="10865"/>
                </a:lnTo>
                <a:lnTo>
                  <a:pt x="8371" y="10904"/>
                </a:lnTo>
                <a:lnTo>
                  <a:pt x="8369" y="10945"/>
                </a:lnTo>
                <a:lnTo>
                  <a:pt x="8368" y="10985"/>
                </a:lnTo>
                <a:lnTo>
                  <a:pt x="8366" y="11019"/>
                </a:lnTo>
                <a:lnTo>
                  <a:pt x="8365" y="11034"/>
                </a:lnTo>
                <a:lnTo>
                  <a:pt x="8364" y="11044"/>
                </a:lnTo>
                <a:lnTo>
                  <a:pt x="8363" y="11051"/>
                </a:lnTo>
                <a:lnTo>
                  <a:pt x="8362" y="11053"/>
                </a:lnTo>
                <a:lnTo>
                  <a:pt x="8360" y="11077"/>
                </a:lnTo>
                <a:lnTo>
                  <a:pt x="8356" y="11114"/>
                </a:lnTo>
                <a:lnTo>
                  <a:pt x="8350" y="11159"/>
                </a:lnTo>
                <a:lnTo>
                  <a:pt x="8342" y="11207"/>
                </a:lnTo>
                <a:lnTo>
                  <a:pt x="8337" y="11230"/>
                </a:lnTo>
                <a:lnTo>
                  <a:pt x="8332" y="11252"/>
                </a:lnTo>
                <a:lnTo>
                  <a:pt x="8327" y="11272"/>
                </a:lnTo>
                <a:lnTo>
                  <a:pt x="8322" y="11292"/>
                </a:lnTo>
                <a:lnTo>
                  <a:pt x="8316" y="11307"/>
                </a:lnTo>
                <a:lnTo>
                  <a:pt x="8310" y="11318"/>
                </a:lnTo>
                <a:lnTo>
                  <a:pt x="8307" y="11323"/>
                </a:lnTo>
                <a:lnTo>
                  <a:pt x="8305" y="11326"/>
                </a:lnTo>
                <a:lnTo>
                  <a:pt x="8302" y="11328"/>
                </a:lnTo>
                <a:lnTo>
                  <a:pt x="8299" y="11328"/>
                </a:lnTo>
                <a:lnTo>
                  <a:pt x="8298" y="11350"/>
                </a:lnTo>
                <a:lnTo>
                  <a:pt x="8295" y="11369"/>
                </a:lnTo>
                <a:lnTo>
                  <a:pt x="8292" y="11386"/>
                </a:lnTo>
                <a:lnTo>
                  <a:pt x="8286" y="11402"/>
                </a:lnTo>
                <a:lnTo>
                  <a:pt x="8280" y="11418"/>
                </a:lnTo>
                <a:lnTo>
                  <a:pt x="8273" y="11432"/>
                </a:lnTo>
                <a:lnTo>
                  <a:pt x="8265" y="11445"/>
                </a:lnTo>
                <a:lnTo>
                  <a:pt x="8257" y="11458"/>
                </a:lnTo>
                <a:lnTo>
                  <a:pt x="8238" y="11484"/>
                </a:lnTo>
                <a:lnTo>
                  <a:pt x="8221" y="11512"/>
                </a:lnTo>
                <a:lnTo>
                  <a:pt x="8213" y="11527"/>
                </a:lnTo>
                <a:lnTo>
                  <a:pt x="8206" y="11544"/>
                </a:lnTo>
                <a:lnTo>
                  <a:pt x="8199" y="11563"/>
                </a:lnTo>
                <a:lnTo>
                  <a:pt x="8193" y="11582"/>
                </a:lnTo>
                <a:lnTo>
                  <a:pt x="8165" y="11602"/>
                </a:lnTo>
                <a:lnTo>
                  <a:pt x="8129" y="11623"/>
                </a:lnTo>
                <a:lnTo>
                  <a:pt x="8088" y="11646"/>
                </a:lnTo>
                <a:lnTo>
                  <a:pt x="8047" y="11671"/>
                </a:lnTo>
                <a:lnTo>
                  <a:pt x="8027" y="11683"/>
                </a:lnTo>
                <a:lnTo>
                  <a:pt x="8007" y="11695"/>
                </a:lnTo>
                <a:lnTo>
                  <a:pt x="7988" y="11707"/>
                </a:lnTo>
                <a:lnTo>
                  <a:pt x="7972" y="11719"/>
                </a:lnTo>
                <a:lnTo>
                  <a:pt x="7957" y="11730"/>
                </a:lnTo>
                <a:lnTo>
                  <a:pt x="7945" y="11741"/>
                </a:lnTo>
                <a:lnTo>
                  <a:pt x="7940" y="11747"/>
                </a:lnTo>
                <a:lnTo>
                  <a:pt x="7935" y="11752"/>
                </a:lnTo>
                <a:lnTo>
                  <a:pt x="7931" y="11757"/>
                </a:lnTo>
                <a:lnTo>
                  <a:pt x="7928" y="11762"/>
                </a:lnTo>
                <a:lnTo>
                  <a:pt x="7919" y="11762"/>
                </a:lnTo>
                <a:lnTo>
                  <a:pt x="7910" y="11764"/>
                </a:lnTo>
                <a:lnTo>
                  <a:pt x="7902" y="11766"/>
                </a:lnTo>
                <a:lnTo>
                  <a:pt x="7893" y="11769"/>
                </a:lnTo>
                <a:lnTo>
                  <a:pt x="7877" y="11775"/>
                </a:lnTo>
                <a:lnTo>
                  <a:pt x="7859" y="11784"/>
                </a:lnTo>
                <a:lnTo>
                  <a:pt x="7843" y="11792"/>
                </a:lnTo>
                <a:lnTo>
                  <a:pt x="7826" y="11798"/>
                </a:lnTo>
                <a:lnTo>
                  <a:pt x="7818" y="11801"/>
                </a:lnTo>
                <a:lnTo>
                  <a:pt x="7809" y="11803"/>
                </a:lnTo>
                <a:lnTo>
                  <a:pt x="7800" y="11804"/>
                </a:lnTo>
                <a:lnTo>
                  <a:pt x="7791" y="11805"/>
                </a:lnTo>
                <a:lnTo>
                  <a:pt x="7784" y="11814"/>
                </a:lnTo>
                <a:lnTo>
                  <a:pt x="7770" y="11829"/>
                </a:lnTo>
                <a:lnTo>
                  <a:pt x="7753" y="11848"/>
                </a:lnTo>
                <a:lnTo>
                  <a:pt x="7733" y="11868"/>
                </a:lnTo>
                <a:lnTo>
                  <a:pt x="7715" y="11888"/>
                </a:lnTo>
                <a:lnTo>
                  <a:pt x="7701" y="11904"/>
                </a:lnTo>
                <a:lnTo>
                  <a:pt x="7696" y="11912"/>
                </a:lnTo>
                <a:lnTo>
                  <a:pt x="7694" y="11917"/>
                </a:lnTo>
                <a:lnTo>
                  <a:pt x="7693" y="11919"/>
                </a:lnTo>
                <a:lnTo>
                  <a:pt x="7693" y="11920"/>
                </a:lnTo>
                <a:lnTo>
                  <a:pt x="7694" y="11921"/>
                </a:lnTo>
                <a:lnTo>
                  <a:pt x="7695" y="11921"/>
                </a:lnTo>
                <a:lnTo>
                  <a:pt x="7693" y="11954"/>
                </a:lnTo>
                <a:lnTo>
                  <a:pt x="7692" y="11993"/>
                </a:lnTo>
                <a:lnTo>
                  <a:pt x="7691" y="12037"/>
                </a:lnTo>
                <a:lnTo>
                  <a:pt x="7690" y="12081"/>
                </a:lnTo>
                <a:lnTo>
                  <a:pt x="7689" y="12103"/>
                </a:lnTo>
                <a:lnTo>
                  <a:pt x="7687" y="12125"/>
                </a:lnTo>
                <a:lnTo>
                  <a:pt x="7685" y="12145"/>
                </a:lnTo>
                <a:lnTo>
                  <a:pt x="7682" y="12165"/>
                </a:lnTo>
                <a:lnTo>
                  <a:pt x="7678" y="12183"/>
                </a:lnTo>
                <a:lnTo>
                  <a:pt x="7673" y="12198"/>
                </a:lnTo>
                <a:lnTo>
                  <a:pt x="7670" y="12205"/>
                </a:lnTo>
                <a:lnTo>
                  <a:pt x="7667" y="12212"/>
                </a:lnTo>
                <a:lnTo>
                  <a:pt x="7664" y="12217"/>
                </a:lnTo>
                <a:lnTo>
                  <a:pt x="7660" y="12222"/>
                </a:lnTo>
                <a:lnTo>
                  <a:pt x="7650" y="12233"/>
                </a:lnTo>
                <a:lnTo>
                  <a:pt x="7639" y="12241"/>
                </a:lnTo>
                <a:lnTo>
                  <a:pt x="7629" y="12248"/>
                </a:lnTo>
                <a:lnTo>
                  <a:pt x="7619" y="12255"/>
                </a:lnTo>
                <a:lnTo>
                  <a:pt x="7615" y="12259"/>
                </a:lnTo>
                <a:lnTo>
                  <a:pt x="7612" y="12263"/>
                </a:lnTo>
                <a:lnTo>
                  <a:pt x="7609" y="12267"/>
                </a:lnTo>
                <a:lnTo>
                  <a:pt x="7607" y="12273"/>
                </a:lnTo>
                <a:lnTo>
                  <a:pt x="7607" y="12278"/>
                </a:lnTo>
                <a:lnTo>
                  <a:pt x="7607" y="12286"/>
                </a:lnTo>
                <a:lnTo>
                  <a:pt x="7608" y="12294"/>
                </a:lnTo>
                <a:lnTo>
                  <a:pt x="7611" y="12303"/>
                </a:lnTo>
                <a:lnTo>
                  <a:pt x="7601" y="12303"/>
                </a:lnTo>
                <a:lnTo>
                  <a:pt x="7594" y="12304"/>
                </a:lnTo>
                <a:lnTo>
                  <a:pt x="7588" y="12306"/>
                </a:lnTo>
                <a:lnTo>
                  <a:pt x="7585" y="12309"/>
                </a:lnTo>
                <a:lnTo>
                  <a:pt x="7581" y="12316"/>
                </a:lnTo>
                <a:lnTo>
                  <a:pt x="7579" y="12323"/>
                </a:lnTo>
                <a:lnTo>
                  <a:pt x="7577" y="12327"/>
                </a:lnTo>
                <a:lnTo>
                  <a:pt x="7575" y="12331"/>
                </a:lnTo>
                <a:lnTo>
                  <a:pt x="7571" y="12335"/>
                </a:lnTo>
                <a:lnTo>
                  <a:pt x="7566" y="12338"/>
                </a:lnTo>
                <a:lnTo>
                  <a:pt x="7559" y="12340"/>
                </a:lnTo>
                <a:lnTo>
                  <a:pt x="7549" y="12343"/>
                </a:lnTo>
                <a:lnTo>
                  <a:pt x="7537" y="12344"/>
                </a:lnTo>
                <a:lnTo>
                  <a:pt x="7521" y="12344"/>
                </a:lnTo>
                <a:lnTo>
                  <a:pt x="7510" y="12345"/>
                </a:lnTo>
                <a:lnTo>
                  <a:pt x="7496" y="12348"/>
                </a:lnTo>
                <a:lnTo>
                  <a:pt x="7483" y="12353"/>
                </a:lnTo>
                <a:lnTo>
                  <a:pt x="7470" y="12359"/>
                </a:lnTo>
                <a:lnTo>
                  <a:pt x="7456" y="12366"/>
                </a:lnTo>
                <a:lnTo>
                  <a:pt x="7443" y="12375"/>
                </a:lnTo>
                <a:lnTo>
                  <a:pt x="7429" y="12384"/>
                </a:lnTo>
                <a:lnTo>
                  <a:pt x="7416" y="12395"/>
                </a:lnTo>
                <a:lnTo>
                  <a:pt x="7404" y="12407"/>
                </a:lnTo>
                <a:lnTo>
                  <a:pt x="7392" y="12420"/>
                </a:lnTo>
                <a:lnTo>
                  <a:pt x="7382" y="12433"/>
                </a:lnTo>
                <a:lnTo>
                  <a:pt x="7373" y="12446"/>
                </a:lnTo>
                <a:lnTo>
                  <a:pt x="7364" y="12460"/>
                </a:lnTo>
                <a:lnTo>
                  <a:pt x="7359" y="12473"/>
                </a:lnTo>
                <a:lnTo>
                  <a:pt x="7356" y="12480"/>
                </a:lnTo>
                <a:lnTo>
                  <a:pt x="7355" y="12487"/>
                </a:lnTo>
                <a:lnTo>
                  <a:pt x="7354" y="12493"/>
                </a:lnTo>
                <a:lnTo>
                  <a:pt x="7353" y="12500"/>
                </a:lnTo>
                <a:lnTo>
                  <a:pt x="7352" y="12516"/>
                </a:lnTo>
                <a:lnTo>
                  <a:pt x="7350" y="12531"/>
                </a:lnTo>
                <a:lnTo>
                  <a:pt x="7348" y="12547"/>
                </a:lnTo>
                <a:lnTo>
                  <a:pt x="7346" y="12562"/>
                </a:lnTo>
                <a:lnTo>
                  <a:pt x="7343" y="12576"/>
                </a:lnTo>
                <a:lnTo>
                  <a:pt x="7339" y="12589"/>
                </a:lnTo>
                <a:lnTo>
                  <a:pt x="7334" y="12602"/>
                </a:lnTo>
                <a:lnTo>
                  <a:pt x="7329" y="12615"/>
                </a:lnTo>
                <a:lnTo>
                  <a:pt x="7322" y="12627"/>
                </a:lnTo>
                <a:lnTo>
                  <a:pt x="7315" y="12639"/>
                </a:lnTo>
                <a:lnTo>
                  <a:pt x="7307" y="12651"/>
                </a:lnTo>
                <a:lnTo>
                  <a:pt x="7298" y="12662"/>
                </a:lnTo>
                <a:lnTo>
                  <a:pt x="7288" y="12674"/>
                </a:lnTo>
                <a:lnTo>
                  <a:pt x="7277" y="12684"/>
                </a:lnTo>
                <a:lnTo>
                  <a:pt x="7265" y="12694"/>
                </a:lnTo>
                <a:lnTo>
                  <a:pt x="7251" y="12705"/>
                </a:lnTo>
                <a:lnTo>
                  <a:pt x="7251" y="12707"/>
                </a:lnTo>
                <a:lnTo>
                  <a:pt x="7250" y="12710"/>
                </a:lnTo>
                <a:lnTo>
                  <a:pt x="7248" y="12712"/>
                </a:lnTo>
                <a:lnTo>
                  <a:pt x="7246" y="12715"/>
                </a:lnTo>
                <a:lnTo>
                  <a:pt x="7238" y="12720"/>
                </a:lnTo>
                <a:lnTo>
                  <a:pt x="7229" y="12724"/>
                </a:lnTo>
                <a:lnTo>
                  <a:pt x="7207" y="12734"/>
                </a:lnTo>
                <a:lnTo>
                  <a:pt x="7182" y="12744"/>
                </a:lnTo>
                <a:lnTo>
                  <a:pt x="7169" y="12751"/>
                </a:lnTo>
                <a:lnTo>
                  <a:pt x="7157" y="12757"/>
                </a:lnTo>
                <a:lnTo>
                  <a:pt x="7146" y="12765"/>
                </a:lnTo>
                <a:lnTo>
                  <a:pt x="7135" y="12773"/>
                </a:lnTo>
                <a:lnTo>
                  <a:pt x="7131" y="12778"/>
                </a:lnTo>
                <a:lnTo>
                  <a:pt x="7127" y="12783"/>
                </a:lnTo>
                <a:lnTo>
                  <a:pt x="7123" y="12788"/>
                </a:lnTo>
                <a:lnTo>
                  <a:pt x="7120" y="12795"/>
                </a:lnTo>
                <a:lnTo>
                  <a:pt x="7116" y="12801"/>
                </a:lnTo>
                <a:lnTo>
                  <a:pt x="7114" y="12807"/>
                </a:lnTo>
                <a:lnTo>
                  <a:pt x="7113" y="12814"/>
                </a:lnTo>
                <a:lnTo>
                  <a:pt x="7113" y="12821"/>
                </a:lnTo>
                <a:lnTo>
                  <a:pt x="7115" y="12822"/>
                </a:lnTo>
                <a:lnTo>
                  <a:pt x="7117" y="12827"/>
                </a:lnTo>
                <a:lnTo>
                  <a:pt x="7118" y="12834"/>
                </a:lnTo>
                <a:lnTo>
                  <a:pt x="7118" y="12843"/>
                </a:lnTo>
                <a:lnTo>
                  <a:pt x="7120" y="12867"/>
                </a:lnTo>
                <a:lnTo>
                  <a:pt x="7118" y="12894"/>
                </a:lnTo>
                <a:lnTo>
                  <a:pt x="7116" y="12923"/>
                </a:lnTo>
                <a:lnTo>
                  <a:pt x="7115" y="12949"/>
                </a:lnTo>
                <a:lnTo>
                  <a:pt x="7113" y="12968"/>
                </a:lnTo>
                <a:lnTo>
                  <a:pt x="7113" y="12979"/>
                </a:lnTo>
                <a:lnTo>
                  <a:pt x="7105" y="12980"/>
                </a:lnTo>
                <a:lnTo>
                  <a:pt x="7095" y="12981"/>
                </a:lnTo>
                <a:lnTo>
                  <a:pt x="7085" y="12983"/>
                </a:lnTo>
                <a:lnTo>
                  <a:pt x="7074" y="12986"/>
                </a:lnTo>
                <a:lnTo>
                  <a:pt x="7050" y="12993"/>
                </a:lnTo>
                <a:lnTo>
                  <a:pt x="7025" y="13003"/>
                </a:lnTo>
                <a:lnTo>
                  <a:pt x="7014" y="13008"/>
                </a:lnTo>
                <a:lnTo>
                  <a:pt x="7002" y="13014"/>
                </a:lnTo>
                <a:lnTo>
                  <a:pt x="6990" y="13021"/>
                </a:lnTo>
                <a:lnTo>
                  <a:pt x="6981" y="13027"/>
                </a:lnTo>
                <a:lnTo>
                  <a:pt x="6972" y="13033"/>
                </a:lnTo>
                <a:lnTo>
                  <a:pt x="6964" y="13040"/>
                </a:lnTo>
                <a:lnTo>
                  <a:pt x="6959" y="13047"/>
                </a:lnTo>
                <a:lnTo>
                  <a:pt x="6954" y="13054"/>
                </a:lnTo>
                <a:lnTo>
                  <a:pt x="6930" y="13054"/>
                </a:lnTo>
                <a:lnTo>
                  <a:pt x="6910" y="13054"/>
                </a:lnTo>
                <a:lnTo>
                  <a:pt x="6892" y="13055"/>
                </a:lnTo>
                <a:lnTo>
                  <a:pt x="6876" y="13057"/>
                </a:lnTo>
                <a:lnTo>
                  <a:pt x="6862" y="13059"/>
                </a:lnTo>
                <a:lnTo>
                  <a:pt x="6850" y="13061"/>
                </a:lnTo>
                <a:lnTo>
                  <a:pt x="6840" y="13064"/>
                </a:lnTo>
                <a:lnTo>
                  <a:pt x="6830" y="13068"/>
                </a:lnTo>
                <a:lnTo>
                  <a:pt x="6822" y="13073"/>
                </a:lnTo>
                <a:lnTo>
                  <a:pt x="6813" y="13078"/>
                </a:lnTo>
                <a:lnTo>
                  <a:pt x="6804" y="13084"/>
                </a:lnTo>
                <a:lnTo>
                  <a:pt x="6795" y="13091"/>
                </a:lnTo>
                <a:lnTo>
                  <a:pt x="6773" y="13107"/>
                </a:lnTo>
                <a:lnTo>
                  <a:pt x="6743" y="13127"/>
                </a:lnTo>
                <a:lnTo>
                  <a:pt x="6743" y="13136"/>
                </a:lnTo>
                <a:lnTo>
                  <a:pt x="6740" y="13148"/>
                </a:lnTo>
                <a:lnTo>
                  <a:pt x="6738" y="13162"/>
                </a:lnTo>
                <a:lnTo>
                  <a:pt x="6734" y="13177"/>
                </a:lnTo>
                <a:lnTo>
                  <a:pt x="6729" y="13191"/>
                </a:lnTo>
                <a:lnTo>
                  <a:pt x="6724" y="13202"/>
                </a:lnTo>
                <a:lnTo>
                  <a:pt x="6721" y="13206"/>
                </a:lnTo>
                <a:lnTo>
                  <a:pt x="6718" y="13209"/>
                </a:lnTo>
                <a:lnTo>
                  <a:pt x="6715" y="13211"/>
                </a:lnTo>
                <a:lnTo>
                  <a:pt x="6711" y="13212"/>
                </a:lnTo>
                <a:lnTo>
                  <a:pt x="6711" y="13222"/>
                </a:lnTo>
                <a:lnTo>
                  <a:pt x="6710" y="13230"/>
                </a:lnTo>
                <a:lnTo>
                  <a:pt x="6709" y="13237"/>
                </a:lnTo>
                <a:lnTo>
                  <a:pt x="6708" y="13243"/>
                </a:lnTo>
                <a:lnTo>
                  <a:pt x="6706" y="13249"/>
                </a:lnTo>
                <a:lnTo>
                  <a:pt x="6704" y="13253"/>
                </a:lnTo>
                <a:lnTo>
                  <a:pt x="6701" y="13257"/>
                </a:lnTo>
                <a:lnTo>
                  <a:pt x="6698" y="13259"/>
                </a:lnTo>
                <a:lnTo>
                  <a:pt x="6695" y="13262"/>
                </a:lnTo>
                <a:lnTo>
                  <a:pt x="6692" y="13263"/>
                </a:lnTo>
                <a:lnTo>
                  <a:pt x="6688" y="13264"/>
                </a:lnTo>
                <a:lnTo>
                  <a:pt x="6684" y="13265"/>
                </a:lnTo>
                <a:lnTo>
                  <a:pt x="6675" y="13265"/>
                </a:lnTo>
                <a:lnTo>
                  <a:pt x="6666" y="13264"/>
                </a:lnTo>
                <a:lnTo>
                  <a:pt x="6645" y="13260"/>
                </a:lnTo>
                <a:lnTo>
                  <a:pt x="6622" y="13258"/>
                </a:lnTo>
                <a:lnTo>
                  <a:pt x="6609" y="13259"/>
                </a:lnTo>
                <a:lnTo>
                  <a:pt x="6597" y="13262"/>
                </a:lnTo>
                <a:lnTo>
                  <a:pt x="6591" y="13264"/>
                </a:lnTo>
                <a:lnTo>
                  <a:pt x="6585" y="13267"/>
                </a:lnTo>
                <a:lnTo>
                  <a:pt x="6579" y="13271"/>
                </a:lnTo>
                <a:lnTo>
                  <a:pt x="6574" y="13275"/>
                </a:lnTo>
                <a:lnTo>
                  <a:pt x="6578" y="13277"/>
                </a:lnTo>
                <a:lnTo>
                  <a:pt x="6583" y="13280"/>
                </a:lnTo>
                <a:lnTo>
                  <a:pt x="6587" y="13285"/>
                </a:lnTo>
                <a:lnTo>
                  <a:pt x="6592" y="13292"/>
                </a:lnTo>
                <a:lnTo>
                  <a:pt x="6596" y="13301"/>
                </a:lnTo>
                <a:lnTo>
                  <a:pt x="6601" y="13310"/>
                </a:lnTo>
                <a:lnTo>
                  <a:pt x="6605" y="13319"/>
                </a:lnTo>
                <a:lnTo>
                  <a:pt x="6608" y="13329"/>
                </a:lnTo>
                <a:lnTo>
                  <a:pt x="6614" y="13348"/>
                </a:lnTo>
                <a:lnTo>
                  <a:pt x="6619" y="13365"/>
                </a:lnTo>
                <a:lnTo>
                  <a:pt x="6619" y="13371"/>
                </a:lnTo>
                <a:lnTo>
                  <a:pt x="6619" y="13377"/>
                </a:lnTo>
                <a:lnTo>
                  <a:pt x="6619" y="13380"/>
                </a:lnTo>
                <a:lnTo>
                  <a:pt x="6617" y="13381"/>
                </a:lnTo>
                <a:lnTo>
                  <a:pt x="6616" y="13398"/>
                </a:lnTo>
                <a:lnTo>
                  <a:pt x="6613" y="13412"/>
                </a:lnTo>
                <a:lnTo>
                  <a:pt x="6610" y="13426"/>
                </a:lnTo>
                <a:lnTo>
                  <a:pt x="6606" y="13438"/>
                </a:lnTo>
                <a:lnTo>
                  <a:pt x="6601" y="13448"/>
                </a:lnTo>
                <a:lnTo>
                  <a:pt x="6594" y="13458"/>
                </a:lnTo>
                <a:lnTo>
                  <a:pt x="6587" y="13467"/>
                </a:lnTo>
                <a:lnTo>
                  <a:pt x="6580" y="13475"/>
                </a:lnTo>
                <a:lnTo>
                  <a:pt x="6562" y="13492"/>
                </a:lnTo>
                <a:lnTo>
                  <a:pt x="6543" y="13508"/>
                </a:lnTo>
                <a:lnTo>
                  <a:pt x="6532" y="13517"/>
                </a:lnTo>
                <a:lnTo>
                  <a:pt x="6522" y="13527"/>
                </a:lnTo>
                <a:lnTo>
                  <a:pt x="6511" y="13538"/>
                </a:lnTo>
                <a:lnTo>
                  <a:pt x="6500" y="13551"/>
                </a:lnTo>
                <a:lnTo>
                  <a:pt x="6495" y="13555"/>
                </a:lnTo>
                <a:lnTo>
                  <a:pt x="6490" y="13561"/>
                </a:lnTo>
                <a:lnTo>
                  <a:pt x="6484" y="13567"/>
                </a:lnTo>
                <a:lnTo>
                  <a:pt x="6479" y="13574"/>
                </a:lnTo>
                <a:lnTo>
                  <a:pt x="6469" y="13589"/>
                </a:lnTo>
                <a:lnTo>
                  <a:pt x="6459" y="13606"/>
                </a:lnTo>
                <a:lnTo>
                  <a:pt x="6450" y="13621"/>
                </a:lnTo>
                <a:lnTo>
                  <a:pt x="6442" y="13634"/>
                </a:lnTo>
                <a:lnTo>
                  <a:pt x="6437" y="13639"/>
                </a:lnTo>
                <a:lnTo>
                  <a:pt x="6433" y="13642"/>
                </a:lnTo>
                <a:lnTo>
                  <a:pt x="6429" y="13645"/>
                </a:lnTo>
                <a:lnTo>
                  <a:pt x="6426" y="13646"/>
                </a:lnTo>
                <a:lnTo>
                  <a:pt x="6425" y="13657"/>
                </a:lnTo>
                <a:lnTo>
                  <a:pt x="6424" y="13669"/>
                </a:lnTo>
                <a:lnTo>
                  <a:pt x="6423" y="13681"/>
                </a:lnTo>
                <a:lnTo>
                  <a:pt x="6421" y="13693"/>
                </a:lnTo>
                <a:lnTo>
                  <a:pt x="6416" y="13715"/>
                </a:lnTo>
                <a:lnTo>
                  <a:pt x="6410" y="13737"/>
                </a:lnTo>
                <a:lnTo>
                  <a:pt x="6404" y="13759"/>
                </a:lnTo>
                <a:lnTo>
                  <a:pt x="6399" y="13781"/>
                </a:lnTo>
                <a:lnTo>
                  <a:pt x="6397" y="13792"/>
                </a:lnTo>
                <a:lnTo>
                  <a:pt x="6396" y="13804"/>
                </a:lnTo>
                <a:lnTo>
                  <a:pt x="6395" y="13815"/>
                </a:lnTo>
                <a:lnTo>
                  <a:pt x="6394" y="13826"/>
                </a:lnTo>
                <a:lnTo>
                  <a:pt x="6397" y="13827"/>
                </a:lnTo>
                <a:lnTo>
                  <a:pt x="6398" y="13828"/>
                </a:lnTo>
                <a:lnTo>
                  <a:pt x="6399" y="13829"/>
                </a:lnTo>
                <a:lnTo>
                  <a:pt x="6400" y="13831"/>
                </a:lnTo>
                <a:lnTo>
                  <a:pt x="6401" y="13836"/>
                </a:lnTo>
                <a:lnTo>
                  <a:pt x="6401" y="13843"/>
                </a:lnTo>
                <a:lnTo>
                  <a:pt x="6401" y="13851"/>
                </a:lnTo>
                <a:lnTo>
                  <a:pt x="6401" y="13860"/>
                </a:lnTo>
                <a:lnTo>
                  <a:pt x="6402" y="13869"/>
                </a:lnTo>
                <a:lnTo>
                  <a:pt x="6405" y="13878"/>
                </a:lnTo>
                <a:lnTo>
                  <a:pt x="6410" y="13877"/>
                </a:lnTo>
                <a:lnTo>
                  <a:pt x="6414" y="13874"/>
                </a:lnTo>
                <a:lnTo>
                  <a:pt x="6418" y="13871"/>
                </a:lnTo>
                <a:lnTo>
                  <a:pt x="6422" y="13868"/>
                </a:lnTo>
                <a:lnTo>
                  <a:pt x="6428" y="13862"/>
                </a:lnTo>
                <a:lnTo>
                  <a:pt x="6432" y="13854"/>
                </a:lnTo>
                <a:lnTo>
                  <a:pt x="6436" y="13848"/>
                </a:lnTo>
                <a:lnTo>
                  <a:pt x="6439" y="13842"/>
                </a:lnTo>
                <a:lnTo>
                  <a:pt x="6441" y="13840"/>
                </a:lnTo>
                <a:lnTo>
                  <a:pt x="6443" y="13838"/>
                </a:lnTo>
                <a:lnTo>
                  <a:pt x="6445" y="13837"/>
                </a:lnTo>
                <a:lnTo>
                  <a:pt x="6447" y="13837"/>
                </a:lnTo>
                <a:lnTo>
                  <a:pt x="6447" y="13832"/>
                </a:lnTo>
                <a:lnTo>
                  <a:pt x="6448" y="13828"/>
                </a:lnTo>
                <a:lnTo>
                  <a:pt x="6449" y="13825"/>
                </a:lnTo>
                <a:lnTo>
                  <a:pt x="6450" y="13823"/>
                </a:lnTo>
                <a:lnTo>
                  <a:pt x="6452" y="13821"/>
                </a:lnTo>
                <a:lnTo>
                  <a:pt x="6454" y="13820"/>
                </a:lnTo>
                <a:lnTo>
                  <a:pt x="6456" y="13820"/>
                </a:lnTo>
                <a:lnTo>
                  <a:pt x="6459" y="13820"/>
                </a:lnTo>
                <a:lnTo>
                  <a:pt x="6464" y="13821"/>
                </a:lnTo>
                <a:lnTo>
                  <a:pt x="6470" y="13824"/>
                </a:lnTo>
                <a:lnTo>
                  <a:pt x="6476" y="13828"/>
                </a:lnTo>
                <a:lnTo>
                  <a:pt x="6482" y="13833"/>
                </a:lnTo>
                <a:lnTo>
                  <a:pt x="6487" y="13838"/>
                </a:lnTo>
                <a:lnTo>
                  <a:pt x="6492" y="13844"/>
                </a:lnTo>
                <a:lnTo>
                  <a:pt x="6495" y="13850"/>
                </a:lnTo>
                <a:lnTo>
                  <a:pt x="6496" y="13856"/>
                </a:lnTo>
                <a:lnTo>
                  <a:pt x="6496" y="13858"/>
                </a:lnTo>
                <a:lnTo>
                  <a:pt x="6495" y="13861"/>
                </a:lnTo>
                <a:lnTo>
                  <a:pt x="6494" y="13863"/>
                </a:lnTo>
                <a:lnTo>
                  <a:pt x="6493" y="13865"/>
                </a:lnTo>
                <a:lnTo>
                  <a:pt x="6490" y="13866"/>
                </a:lnTo>
                <a:lnTo>
                  <a:pt x="6486" y="13867"/>
                </a:lnTo>
                <a:lnTo>
                  <a:pt x="6483" y="13868"/>
                </a:lnTo>
                <a:lnTo>
                  <a:pt x="6478" y="13868"/>
                </a:lnTo>
                <a:lnTo>
                  <a:pt x="6470" y="13880"/>
                </a:lnTo>
                <a:lnTo>
                  <a:pt x="6462" y="13890"/>
                </a:lnTo>
                <a:lnTo>
                  <a:pt x="6454" y="13899"/>
                </a:lnTo>
                <a:lnTo>
                  <a:pt x="6445" y="13908"/>
                </a:lnTo>
                <a:lnTo>
                  <a:pt x="6429" y="13924"/>
                </a:lnTo>
                <a:lnTo>
                  <a:pt x="6414" y="13938"/>
                </a:lnTo>
                <a:lnTo>
                  <a:pt x="6406" y="13946"/>
                </a:lnTo>
                <a:lnTo>
                  <a:pt x="6399" y="13954"/>
                </a:lnTo>
                <a:lnTo>
                  <a:pt x="6392" y="13963"/>
                </a:lnTo>
                <a:lnTo>
                  <a:pt x="6385" y="13973"/>
                </a:lnTo>
                <a:lnTo>
                  <a:pt x="6379" y="13984"/>
                </a:lnTo>
                <a:lnTo>
                  <a:pt x="6373" y="13997"/>
                </a:lnTo>
                <a:lnTo>
                  <a:pt x="6368" y="14011"/>
                </a:lnTo>
                <a:lnTo>
                  <a:pt x="6361" y="14027"/>
                </a:lnTo>
                <a:lnTo>
                  <a:pt x="6354" y="14027"/>
                </a:lnTo>
                <a:lnTo>
                  <a:pt x="6348" y="14029"/>
                </a:lnTo>
                <a:lnTo>
                  <a:pt x="6341" y="14031"/>
                </a:lnTo>
                <a:lnTo>
                  <a:pt x="6334" y="14035"/>
                </a:lnTo>
                <a:lnTo>
                  <a:pt x="6327" y="14039"/>
                </a:lnTo>
                <a:lnTo>
                  <a:pt x="6321" y="14044"/>
                </a:lnTo>
                <a:lnTo>
                  <a:pt x="6315" y="14051"/>
                </a:lnTo>
                <a:lnTo>
                  <a:pt x="6309" y="14057"/>
                </a:lnTo>
                <a:lnTo>
                  <a:pt x="6297" y="14072"/>
                </a:lnTo>
                <a:lnTo>
                  <a:pt x="6287" y="14088"/>
                </a:lnTo>
                <a:lnTo>
                  <a:pt x="6278" y="14105"/>
                </a:lnTo>
                <a:lnTo>
                  <a:pt x="6270" y="14122"/>
                </a:lnTo>
                <a:lnTo>
                  <a:pt x="6265" y="14140"/>
                </a:lnTo>
                <a:lnTo>
                  <a:pt x="6261" y="14157"/>
                </a:lnTo>
                <a:lnTo>
                  <a:pt x="6260" y="14165"/>
                </a:lnTo>
                <a:lnTo>
                  <a:pt x="6259" y="14173"/>
                </a:lnTo>
                <a:lnTo>
                  <a:pt x="6259" y="14181"/>
                </a:lnTo>
                <a:lnTo>
                  <a:pt x="6259" y="14188"/>
                </a:lnTo>
                <a:lnTo>
                  <a:pt x="6261" y="14195"/>
                </a:lnTo>
                <a:lnTo>
                  <a:pt x="6262" y="14200"/>
                </a:lnTo>
                <a:lnTo>
                  <a:pt x="6265" y="14205"/>
                </a:lnTo>
                <a:lnTo>
                  <a:pt x="6268" y="14210"/>
                </a:lnTo>
                <a:lnTo>
                  <a:pt x="6272" y="14213"/>
                </a:lnTo>
                <a:lnTo>
                  <a:pt x="6276" y="14216"/>
                </a:lnTo>
                <a:lnTo>
                  <a:pt x="6282" y="14217"/>
                </a:lnTo>
                <a:lnTo>
                  <a:pt x="6288" y="14218"/>
                </a:lnTo>
                <a:lnTo>
                  <a:pt x="6289" y="14230"/>
                </a:lnTo>
                <a:lnTo>
                  <a:pt x="6290" y="14242"/>
                </a:lnTo>
                <a:lnTo>
                  <a:pt x="6293" y="14254"/>
                </a:lnTo>
                <a:lnTo>
                  <a:pt x="6296" y="14265"/>
                </a:lnTo>
                <a:lnTo>
                  <a:pt x="6300" y="14276"/>
                </a:lnTo>
                <a:lnTo>
                  <a:pt x="6305" y="14287"/>
                </a:lnTo>
                <a:lnTo>
                  <a:pt x="6311" y="14297"/>
                </a:lnTo>
                <a:lnTo>
                  <a:pt x="6317" y="14308"/>
                </a:lnTo>
                <a:lnTo>
                  <a:pt x="6253" y="14289"/>
                </a:lnTo>
                <a:lnTo>
                  <a:pt x="6188" y="14270"/>
                </a:lnTo>
                <a:lnTo>
                  <a:pt x="6124" y="14251"/>
                </a:lnTo>
                <a:lnTo>
                  <a:pt x="6060" y="14231"/>
                </a:lnTo>
                <a:lnTo>
                  <a:pt x="5997" y="14210"/>
                </a:lnTo>
                <a:lnTo>
                  <a:pt x="5934" y="14189"/>
                </a:lnTo>
                <a:lnTo>
                  <a:pt x="5871" y="14166"/>
                </a:lnTo>
                <a:lnTo>
                  <a:pt x="5808" y="14143"/>
                </a:lnTo>
                <a:lnTo>
                  <a:pt x="5806" y="14058"/>
                </a:lnTo>
                <a:lnTo>
                  <a:pt x="5806" y="13953"/>
                </a:lnTo>
                <a:lnTo>
                  <a:pt x="5807" y="13895"/>
                </a:lnTo>
                <a:lnTo>
                  <a:pt x="5808" y="13837"/>
                </a:lnTo>
                <a:lnTo>
                  <a:pt x="5810" y="13778"/>
                </a:lnTo>
                <a:lnTo>
                  <a:pt x="5813" y="13722"/>
                </a:lnTo>
                <a:lnTo>
                  <a:pt x="5817" y="13666"/>
                </a:lnTo>
                <a:lnTo>
                  <a:pt x="5822" y="13615"/>
                </a:lnTo>
                <a:lnTo>
                  <a:pt x="5828" y="13568"/>
                </a:lnTo>
                <a:lnTo>
                  <a:pt x="5834" y="13527"/>
                </a:lnTo>
                <a:lnTo>
                  <a:pt x="5838" y="13509"/>
                </a:lnTo>
                <a:lnTo>
                  <a:pt x="5843" y="13493"/>
                </a:lnTo>
                <a:lnTo>
                  <a:pt x="5847" y="13479"/>
                </a:lnTo>
                <a:lnTo>
                  <a:pt x="5852" y="13467"/>
                </a:lnTo>
                <a:lnTo>
                  <a:pt x="5857" y="13458"/>
                </a:lnTo>
                <a:lnTo>
                  <a:pt x="5864" y="13451"/>
                </a:lnTo>
                <a:lnTo>
                  <a:pt x="5869" y="13447"/>
                </a:lnTo>
                <a:lnTo>
                  <a:pt x="5876" y="13445"/>
                </a:lnTo>
                <a:lnTo>
                  <a:pt x="5877" y="13429"/>
                </a:lnTo>
                <a:lnTo>
                  <a:pt x="5880" y="13404"/>
                </a:lnTo>
                <a:lnTo>
                  <a:pt x="5886" y="13377"/>
                </a:lnTo>
                <a:lnTo>
                  <a:pt x="5893" y="13348"/>
                </a:lnTo>
                <a:lnTo>
                  <a:pt x="5896" y="13334"/>
                </a:lnTo>
                <a:lnTo>
                  <a:pt x="5901" y="13321"/>
                </a:lnTo>
                <a:lnTo>
                  <a:pt x="5905" y="13309"/>
                </a:lnTo>
                <a:lnTo>
                  <a:pt x="5909" y="13298"/>
                </a:lnTo>
                <a:lnTo>
                  <a:pt x="5914" y="13288"/>
                </a:lnTo>
                <a:lnTo>
                  <a:pt x="5919" y="13281"/>
                </a:lnTo>
                <a:lnTo>
                  <a:pt x="5921" y="13279"/>
                </a:lnTo>
                <a:lnTo>
                  <a:pt x="5923" y="13277"/>
                </a:lnTo>
                <a:lnTo>
                  <a:pt x="5926" y="13276"/>
                </a:lnTo>
                <a:lnTo>
                  <a:pt x="5928" y="13275"/>
                </a:lnTo>
                <a:lnTo>
                  <a:pt x="5929" y="13243"/>
                </a:lnTo>
                <a:lnTo>
                  <a:pt x="5930" y="13210"/>
                </a:lnTo>
                <a:lnTo>
                  <a:pt x="5931" y="13175"/>
                </a:lnTo>
                <a:lnTo>
                  <a:pt x="5932" y="13139"/>
                </a:lnTo>
                <a:lnTo>
                  <a:pt x="5933" y="13103"/>
                </a:lnTo>
                <a:lnTo>
                  <a:pt x="5932" y="13066"/>
                </a:lnTo>
                <a:lnTo>
                  <a:pt x="5931" y="13027"/>
                </a:lnTo>
                <a:lnTo>
                  <a:pt x="5928" y="12990"/>
                </a:lnTo>
                <a:lnTo>
                  <a:pt x="5925" y="12984"/>
                </a:lnTo>
                <a:lnTo>
                  <a:pt x="5923" y="12978"/>
                </a:lnTo>
                <a:lnTo>
                  <a:pt x="5922" y="12972"/>
                </a:lnTo>
                <a:lnTo>
                  <a:pt x="5921" y="12966"/>
                </a:lnTo>
                <a:lnTo>
                  <a:pt x="5920" y="12953"/>
                </a:lnTo>
                <a:lnTo>
                  <a:pt x="5922" y="12940"/>
                </a:lnTo>
                <a:lnTo>
                  <a:pt x="5924" y="12926"/>
                </a:lnTo>
                <a:lnTo>
                  <a:pt x="5928" y="12911"/>
                </a:lnTo>
                <a:lnTo>
                  <a:pt x="5934" y="12896"/>
                </a:lnTo>
                <a:lnTo>
                  <a:pt x="5940" y="12882"/>
                </a:lnTo>
                <a:lnTo>
                  <a:pt x="5953" y="12851"/>
                </a:lnTo>
                <a:lnTo>
                  <a:pt x="5968" y="12818"/>
                </a:lnTo>
                <a:lnTo>
                  <a:pt x="5974" y="12801"/>
                </a:lnTo>
                <a:lnTo>
                  <a:pt x="5981" y="12783"/>
                </a:lnTo>
                <a:lnTo>
                  <a:pt x="5987" y="12765"/>
                </a:lnTo>
                <a:lnTo>
                  <a:pt x="5992" y="12747"/>
                </a:lnTo>
                <a:lnTo>
                  <a:pt x="6003" y="12739"/>
                </a:lnTo>
                <a:lnTo>
                  <a:pt x="6012" y="12729"/>
                </a:lnTo>
                <a:lnTo>
                  <a:pt x="6021" y="12716"/>
                </a:lnTo>
                <a:lnTo>
                  <a:pt x="6028" y="12700"/>
                </a:lnTo>
                <a:lnTo>
                  <a:pt x="6035" y="12682"/>
                </a:lnTo>
                <a:lnTo>
                  <a:pt x="6041" y="12661"/>
                </a:lnTo>
                <a:lnTo>
                  <a:pt x="6046" y="12639"/>
                </a:lnTo>
                <a:lnTo>
                  <a:pt x="6050" y="12615"/>
                </a:lnTo>
                <a:lnTo>
                  <a:pt x="6054" y="12589"/>
                </a:lnTo>
                <a:lnTo>
                  <a:pt x="6057" y="12563"/>
                </a:lnTo>
                <a:lnTo>
                  <a:pt x="6059" y="12534"/>
                </a:lnTo>
                <a:lnTo>
                  <a:pt x="6061" y="12505"/>
                </a:lnTo>
                <a:lnTo>
                  <a:pt x="6064" y="12446"/>
                </a:lnTo>
                <a:lnTo>
                  <a:pt x="6066" y="12385"/>
                </a:lnTo>
                <a:lnTo>
                  <a:pt x="6068" y="12325"/>
                </a:lnTo>
                <a:lnTo>
                  <a:pt x="6070" y="12267"/>
                </a:lnTo>
                <a:lnTo>
                  <a:pt x="6073" y="12214"/>
                </a:lnTo>
                <a:lnTo>
                  <a:pt x="6077" y="12167"/>
                </a:lnTo>
                <a:lnTo>
                  <a:pt x="6080" y="12145"/>
                </a:lnTo>
                <a:lnTo>
                  <a:pt x="6083" y="12126"/>
                </a:lnTo>
                <a:lnTo>
                  <a:pt x="6087" y="12110"/>
                </a:lnTo>
                <a:lnTo>
                  <a:pt x="6092" y="12096"/>
                </a:lnTo>
                <a:lnTo>
                  <a:pt x="6097" y="12085"/>
                </a:lnTo>
                <a:lnTo>
                  <a:pt x="6103" y="12076"/>
                </a:lnTo>
                <a:lnTo>
                  <a:pt x="6110" y="12071"/>
                </a:lnTo>
                <a:lnTo>
                  <a:pt x="6119" y="12070"/>
                </a:lnTo>
                <a:lnTo>
                  <a:pt x="6120" y="12013"/>
                </a:lnTo>
                <a:lnTo>
                  <a:pt x="6122" y="11959"/>
                </a:lnTo>
                <a:lnTo>
                  <a:pt x="6125" y="11909"/>
                </a:lnTo>
                <a:lnTo>
                  <a:pt x="6129" y="11859"/>
                </a:lnTo>
                <a:lnTo>
                  <a:pt x="6134" y="11811"/>
                </a:lnTo>
                <a:lnTo>
                  <a:pt x="6138" y="11764"/>
                </a:lnTo>
                <a:lnTo>
                  <a:pt x="6143" y="11719"/>
                </a:lnTo>
                <a:lnTo>
                  <a:pt x="6147" y="11675"/>
                </a:lnTo>
                <a:lnTo>
                  <a:pt x="6151" y="11630"/>
                </a:lnTo>
                <a:lnTo>
                  <a:pt x="6154" y="11586"/>
                </a:lnTo>
                <a:lnTo>
                  <a:pt x="6156" y="11541"/>
                </a:lnTo>
                <a:lnTo>
                  <a:pt x="6157" y="11494"/>
                </a:lnTo>
                <a:lnTo>
                  <a:pt x="6156" y="11448"/>
                </a:lnTo>
                <a:lnTo>
                  <a:pt x="6153" y="11399"/>
                </a:lnTo>
                <a:lnTo>
                  <a:pt x="6150" y="11374"/>
                </a:lnTo>
                <a:lnTo>
                  <a:pt x="6148" y="11349"/>
                </a:lnTo>
                <a:lnTo>
                  <a:pt x="6144" y="11323"/>
                </a:lnTo>
                <a:lnTo>
                  <a:pt x="6140" y="11297"/>
                </a:lnTo>
                <a:lnTo>
                  <a:pt x="6142" y="11296"/>
                </a:lnTo>
                <a:lnTo>
                  <a:pt x="6142" y="11295"/>
                </a:lnTo>
                <a:lnTo>
                  <a:pt x="6142" y="11293"/>
                </a:lnTo>
                <a:lnTo>
                  <a:pt x="6141" y="11290"/>
                </a:lnTo>
                <a:lnTo>
                  <a:pt x="6136" y="11281"/>
                </a:lnTo>
                <a:lnTo>
                  <a:pt x="6128" y="11269"/>
                </a:lnTo>
                <a:lnTo>
                  <a:pt x="6106" y="11242"/>
                </a:lnTo>
                <a:lnTo>
                  <a:pt x="6079" y="11211"/>
                </a:lnTo>
                <a:lnTo>
                  <a:pt x="6051" y="11180"/>
                </a:lnTo>
                <a:lnTo>
                  <a:pt x="6026" y="11153"/>
                </a:lnTo>
                <a:lnTo>
                  <a:pt x="6009" y="11133"/>
                </a:lnTo>
                <a:lnTo>
                  <a:pt x="6002" y="11127"/>
                </a:lnTo>
                <a:lnTo>
                  <a:pt x="5988" y="11126"/>
                </a:lnTo>
                <a:lnTo>
                  <a:pt x="5973" y="11124"/>
                </a:lnTo>
                <a:lnTo>
                  <a:pt x="5959" y="11121"/>
                </a:lnTo>
                <a:lnTo>
                  <a:pt x="5946" y="11116"/>
                </a:lnTo>
                <a:lnTo>
                  <a:pt x="5933" y="11110"/>
                </a:lnTo>
                <a:lnTo>
                  <a:pt x="5920" y="11103"/>
                </a:lnTo>
                <a:lnTo>
                  <a:pt x="5907" y="11095"/>
                </a:lnTo>
                <a:lnTo>
                  <a:pt x="5895" y="11087"/>
                </a:lnTo>
                <a:lnTo>
                  <a:pt x="5884" y="11077"/>
                </a:lnTo>
                <a:lnTo>
                  <a:pt x="5872" y="11066"/>
                </a:lnTo>
                <a:lnTo>
                  <a:pt x="5861" y="11055"/>
                </a:lnTo>
                <a:lnTo>
                  <a:pt x="5850" y="11043"/>
                </a:lnTo>
                <a:lnTo>
                  <a:pt x="5840" y="11030"/>
                </a:lnTo>
                <a:lnTo>
                  <a:pt x="5830" y="11016"/>
                </a:lnTo>
                <a:lnTo>
                  <a:pt x="5820" y="11002"/>
                </a:lnTo>
                <a:lnTo>
                  <a:pt x="5812" y="10988"/>
                </a:lnTo>
                <a:lnTo>
                  <a:pt x="5795" y="10959"/>
                </a:lnTo>
                <a:lnTo>
                  <a:pt x="5781" y="10930"/>
                </a:lnTo>
                <a:lnTo>
                  <a:pt x="5768" y="10900"/>
                </a:lnTo>
                <a:lnTo>
                  <a:pt x="5758" y="10870"/>
                </a:lnTo>
                <a:lnTo>
                  <a:pt x="5749" y="10841"/>
                </a:lnTo>
                <a:lnTo>
                  <a:pt x="5743" y="10815"/>
                </a:lnTo>
                <a:lnTo>
                  <a:pt x="5741" y="10802"/>
                </a:lnTo>
                <a:lnTo>
                  <a:pt x="5740" y="10790"/>
                </a:lnTo>
                <a:lnTo>
                  <a:pt x="5739" y="10779"/>
                </a:lnTo>
                <a:lnTo>
                  <a:pt x="5738" y="10767"/>
                </a:lnTo>
                <a:lnTo>
                  <a:pt x="5731" y="10748"/>
                </a:lnTo>
                <a:lnTo>
                  <a:pt x="5723" y="10727"/>
                </a:lnTo>
                <a:lnTo>
                  <a:pt x="5714" y="10705"/>
                </a:lnTo>
                <a:lnTo>
                  <a:pt x="5705" y="10682"/>
                </a:lnTo>
                <a:lnTo>
                  <a:pt x="5697" y="10658"/>
                </a:lnTo>
                <a:lnTo>
                  <a:pt x="5691" y="10634"/>
                </a:lnTo>
                <a:lnTo>
                  <a:pt x="5688" y="10622"/>
                </a:lnTo>
                <a:lnTo>
                  <a:pt x="5686" y="10610"/>
                </a:lnTo>
                <a:lnTo>
                  <a:pt x="5685" y="10599"/>
                </a:lnTo>
                <a:lnTo>
                  <a:pt x="5685" y="10587"/>
                </a:lnTo>
                <a:lnTo>
                  <a:pt x="5687" y="10586"/>
                </a:lnTo>
                <a:lnTo>
                  <a:pt x="5688" y="10583"/>
                </a:lnTo>
                <a:lnTo>
                  <a:pt x="5687" y="10578"/>
                </a:lnTo>
                <a:lnTo>
                  <a:pt x="5685" y="10571"/>
                </a:lnTo>
                <a:lnTo>
                  <a:pt x="5677" y="10553"/>
                </a:lnTo>
                <a:lnTo>
                  <a:pt x="5665" y="10529"/>
                </a:lnTo>
                <a:lnTo>
                  <a:pt x="5649" y="10500"/>
                </a:lnTo>
                <a:lnTo>
                  <a:pt x="5630" y="10468"/>
                </a:lnTo>
                <a:lnTo>
                  <a:pt x="5610" y="10434"/>
                </a:lnTo>
                <a:lnTo>
                  <a:pt x="5587" y="10400"/>
                </a:lnTo>
                <a:lnTo>
                  <a:pt x="5542" y="10331"/>
                </a:lnTo>
                <a:lnTo>
                  <a:pt x="5503" y="10272"/>
                </a:lnTo>
                <a:lnTo>
                  <a:pt x="5473" y="10230"/>
                </a:lnTo>
                <a:lnTo>
                  <a:pt x="5462" y="10217"/>
                </a:lnTo>
                <a:lnTo>
                  <a:pt x="5450" y="10210"/>
                </a:lnTo>
                <a:lnTo>
                  <a:pt x="5440" y="10203"/>
                </a:lnTo>
                <a:lnTo>
                  <a:pt x="5431" y="10195"/>
                </a:lnTo>
                <a:lnTo>
                  <a:pt x="5424" y="10187"/>
                </a:lnTo>
                <a:lnTo>
                  <a:pt x="5418" y="10180"/>
                </a:lnTo>
                <a:lnTo>
                  <a:pt x="5413" y="10172"/>
                </a:lnTo>
                <a:lnTo>
                  <a:pt x="5409" y="10163"/>
                </a:lnTo>
                <a:lnTo>
                  <a:pt x="5406" y="10155"/>
                </a:lnTo>
                <a:lnTo>
                  <a:pt x="5405" y="10147"/>
                </a:lnTo>
                <a:lnTo>
                  <a:pt x="5404" y="10137"/>
                </a:lnTo>
                <a:lnTo>
                  <a:pt x="5405" y="10128"/>
                </a:lnTo>
                <a:lnTo>
                  <a:pt x="5406" y="10119"/>
                </a:lnTo>
                <a:lnTo>
                  <a:pt x="5408" y="10110"/>
                </a:lnTo>
                <a:lnTo>
                  <a:pt x="5410" y="10101"/>
                </a:lnTo>
                <a:lnTo>
                  <a:pt x="5413" y="10092"/>
                </a:lnTo>
                <a:lnTo>
                  <a:pt x="5417" y="10082"/>
                </a:lnTo>
                <a:lnTo>
                  <a:pt x="5435" y="10042"/>
                </a:lnTo>
                <a:lnTo>
                  <a:pt x="5455" y="10000"/>
                </a:lnTo>
                <a:lnTo>
                  <a:pt x="5465" y="9978"/>
                </a:lnTo>
                <a:lnTo>
                  <a:pt x="5473" y="9956"/>
                </a:lnTo>
                <a:lnTo>
                  <a:pt x="5476" y="9945"/>
                </a:lnTo>
                <a:lnTo>
                  <a:pt x="5479" y="9934"/>
                </a:lnTo>
                <a:lnTo>
                  <a:pt x="5483" y="9922"/>
                </a:lnTo>
                <a:lnTo>
                  <a:pt x="5484" y="9911"/>
                </a:lnTo>
                <a:lnTo>
                  <a:pt x="5473" y="9906"/>
                </a:lnTo>
                <a:lnTo>
                  <a:pt x="5464" y="9900"/>
                </a:lnTo>
                <a:lnTo>
                  <a:pt x="5456" y="9893"/>
                </a:lnTo>
                <a:lnTo>
                  <a:pt x="5450" y="9883"/>
                </a:lnTo>
                <a:lnTo>
                  <a:pt x="5444" y="9873"/>
                </a:lnTo>
                <a:lnTo>
                  <a:pt x="5440" y="9862"/>
                </a:lnTo>
                <a:lnTo>
                  <a:pt x="5437" y="9850"/>
                </a:lnTo>
                <a:lnTo>
                  <a:pt x="5435" y="9837"/>
                </a:lnTo>
                <a:lnTo>
                  <a:pt x="5434" y="9824"/>
                </a:lnTo>
                <a:lnTo>
                  <a:pt x="5433" y="9809"/>
                </a:lnTo>
                <a:lnTo>
                  <a:pt x="5434" y="9795"/>
                </a:lnTo>
                <a:lnTo>
                  <a:pt x="5435" y="9779"/>
                </a:lnTo>
                <a:lnTo>
                  <a:pt x="5437" y="9763"/>
                </a:lnTo>
                <a:lnTo>
                  <a:pt x="5439" y="9747"/>
                </a:lnTo>
                <a:lnTo>
                  <a:pt x="5443" y="9731"/>
                </a:lnTo>
                <a:lnTo>
                  <a:pt x="5446" y="9715"/>
                </a:lnTo>
                <a:lnTo>
                  <a:pt x="5455" y="9684"/>
                </a:lnTo>
                <a:lnTo>
                  <a:pt x="5466" y="9654"/>
                </a:lnTo>
                <a:lnTo>
                  <a:pt x="5477" y="9625"/>
                </a:lnTo>
                <a:lnTo>
                  <a:pt x="5490" y="9601"/>
                </a:lnTo>
                <a:lnTo>
                  <a:pt x="5497" y="9590"/>
                </a:lnTo>
                <a:lnTo>
                  <a:pt x="5503" y="9580"/>
                </a:lnTo>
                <a:lnTo>
                  <a:pt x="5509" y="9572"/>
                </a:lnTo>
                <a:lnTo>
                  <a:pt x="5515" y="9564"/>
                </a:lnTo>
                <a:lnTo>
                  <a:pt x="5521" y="9558"/>
                </a:lnTo>
                <a:lnTo>
                  <a:pt x="5526" y="9554"/>
                </a:lnTo>
                <a:lnTo>
                  <a:pt x="5532" y="9551"/>
                </a:lnTo>
                <a:lnTo>
                  <a:pt x="5537" y="9551"/>
                </a:lnTo>
                <a:lnTo>
                  <a:pt x="5539" y="9536"/>
                </a:lnTo>
                <a:lnTo>
                  <a:pt x="5544" y="9523"/>
                </a:lnTo>
                <a:lnTo>
                  <a:pt x="5549" y="9510"/>
                </a:lnTo>
                <a:lnTo>
                  <a:pt x="5556" y="9499"/>
                </a:lnTo>
                <a:lnTo>
                  <a:pt x="5565" y="9489"/>
                </a:lnTo>
                <a:lnTo>
                  <a:pt x="5575" y="9480"/>
                </a:lnTo>
                <a:lnTo>
                  <a:pt x="5587" y="9472"/>
                </a:lnTo>
                <a:lnTo>
                  <a:pt x="5600" y="9466"/>
                </a:lnTo>
                <a:lnTo>
                  <a:pt x="5603" y="9475"/>
                </a:lnTo>
                <a:lnTo>
                  <a:pt x="5606" y="9482"/>
                </a:lnTo>
                <a:lnTo>
                  <a:pt x="5610" y="9489"/>
                </a:lnTo>
                <a:lnTo>
                  <a:pt x="5614" y="9494"/>
                </a:lnTo>
                <a:lnTo>
                  <a:pt x="5619" y="9497"/>
                </a:lnTo>
                <a:lnTo>
                  <a:pt x="5623" y="9500"/>
                </a:lnTo>
                <a:lnTo>
                  <a:pt x="5628" y="9501"/>
                </a:lnTo>
                <a:lnTo>
                  <a:pt x="5633" y="9502"/>
                </a:lnTo>
                <a:lnTo>
                  <a:pt x="5639" y="9501"/>
                </a:lnTo>
                <a:lnTo>
                  <a:pt x="5644" y="9500"/>
                </a:lnTo>
                <a:lnTo>
                  <a:pt x="5649" y="9498"/>
                </a:lnTo>
                <a:lnTo>
                  <a:pt x="5654" y="9495"/>
                </a:lnTo>
                <a:lnTo>
                  <a:pt x="5659" y="9492"/>
                </a:lnTo>
                <a:lnTo>
                  <a:pt x="5664" y="9488"/>
                </a:lnTo>
                <a:lnTo>
                  <a:pt x="5668" y="9484"/>
                </a:lnTo>
                <a:lnTo>
                  <a:pt x="5673" y="9479"/>
                </a:lnTo>
                <a:lnTo>
                  <a:pt x="5680" y="9468"/>
                </a:lnTo>
                <a:lnTo>
                  <a:pt x="5686" y="9457"/>
                </a:lnTo>
                <a:lnTo>
                  <a:pt x="5687" y="9452"/>
                </a:lnTo>
                <a:lnTo>
                  <a:pt x="5689" y="9447"/>
                </a:lnTo>
                <a:lnTo>
                  <a:pt x="5689" y="9441"/>
                </a:lnTo>
                <a:lnTo>
                  <a:pt x="5689" y="9436"/>
                </a:lnTo>
                <a:lnTo>
                  <a:pt x="5688" y="9431"/>
                </a:lnTo>
                <a:lnTo>
                  <a:pt x="5686" y="9427"/>
                </a:lnTo>
                <a:lnTo>
                  <a:pt x="5683" y="9423"/>
                </a:lnTo>
                <a:lnTo>
                  <a:pt x="5679" y="9420"/>
                </a:lnTo>
                <a:lnTo>
                  <a:pt x="5675" y="9417"/>
                </a:lnTo>
                <a:lnTo>
                  <a:pt x="5669" y="9415"/>
                </a:lnTo>
                <a:lnTo>
                  <a:pt x="5661" y="9414"/>
                </a:lnTo>
                <a:lnTo>
                  <a:pt x="5653" y="9413"/>
                </a:lnTo>
                <a:lnTo>
                  <a:pt x="5653" y="9383"/>
                </a:lnTo>
                <a:lnTo>
                  <a:pt x="5652" y="9348"/>
                </a:lnTo>
                <a:lnTo>
                  <a:pt x="5651" y="9311"/>
                </a:lnTo>
                <a:lnTo>
                  <a:pt x="5650" y="9273"/>
                </a:lnTo>
                <a:lnTo>
                  <a:pt x="5650" y="9236"/>
                </a:lnTo>
                <a:lnTo>
                  <a:pt x="5650" y="9203"/>
                </a:lnTo>
                <a:lnTo>
                  <a:pt x="5651" y="9177"/>
                </a:lnTo>
                <a:lnTo>
                  <a:pt x="5653" y="9159"/>
                </a:lnTo>
                <a:lnTo>
                  <a:pt x="5652" y="9138"/>
                </a:lnTo>
                <a:lnTo>
                  <a:pt x="5649" y="9114"/>
                </a:lnTo>
                <a:lnTo>
                  <a:pt x="5644" y="9091"/>
                </a:lnTo>
                <a:lnTo>
                  <a:pt x="5637" y="9067"/>
                </a:lnTo>
                <a:lnTo>
                  <a:pt x="5629" y="9044"/>
                </a:lnTo>
                <a:lnTo>
                  <a:pt x="5619" y="9023"/>
                </a:lnTo>
                <a:lnTo>
                  <a:pt x="5614" y="9013"/>
                </a:lnTo>
                <a:lnTo>
                  <a:pt x="5609" y="9003"/>
                </a:lnTo>
                <a:lnTo>
                  <a:pt x="5602" y="8994"/>
                </a:lnTo>
                <a:lnTo>
                  <a:pt x="5596" y="8987"/>
                </a:lnTo>
                <a:lnTo>
                  <a:pt x="5590" y="8980"/>
                </a:lnTo>
                <a:lnTo>
                  <a:pt x="5583" y="8975"/>
                </a:lnTo>
                <a:lnTo>
                  <a:pt x="5576" y="8970"/>
                </a:lnTo>
                <a:lnTo>
                  <a:pt x="5570" y="8967"/>
                </a:lnTo>
                <a:lnTo>
                  <a:pt x="5563" y="8965"/>
                </a:lnTo>
                <a:lnTo>
                  <a:pt x="5556" y="8965"/>
                </a:lnTo>
                <a:lnTo>
                  <a:pt x="5549" y="8966"/>
                </a:lnTo>
                <a:lnTo>
                  <a:pt x="5542" y="8969"/>
                </a:lnTo>
                <a:lnTo>
                  <a:pt x="5534" y="8974"/>
                </a:lnTo>
                <a:lnTo>
                  <a:pt x="5527" y="8980"/>
                </a:lnTo>
                <a:lnTo>
                  <a:pt x="5520" y="8988"/>
                </a:lnTo>
                <a:lnTo>
                  <a:pt x="5513" y="8999"/>
                </a:lnTo>
                <a:lnTo>
                  <a:pt x="5506" y="9012"/>
                </a:lnTo>
                <a:lnTo>
                  <a:pt x="5498" y="9027"/>
                </a:lnTo>
                <a:lnTo>
                  <a:pt x="5491" y="9044"/>
                </a:lnTo>
                <a:lnTo>
                  <a:pt x="5484" y="9064"/>
                </a:lnTo>
                <a:lnTo>
                  <a:pt x="5467" y="9057"/>
                </a:lnTo>
                <a:lnTo>
                  <a:pt x="5449" y="9051"/>
                </a:lnTo>
                <a:lnTo>
                  <a:pt x="5428" y="9045"/>
                </a:lnTo>
                <a:lnTo>
                  <a:pt x="5407" y="9040"/>
                </a:lnTo>
                <a:lnTo>
                  <a:pt x="5360" y="9030"/>
                </a:lnTo>
                <a:lnTo>
                  <a:pt x="5312" y="9017"/>
                </a:lnTo>
                <a:lnTo>
                  <a:pt x="5289" y="9010"/>
                </a:lnTo>
                <a:lnTo>
                  <a:pt x="5268" y="9000"/>
                </a:lnTo>
                <a:lnTo>
                  <a:pt x="5258" y="8995"/>
                </a:lnTo>
                <a:lnTo>
                  <a:pt x="5248" y="8989"/>
                </a:lnTo>
                <a:lnTo>
                  <a:pt x="5239" y="8984"/>
                </a:lnTo>
                <a:lnTo>
                  <a:pt x="5230" y="8977"/>
                </a:lnTo>
                <a:lnTo>
                  <a:pt x="5221" y="8970"/>
                </a:lnTo>
                <a:lnTo>
                  <a:pt x="5214" y="8963"/>
                </a:lnTo>
                <a:lnTo>
                  <a:pt x="5207" y="8955"/>
                </a:lnTo>
                <a:lnTo>
                  <a:pt x="5201" y="8946"/>
                </a:lnTo>
                <a:lnTo>
                  <a:pt x="5196" y="8937"/>
                </a:lnTo>
                <a:lnTo>
                  <a:pt x="5192" y="8927"/>
                </a:lnTo>
                <a:lnTo>
                  <a:pt x="5189" y="8917"/>
                </a:lnTo>
                <a:lnTo>
                  <a:pt x="5187" y="8905"/>
                </a:lnTo>
                <a:lnTo>
                  <a:pt x="5188" y="8899"/>
                </a:lnTo>
                <a:lnTo>
                  <a:pt x="5188" y="8893"/>
                </a:lnTo>
                <a:lnTo>
                  <a:pt x="5187" y="8886"/>
                </a:lnTo>
                <a:lnTo>
                  <a:pt x="5186" y="8878"/>
                </a:lnTo>
                <a:lnTo>
                  <a:pt x="5181" y="8864"/>
                </a:lnTo>
                <a:lnTo>
                  <a:pt x="5174" y="8849"/>
                </a:lnTo>
                <a:lnTo>
                  <a:pt x="5165" y="8833"/>
                </a:lnTo>
                <a:lnTo>
                  <a:pt x="5154" y="8817"/>
                </a:lnTo>
                <a:lnTo>
                  <a:pt x="5143" y="8800"/>
                </a:lnTo>
                <a:lnTo>
                  <a:pt x="5130" y="8784"/>
                </a:lnTo>
                <a:lnTo>
                  <a:pt x="5116" y="8769"/>
                </a:lnTo>
                <a:lnTo>
                  <a:pt x="5101" y="8753"/>
                </a:lnTo>
                <a:lnTo>
                  <a:pt x="5087" y="8739"/>
                </a:lnTo>
                <a:lnTo>
                  <a:pt x="5074" y="8727"/>
                </a:lnTo>
                <a:lnTo>
                  <a:pt x="5061" y="8715"/>
                </a:lnTo>
                <a:lnTo>
                  <a:pt x="5049" y="8706"/>
                </a:lnTo>
                <a:lnTo>
                  <a:pt x="5038" y="8698"/>
                </a:lnTo>
                <a:lnTo>
                  <a:pt x="5029" y="8693"/>
                </a:lnTo>
                <a:lnTo>
                  <a:pt x="5032" y="8683"/>
                </a:lnTo>
                <a:lnTo>
                  <a:pt x="5033" y="8672"/>
                </a:lnTo>
                <a:lnTo>
                  <a:pt x="5033" y="8662"/>
                </a:lnTo>
                <a:lnTo>
                  <a:pt x="5031" y="8651"/>
                </a:lnTo>
                <a:lnTo>
                  <a:pt x="5028" y="8641"/>
                </a:lnTo>
                <a:lnTo>
                  <a:pt x="5024" y="8629"/>
                </a:lnTo>
                <a:lnTo>
                  <a:pt x="5018" y="8618"/>
                </a:lnTo>
                <a:lnTo>
                  <a:pt x="5011" y="8607"/>
                </a:lnTo>
                <a:lnTo>
                  <a:pt x="5004" y="8597"/>
                </a:lnTo>
                <a:lnTo>
                  <a:pt x="4995" y="8586"/>
                </a:lnTo>
                <a:lnTo>
                  <a:pt x="4985" y="8575"/>
                </a:lnTo>
                <a:lnTo>
                  <a:pt x="4974" y="8565"/>
                </a:lnTo>
                <a:lnTo>
                  <a:pt x="4962" y="8555"/>
                </a:lnTo>
                <a:lnTo>
                  <a:pt x="4951" y="8545"/>
                </a:lnTo>
                <a:lnTo>
                  <a:pt x="4938" y="8535"/>
                </a:lnTo>
                <a:lnTo>
                  <a:pt x="4925" y="8526"/>
                </a:lnTo>
                <a:lnTo>
                  <a:pt x="4898" y="8508"/>
                </a:lnTo>
                <a:lnTo>
                  <a:pt x="4871" y="8490"/>
                </a:lnTo>
                <a:lnTo>
                  <a:pt x="4842" y="8476"/>
                </a:lnTo>
                <a:lnTo>
                  <a:pt x="4814" y="8463"/>
                </a:lnTo>
                <a:lnTo>
                  <a:pt x="4788" y="8453"/>
                </a:lnTo>
                <a:lnTo>
                  <a:pt x="4763" y="8446"/>
                </a:lnTo>
                <a:lnTo>
                  <a:pt x="4752" y="8443"/>
                </a:lnTo>
                <a:lnTo>
                  <a:pt x="4741" y="8441"/>
                </a:lnTo>
                <a:lnTo>
                  <a:pt x="4731" y="8440"/>
                </a:lnTo>
                <a:lnTo>
                  <a:pt x="4721" y="8439"/>
                </a:lnTo>
                <a:lnTo>
                  <a:pt x="4721" y="8435"/>
                </a:lnTo>
                <a:lnTo>
                  <a:pt x="4719" y="8432"/>
                </a:lnTo>
                <a:lnTo>
                  <a:pt x="4717" y="8429"/>
                </a:lnTo>
                <a:lnTo>
                  <a:pt x="4713" y="8427"/>
                </a:lnTo>
                <a:lnTo>
                  <a:pt x="4705" y="8423"/>
                </a:lnTo>
                <a:lnTo>
                  <a:pt x="4695" y="8420"/>
                </a:lnTo>
                <a:lnTo>
                  <a:pt x="4685" y="8417"/>
                </a:lnTo>
                <a:lnTo>
                  <a:pt x="4674" y="8413"/>
                </a:lnTo>
                <a:lnTo>
                  <a:pt x="4670" y="8410"/>
                </a:lnTo>
                <a:lnTo>
                  <a:pt x="4665" y="8406"/>
                </a:lnTo>
                <a:lnTo>
                  <a:pt x="4661" y="8402"/>
                </a:lnTo>
                <a:lnTo>
                  <a:pt x="4658" y="8397"/>
                </a:lnTo>
                <a:lnTo>
                  <a:pt x="4650" y="8397"/>
                </a:lnTo>
                <a:lnTo>
                  <a:pt x="4642" y="8396"/>
                </a:lnTo>
                <a:lnTo>
                  <a:pt x="4634" y="8394"/>
                </a:lnTo>
                <a:lnTo>
                  <a:pt x="4626" y="8392"/>
                </a:lnTo>
                <a:lnTo>
                  <a:pt x="4619" y="8389"/>
                </a:lnTo>
                <a:lnTo>
                  <a:pt x="4612" y="8386"/>
                </a:lnTo>
                <a:lnTo>
                  <a:pt x="4606" y="8382"/>
                </a:lnTo>
                <a:lnTo>
                  <a:pt x="4598" y="8376"/>
                </a:lnTo>
                <a:lnTo>
                  <a:pt x="4586" y="8367"/>
                </a:lnTo>
                <a:lnTo>
                  <a:pt x="4574" y="8356"/>
                </a:lnTo>
                <a:lnTo>
                  <a:pt x="4563" y="8345"/>
                </a:lnTo>
                <a:lnTo>
                  <a:pt x="4552" y="8333"/>
                </a:lnTo>
                <a:lnTo>
                  <a:pt x="4540" y="8321"/>
                </a:lnTo>
                <a:lnTo>
                  <a:pt x="4528" y="8310"/>
                </a:lnTo>
                <a:lnTo>
                  <a:pt x="4516" y="8299"/>
                </a:lnTo>
                <a:lnTo>
                  <a:pt x="4503" y="8290"/>
                </a:lnTo>
                <a:lnTo>
                  <a:pt x="4496" y="8286"/>
                </a:lnTo>
                <a:lnTo>
                  <a:pt x="4488" y="8282"/>
                </a:lnTo>
                <a:lnTo>
                  <a:pt x="4481" y="8278"/>
                </a:lnTo>
                <a:lnTo>
                  <a:pt x="4472" y="8276"/>
                </a:lnTo>
                <a:lnTo>
                  <a:pt x="4463" y="8273"/>
                </a:lnTo>
                <a:lnTo>
                  <a:pt x="4455" y="8272"/>
                </a:lnTo>
                <a:lnTo>
                  <a:pt x="4445" y="8271"/>
                </a:lnTo>
                <a:lnTo>
                  <a:pt x="4436" y="8270"/>
                </a:lnTo>
                <a:lnTo>
                  <a:pt x="4413" y="8269"/>
                </a:lnTo>
                <a:lnTo>
                  <a:pt x="4390" y="8267"/>
                </a:lnTo>
                <a:lnTo>
                  <a:pt x="4367" y="8262"/>
                </a:lnTo>
                <a:lnTo>
                  <a:pt x="4343" y="8257"/>
                </a:lnTo>
                <a:lnTo>
                  <a:pt x="4298" y="8243"/>
                </a:lnTo>
                <a:lnTo>
                  <a:pt x="4253" y="8227"/>
                </a:lnTo>
                <a:lnTo>
                  <a:pt x="4207" y="8212"/>
                </a:lnTo>
                <a:lnTo>
                  <a:pt x="4163" y="8198"/>
                </a:lnTo>
                <a:lnTo>
                  <a:pt x="4141" y="8193"/>
                </a:lnTo>
                <a:lnTo>
                  <a:pt x="4119" y="8189"/>
                </a:lnTo>
                <a:lnTo>
                  <a:pt x="4098" y="8186"/>
                </a:lnTo>
                <a:lnTo>
                  <a:pt x="4076" y="8185"/>
                </a:lnTo>
                <a:lnTo>
                  <a:pt x="4072" y="8179"/>
                </a:lnTo>
                <a:lnTo>
                  <a:pt x="4067" y="8172"/>
                </a:lnTo>
                <a:lnTo>
                  <a:pt x="4062" y="8167"/>
                </a:lnTo>
                <a:lnTo>
                  <a:pt x="4056" y="8162"/>
                </a:lnTo>
                <a:lnTo>
                  <a:pt x="4049" y="8157"/>
                </a:lnTo>
                <a:lnTo>
                  <a:pt x="4042" y="8153"/>
                </a:lnTo>
                <a:lnTo>
                  <a:pt x="4034" y="8149"/>
                </a:lnTo>
                <a:lnTo>
                  <a:pt x="4026" y="8145"/>
                </a:lnTo>
                <a:lnTo>
                  <a:pt x="4009" y="8139"/>
                </a:lnTo>
                <a:lnTo>
                  <a:pt x="3990" y="8134"/>
                </a:lnTo>
                <a:lnTo>
                  <a:pt x="3971" y="8129"/>
                </a:lnTo>
                <a:lnTo>
                  <a:pt x="3950" y="8123"/>
                </a:lnTo>
                <a:lnTo>
                  <a:pt x="3930" y="8119"/>
                </a:lnTo>
                <a:lnTo>
                  <a:pt x="3910" y="8114"/>
                </a:lnTo>
                <a:lnTo>
                  <a:pt x="3892" y="8108"/>
                </a:lnTo>
                <a:lnTo>
                  <a:pt x="3874" y="8101"/>
                </a:lnTo>
                <a:lnTo>
                  <a:pt x="3866" y="8097"/>
                </a:lnTo>
                <a:lnTo>
                  <a:pt x="3858" y="8093"/>
                </a:lnTo>
                <a:lnTo>
                  <a:pt x="3850" y="8089"/>
                </a:lnTo>
                <a:lnTo>
                  <a:pt x="3844" y="8084"/>
                </a:lnTo>
                <a:lnTo>
                  <a:pt x="3837" y="8078"/>
                </a:lnTo>
                <a:lnTo>
                  <a:pt x="3831" y="8072"/>
                </a:lnTo>
                <a:lnTo>
                  <a:pt x="3826" y="8065"/>
                </a:lnTo>
                <a:lnTo>
                  <a:pt x="3822" y="8058"/>
                </a:lnTo>
                <a:lnTo>
                  <a:pt x="3814" y="8058"/>
                </a:lnTo>
                <a:lnTo>
                  <a:pt x="3805" y="8056"/>
                </a:lnTo>
                <a:lnTo>
                  <a:pt x="3798" y="8054"/>
                </a:lnTo>
                <a:lnTo>
                  <a:pt x="3790" y="8051"/>
                </a:lnTo>
                <a:lnTo>
                  <a:pt x="3783" y="8047"/>
                </a:lnTo>
                <a:lnTo>
                  <a:pt x="3776" y="8042"/>
                </a:lnTo>
                <a:lnTo>
                  <a:pt x="3770" y="8036"/>
                </a:lnTo>
                <a:lnTo>
                  <a:pt x="3763" y="8030"/>
                </a:lnTo>
                <a:lnTo>
                  <a:pt x="3758" y="8023"/>
                </a:lnTo>
                <a:lnTo>
                  <a:pt x="3752" y="8016"/>
                </a:lnTo>
                <a:lnTo>
                  <a:pt x="3747" y="8008"/>
                </a:lnTo>
                <a:lnTo>
                  <a:pt x="3741" y="7999"/>
                </a:lnTo>
                <a:lnTo>
                  <a:pt x="3732" y="7981"/>
                </a:lnTo>
                <a:lnTo>
                  <a:pt x="3724" y="7962"/>
                </a:lnTo>
                <a:lnTo>
                  <a:pt x="3716" y="7943"/>
                </a:lnTo>
                <a:lnTo>
                  <a:pt x="3709" y="7923"/>
                </a:lnTo>
                <a:lnTo>
                  <a:pt x="3704" y="7903"/>
                </a:lnTo>
                <a:lnTo>
                  <a:pt x="3700" y="7884"/>
                </a:lnTo>
                <a:lnTo>
                  <a:pt x="3696" y="7864"/>
                </a:lnTo>
                <a:lnTo>
                  <a:pt x="3694" y="7847"/>
                </a:lnTo>
                <a:lnTo>
                  <a:pt x="3692" y="7832"/>
                </a:lnTo>
                <a:lnTo>
                  <a:pt x="3691" y="7818"/>
                </a:lnTo>
                <a:lnTo>
                  <a:pt x="3690" y="7802"/>
                </a:lnTo>
                <a:lnTo>
                  <a:pt x="3687" y="7781"/>
                </a:lnTo>
                <a:lnTo>
                  <a:pt x="3683" y="7757"/>
                </a:lnTo>
                <a:lnTo>
                  <a:pt x="3678" y="7730"/>
                </a:lnTo>
                <a:lnTo>
                  <a:pt x="3671" y="7702"/>
                </a:lnTo>
                <a:lnTo>
                  <a:pt x="3663" y="7673"/>
                </a:lnTo>
                <a:lnTo>
                  <a:pt x="3654" y="7643"/>
                </a:lnTo>
                <a:lnTo>
                  <a:pt x="3643" y="7612"/>
                </a:lnTo>
                <a:lnTo>
                  <a:pt x="3632" y="7584"/>
                </a:lnTo>
                <a:lnTo>
                  <a:pt x="3619" y="7557"/>
                </a:lnTo>
                <a:lnTo>
                  <a:pt x="3612" y="7544"/>
                </a:lnTo>
                <a:lnTo>
                  <a:pt x="3605" y="7532"/>
                </a:lnTo>
                <a:lnTo>
                  <a:pt x="3597" y="7521"/>
                </a:lnTo>
                <a:lnTo>
                  <a:pt x="3588" y="7510"/>
                </a:lnTo>
                <a:lnTo>
                  <a:pt x="3580" y="7501"/>
                </a:lnTo>
                <a:lnTo>
                  <a:pt x="3572" y="7491"/>
                </a:lnTo>
                <a:lnTo>
                  <a:pt x="3563" y="7484"/>
                </a:lnTo>
                <a:lnTo>
                  <a:pt x="3554" y="7477"/>
                </a:lnTo>
                <a:lnTo>
                  <a:pt x="3545" y="7472"/>
                </a:lnTo>
                <a:lnTo>
                  <a:pt x="3535" y="7469"/>
                </a:lnTo>
                <a:lnTo>
                  <a:pt x="3526" y="7466"/>
                </a:lnTo>
                <a:lnTo>
                  <a:pt x="3515" y="7466"/>
                </a:lnTo>
                <a:lnTo>
                  <a:pt x="3515" y="7459"/>
                </a:lnTo>
                <a:lnTo>
                  <a:pt x="3514" y="7453"/>
                </a:lnTo>
                <a:lnTo>
                  <a:pt x="3512" y="7446"/>
                </a:lnTo>
                <a:lnTo>
                  <a:pt x="3509" y="7439"/>
                </a:lnTo>
                <a:lnTo>
                  <a:pt x="3501" y="7424"/>
                </a:lnTo>
                <a:lnTo>
                  <a:pt x="3491" y="7410"/>
                </a:lnTo>
                <a:lnTo>
                  <a:pt x="3479" y="7395"/>
                </a:lnTo>
                <a:lnTo>
                  <a:pt x="3466" y="7380"/>
                </a:lnTo>
                <a:lnTo>
                  <a:pt x="3450" y="7364"/>
                </a:lnTo>
                <a:lnTo>
                  <a:pt x="3434" y="7350"/>
                </a:lnTo>
                <a:lnTo>
                  <a:pt x="3418" y="7337"/>
                </a:lnTo>
                <a:lnTo>
                  <a:pt x="3402" y="7325"/>
                </a:lnTo>
                <a:lnTo>
                  <a:pt x="3386" y="7314"/>
                </a:lnTo>
                <a:lnTo>
                  <a:pt x="3371" y="7304"/>
                </a:lnTo>
                <a:lnTo>
                  <a:pt x="3357" y="7297"/>
                </a:lnTo>
                <a:lnTo>
                  <a:pt x="3345" y="7291"/>
                </a:lnTo>
                <a:lnTo>
                  <a:pt x="3333" y="7287"/>
                </a:lnTo>
                <a:lnTo>
                  <a:pt x="3324" y="7286"/>
                </a:lnTo>
                <a:lnTo>
                  <a:pt x="3322" y="7276"/>
                </a:lnTo>
                <a:lnTo>
                  <a:pt x="3315" y="7258"/>
                </a:lnTo>
                <a:lnTo>
                  <a:pt x="3304" y="7233"/>
                </a:lnTo>
                <a:lnTo>
                  <a:pt x="3291" y="7207"/>
                </a:lnTo>
                <a:lnTo>
                  <a:pt x="3277" y="7181"/>
                </a:lnTo>
                <a:lnTo>
                  <a:pt x="3263" y="7159"/>
                </a:lnTo>
                <a:lnTo>
                  <a:pt x="3257" y="7150"/>
                </a:lnTo>
                <a:lnTo>
                  <a:pt x="3250" y="7144"/>
                </a:lnTo>
                <a:lnTo>
                  <a:pt x="3248" y="7141"/>
                </a:lnTo>
                <a:lnTo>
                  <a:pt x="3245" y="7139"/>
                </a:lnTo>
                <a:lnTo>
                  <a:pt x="3242" y="7138"/>
                </a:lnTo>
                <a:lnTo>
                  <a:pt x="3240" y="7138"/>
                </a:lnTo>
                <a:lnTo>
                  <a:pt x="3240" y="7133"/>
                </a:lnTo>
                <a:lnTo>
                  <a:pt x="3238" y="7128"/>
                </a:lnTo>
                <a:lnTo>
                  <a:pt x="3236" y="7121"/>
                </a:lnTo>
                <a:lnTo>
                  <a:pt x="3233" y="7113"/>
                </a:lnTo>
                <a:lnTo>
                  <a:pt x="3225" y="7098"/>
                </a:lnTo>
                <a:lnTo>
                  <a:pt x="3215" y="7080"/>
                </a:lnTo>
                <a:lnTo>
                  <a:pt x="3201" y="7061"/>
                </a:lnTo>
                <a:lnTo>
                  <a:pt x="3187" y="7043"/>
                </a:lnTo>
                <a:lnTo>
                  <a:pt x="3172" y="7024"/>
                </a:lnTo>
                <a:lnTo>
                  <a:pt x="3156" y="7006"/>
                </a:lnTo>
                <a:lnTo>
                  <a:pt x="3140" y="6989"/>
                </a:lnTo>
                <a:lnTo>
                  <a:pt x="3124" y="6975"/>
                </a:lnTo>
                <a:lnTo>
                  <a:pt x="3116" y="6969"/>
                </a:lnTo>
                <a:lnTo>
                  <a:pt x="3109" y="6964"/>
                </a:lnTo>
                <a:lnTo>
                  <a:pt x="3101" y="6959"/>
                </a:lnTo>
                <a:lnTo>
                  <a:pt x="3094" y="6956"/>
                </a:lnTo>
                <a:lnTo>
                  <a:pt x="3086" y="6954"/>
                </a:lnTo>
                <a:lnTo>
                  <a:pt x="3080" y="6953"/>
                </a:lnTo>
                <a:lnTo>
                  <a:pt x="3074" y="6953"/>
                </a:lnTo>
                <a:lnTo>
                  <a:pt x="3069" y="6955"/>
                </a:lnTo>
                <a:lnTo>
                  <a:pt x="3064" y="6957"/>
                </a:lnTo>
                <a:lnTo>
                  <a:pt x="3060" y="6962"/>
                </a:lnTo>
                <a:lnTo>
                  <a:pt x="3056" y="6968"/>
                </a:lnTo>
                <a:lnTo>
                  <a:pt x="3053" y="6975"/>
                </a:lnTo>
                <a:lnTo>
                  <a:pt x="3052" y="6981"/>
                </a:lnTo>
                <a:lnTo>
                  <a:pt x="3052" y="6986"/>
                </a:lnTo>
                <a:lnTo>
                  <a:pt x="3052" y="6992"/>
                </a:lnTo>
                <a:lnTo>
                  <a:pt x="3054" y="6999"/>
                </a:lnTo>
                <a:lnTo>
                  <a:pt x="3058" y="7011"/>
                </a:lnTo>
                <a:lnTo>
                  <a:pt x="3065" y="7023"/>
                </a:lnTo>
                <a:lnTo>
                  <a:pt x="3074" y="7035"/>
                </a:lnTo>
                <a:lnTo>
                  <a:pt x="3085" y="7048"/>
                </a:lnTo>
                <a:lnTo>
                  <a:pt x="3097" y="7061"/>
                </a:lnTo>
                <a:lnTo>
                  <a:pt x="3109" y="7074"/>
                </a:lnTo>
                <a:lnTo>
                  <a:pt x="3121" y="7087"/>
                </a:lnTo>
                <a:lnTo>
                  <a:pt x="3133" y="7101"/>
                </a:lnTo>
                <a:lnTo>
                  <a:pt x="3145" y="7114"/>
                </a:lnTo>
                <a:lnTo>
                  <a:pt x="3155" y="7128"/>
                </a:lnTo>
                <a:lnTo>
                  <a:pt x="3164" y="7141"/>
                </a:lnTo>
                <a:lnTo>
                  <a:pt x="3170" y="7154"/>
                </a:lnTo>
                <a:lnTo>
                  <a:pt x="3173" y="7161"/>
                </a:lnTo>
                <a:lnTo>
                  <a:pt x="3175" y="7167"/>
                </a:lnTo>
                <a:lnTo>
                  <a:pt x="3176" y="7174"/>
                </a:lnTo>
                <a:lnTo>
                  <a:pt x="3176" y="7180"/>
                </a:lnTo>
                <a:lnTo>
                  <a:pt x="3179" y="7181"/>
                </a:lnTo>
                <a:lnTo>
                  <a:pt x="3182" y="7182"/>
                </a:lnTo>
                <a:lnTo>
                  <a:pt x="3186" y="7185"/>
                </a:lnTo>
                <a:lnTo>
                  <a:pt x="3189" y="7189"/>
                </a:lnTo>
                <a:lnTo>
                  <a:pt x="3198" y="7199"/>
                </a:lnTo>
                <a:lnTo>
                  <a:pt x="3208" y="7213"/>
                </a:lnTo>
                <a:lnTo>
                  <a:pt x="3232" y="7248"/>
                </a:lnTo>
                <a:lnTo>
                  <a:pt x="3257" y="7288"/>
                </a:lnTo>
                <a:lnTo>
                  <a:pt x="3281" y="7331"/>
                </a:lnTo>
                <a:lnTo>
                  <a:pt x="3303" y="7370"/>
                </a:lnTo>
                <a:lnTo>
                  <a:pt x="3321" y="7403"/>
                </a:lnTo>
                <a:lnTo>
                  <a:pt x="3333" y="7424"/>
                </a:lnTo>
                <a:lnTo>
                  <a:pt x="3354" y="7460"/>
                </a:lnTo>
                <a:lnTo>
                  <a:pt x="3371" y="7492"/>
                </a:lnTo>
                <a:lnTo>
                  <a:pt x="3384" y="7521"/>
                </a:lnTo>
                <a:lnTo>
                  <a:pt x="3394" y="7545"/>
                </a:lnTo>
                <a:lnTo>
                  <a:pt x="3401" y="7567"/>
                </a:lnTo>
                <a:lnTo>
                  <a:pt x="3406" y="7585"/>
                </a:lnTo>
                <a:lnTo>
                  <a:pt x="3407" y="7600"/>
                </a:lnTo>
                <a:lnTo>
                  <a:pt x="3406" y="7611"/>
                </a:lnTo>
                <a:lnTo>
                  <a:pt x="3403" y="7621"/>
                </a:lnTo>
                <a:lnTo>
                  <a:pt x="3398" y="7628"/>
                </a:lnTo>
                <a:lnTo>
                  <a:pt x="3391" y="7632"/>
                </a:lnTo>
                <a:lnTo>
                  <a:pt x="3382" y="7634"/>
                </a:lnTo>
                <a:lnTo>
                  <a:pt x="3372" y="7633"/>
                </a:lnTo>
                <a:lnTo>
                  <a:pt x="3360" y="7630"/>
                </a:lnTo>
                <a:lnTo>
                  <a:pt x="3348" y="7625"/>
                </a:lnTo>
                <a:lnTo>
                  <a:pt x="3333" y="7618"/>
                </a:lnTo>
                <a:lnTo>
                  <a:pt x="3319" y="7610"/>
                </a:lnTo>
                <a:lnTo>
                  <a:pt x="3305" y="7600"/>
                </a:lnTo>
                <a:lnTo>
                  <a:pt x="3290" y="7589"/>
                </a:lnTo>
                <a:lnTo>
                  <a:pt x="3275" y="7576"/>
                </a:lnTo>
                <a:lnTo>
                  <a:pt x="3260" y="7563"/>
                </a:lnTo>
                <a:lnTo>
                  <a:pt x="3245" y="7548"/>
                </a:lnTo>
                <a:lnTo>
                  <a:pt x="3231" y="7533"/>
                </a:lnTo>
                <a:lnTo>
                  <a:pt x="3217" y="7517"/>
                </a:lnTo>
                <a:lnTo>
                  <a:pt x="3203" y="7501"/>
                </a:lnTo>
                <a:lnTo>
                  <a:pt x="3192" y="7483"/>
                </a:lnTo>
                <a:lnTo>
                  <a:pt x="3181" y="7466"/>
                </a:lnTo>
                <a:lnTo>
                  <a:pt x="3173" y="7448"/>
                </a:lnTo>
                <a:lnTo>
                  <a:pt x="3165" y="7431"/>
                </a:lnTo>
                <a:lnTo>
                  <a:pt x="3160" y="7414"/>
                </a:lnTo>
                <a:lnTo>
                  <a:pt x="3156" y="7398"/>
                </a:lnTo>
                <a:lnTo>
                  <a:pt x="3155" y="7381"/>
                </a:lnTo>
                <a:lnTo>
                  <a:pt x="3150" y="7378"/>
                </a:lnTo>
                <a:lnTo>
                  <a:pt x="3145" y="7374"/>
                </a:lnTo>
                <a:lnTo>
                  <a:pt x="3140" y="7369"/>
                </a:lnTo>
                <a:lnTo>
                  <a:pt x="3134" y="7363"/>
                </a:lnTo>
                <a:lnTo>
                  <a:pt x="3123" y="7349"/>
                </a:lnTo>
                <a:lnTo>
                  <a:pt x="3112" y="7333"/>
                </a:lnTo>
                <a:lnTo>
                  <a:pt x="3100" y="7314"/>
                </a:lnTo>
                <a:lnTo>
                  <a:pt x="3089" y="7294"/>
                </a:lnTo>
                <a:lnTo>
                  <a:pt x="3077" y="7272"/>
                </a:lnTo>
                <a:lnTo>
                  <a:pt x="3066" y="7249"/>
                </a:lnTo>
                <a:lnTo>
                  <a:pt x="3056" y="7226"/>
                </a:lnTo>
                <a:lnTo>
                  <a:pt x="3047" y="7203"/>
                </a:lnTo>
                <a:lnTo>
                  <a:pt x="3039" y="7181"/>
                </a:lnTo>
                <a:lnTo>
                  <a:pt x="3032" y="7160"/>
                </a:lnTo>
                <a:lnTo>
                  <a:pt x="3026" y="7140"/>
                </a:lnTo>
                <a:lnTo>
                  <a:pt x="3021" y="7123"/>
                </a:lnTo>
                <a:lnTo>
                  <a:pt x="3019" y="7107"/>
                </a:lnTo>
                <a:lnTo>
                  <a:pt x="3018" y="7095"/>
                </a:lnTo>
                <a:lnTo>
                  <a:pt x="3011" y="7088"/>
                </a:lnTo>
                <a:lnTo>
                  <a:pt x="3004" y="7078"/>
                </a:lnTo>
                <a:lnTo>
                  <a:pt x="2995" y="7065"/>
                </a:lnTo>
                <a:lnTo>
                  <a:pt x="2986" y="7050"/>
                </a:lnTo>
                <a:lnTo>
                  <a:pt x="2966" y="7014"/>
                </a:lnTo>
                <a:lnTo>
                  <a:pt x="2945" y="6974"/>
                </a:lnTo>
                <a:lnTo>
                  <a:pt x="2926" y="6937"/>
                </a:lnTo>
                <a:lnTo>
                  <a:pt x="2912" y="6905"/>
                </a:lnTo>
                <a:lnTo>
                  <a:pt x="2907" y="6892"/>
                </a:lnTo>
                <a:lnTo>
                  <a:pt x="2903" y="6882"/>
                </a:lnTo>
                <a:lnTo>
                  <a:pt x="2901" y="6876"/>
                </a:lnTo>
                <a:lnTo>
                  <a:pt x="2901" y="6874"/>
                </a:lnTo>
                <a:lnTo>
                  <a:pt x="2901" y="6849"/>
                </a:lnTo>
                <a:lnTo>
                  <a:pt x="2898" y="6828"/>
                </a:lnTo>
                <a:lnTo>
                  <a:pt x="2894" y="6808"/>
                </a:lnTo>
                <a:lnTo>
                  <a:pt x="2888" y="6789"/>
                </a:lnTo>
                <a:lnTo>
                  <a:pt x="2885" y="6780"/>
                </a:lnTo>
                <a:lnTo>
                  <a:pt x="2881" y="6772"/>
                </a:lnTo>
                <a:lnTo>
                  <a:pt x="2877" y="6764"/>
                </a:lnTo>
                <a:lnTo>
                  <a:pt x="2872" y="6756"/>
                </a:lnTo>
                <a:lnTo>
                  <a:pt x="2867" y="6749"/>
                </a:lnTo>
                <a:lnTo>
                  <a:pt x="2861" y="6742"/>
                </a:lnTo>
                <a:lnTo>
                  <a:pt x="2855" y="6735"/>
                </a:lnTo>
                <a:lnTo>
                  <a:pt x="2849" y="6729"/>
                </a:lnTo>
                <a:lnTo>
                  <a:pt x="2842" y="6723"/>
                </a:lnTo>
                <a:lnTo>
                  <a:pt x="2834" y="6718"/>
                </a:lnTo>
                <a:lnTo>
                  <a:pt x="2826" y="6713"/>
                </a:lnTo>
                <a:lnTo>
                  <a:pt x="2818" y="6708"/>
                </a:lnTo>
                <a:lnTo>
                  <a:pt x="2801" y="6700"/>
                </a:lnTo>
                <a:lnTo>
                  <a:pt x="2782" y="6694"/>
                </a:lnTo>
                <a:lnTo>
                  <a:pt x="2762" y="6689"/>
                </a:lnTo>
                <a:lnTo>
                  <a:pt x="2740" y="6685"/>
                </a:lnTo>
                <a:lnTo>
                  <a:pt x="2716" y="6683"/>
                </a:lnTo>
                <a:lnTo>
                  <a:pt x="2689" y="6682"/>
                </a:lnTo>
                <a:lnTo>
                  <a:pt x="2682" y="6671"/>
                </a:lnTo>
                <a:lnTo>
                  <a:pt x="2667" y="6649"/>
                </a:lnTo>
                <a:lnTo>
                  <a:pt x="2647" y="6620"/>
                </a:lnTo>
                <a:lnTo>
                  <a:pt x="2625" y="6587"/>
                </a:lnTo>
                <a:lnTo>
                  <a:pt x="2602" y="6556"/>
                </a:lnTo>
                <a:lnTo>
                  <a:pt x="2582" y="6529"/>
                </a:lnTo>
                <a:lnTo>
                  <a:pt x="2568" y="6510"/>
                </a:lnTo>
                <a:lnTo>
                  <a:pt x="2562" y="6503"/>
                </a:lnTo>
                <a:lnTo>
                  <a:pt x="2561" y="6492"/>
                </a:lnTo>
                <a:lnTo>
                  <a:pt x="2558" y="6478"/>
                </a:lnTo>
                <a:lnTo>
                  <a:pt x="2553" y="6462"/>
                </a:lnTo>
                <a:lnTo>
                  <a:pt x="2547" y="6446"/>
                </a:lnTo>
                <a:lnTo>
                  <a:pt x="2539" y="6428"/>
                </a:lnTo>
                <a:lnTo>
                  <a:pt x="2529" y="6409"/>
                </a:lnTo>
                <a:lnTo>
                  <a:pt x="2519" y="6390"/>
                </a:lnTo>
                <a:lnTo>
                  <a:pt x="2508" y="6371"/>
                </a:lnTo>
                <a:lnTo>
                  <a:pt x="2497" y="6352"/>
                </a:lnTo>
                <a:lnTo>
                  <a:pt x="2485" y="6333"/>
                </a:lnTo>
                <a:lnTo>
                  <a:pt x="2473" y="6316"/>
                </a:lnTo>
                <a:lnTo>
                  <a:pt x="2460" y="6301"/>
                </a:lnTo>
                <a:lnTo>
                  <a:pt x="2447" y="6287"/>
                </a:lnTo>
                <a:lnTo>
                  <a:pt x="2436" y="6275"/>
                </a:lnTo>
                <a:lnTo>
                  <a:pt x="2425" y="6266"/>
                </a:lnTo>
                <a:lnTo>
                  <a:pt x="2414" y="6259"/>
                </a:lnTo>
                <a:lnTo>
                  <a:pt x="2414" y="6239"/>
                </a:lnTo>
                <a:lnTo>
                  <a:pt x="2412" y="6216"/>
                </a:lnTo>
                <a:lnTo>
                  <a:pt x="2409" y="6195"/>
                </a:lnTo>
                <a:lnTo>
                  <a:pt x="2406" y="6173"/>
                </a:lnTo>
                <a:lnTo>
                  <a:pt x="2398" y="6128"/>
                </a:lnTo>
                <a:lnTo>
                  <a:pt x="2389" y="6081"/>
                </a:lnTo>
                <a:lnTo>
                  <a:pt x="2385" y="6058"/>
                </a:lnTo>
                <a:lnTo>
                  <a:pt x="2382" y="6035"/>
                </a:lnTo>
                <a:lnTo>
                  <a:pt x="2379" y="6012"/>
                </a:lnTo>
                <a:lnTo>
                  <a:pt x="2377" y="5989"/>
                </a:lnTo>
                <a:lnTo>
                  <a:pt x="2377" y="5965"/>
                </a:lnTo>
                <a:lnTo>
                  <a:pt x="2377" y="5943"/>
                </a:lnTo>
                <a:lnTo>
                  <a:pt x="2379" y="5921"/>
                </a:lnTo>
                <a:lnTo>
                  <a:pt x="2383" y="5899"/>
                </a:lnTo>
                <a:lnTo>
                  <a:pt x="2383" y="5862"/>
                </a:lnTo>
                <a:lnTo>
                  <a:pt x="2383" y="5822"/>
                </a:lnTo>
                <a:lnTo>
                  <a:pt x="2382" y="5783"/>
                </a:lnTo>
                <a:lnTo>
                  <a:pt x="2380" y="5744"/>
                </a:lnTo>
                <a:lnTo>
                  <a:pt x="2377" y="5703"/>
                </a:lnTo>
                <a:lnTo>
                  <a:pt x="2373" y="5663"/>
                </a:lnTo>
                <a:lnTo>
                  <a:pt x="2367" y="5623"/>
                </a:lnTo>
                <a:lnTo>
                  <a:pt x="2359" y="5582"/>
                </a:lnTo>
                <a:lnTo>
                  <a:pt x="2354" y="5563"/>
                </a:lnTo>
                <a:lnTo>
                  <a:pt x="2349" y="5543"/>
                </a:lnTo>
                <a:lnTo>
                  <a:pt x="2343" y="5524"/>
                </a:lnTo>
                <a:lnTo>
                  <a:pt x="2337" y="5505"/>
                </a:lnTo>
                <a:lnTo>
                  <a:pt x="2329" y="5486"/>
                </a:lnTo>
                <a:lnTo>
                  <a:pt x="2321" y="5467"/>
                </a:lnTo>
                <a:lnTo>
                  <a:pt x="2313" y="5449"/>
                </a:lnTo>
                <a:lnTo>
                  <a:pt x="2303" y="5431"/>
                </a:lnTo>
                <a:lnTo>
                  <a:pt x="2293" y="5413"/>
                </a:lnTo>
                <a:lnTo>
                  <a:pt x="2283" y="5396"/>
                </a:lnTo>
                <a:lnTo>
                  <a:pt x="2271" y="5379"/>
                </a:lnTo>
                <a:lnTo>
                  <a:pt x="2258" y="5363"/>
                </a:lnTo>
                <a:lnTo>
                  <a:pt x="2245" y="5346"/>
                </a:lnTo>
                <a:lnTo>
                  <a:pt x="2231" y="5331"/>
                </a:lnTo>
                <a:lnTo>
                  <a:pt x="2215" y="5316"/>
                </a:lnTo>
                <a:lnTo>
                  <a:pt x="2198" y="5302"/>
                </a:lnTo>
                <a:lnTo>
                  <a:pt x="2232" y="5232"/>
                </a:lnTo>
                <a:lnTo>
                  <a:pt x="2267" y="5162"/>
                </a:lnTo>
                <a:lnTo>
                  <a:pt x="2302" y="5092"/>
                </a:lnTo>
                <a:lnTo>
                  <a:pt x="2339" y="5024"/>
                </a:lnTo>
                <a:lnTo>
                  <a:pt x="2375" y="4955"/>
                </a:lnTo>
                <a:lnTo>
                  <a:pt x="2413" y="4888"/>
                </a:lnTo>
                <a:lnTo>
                  <a:pt x="2451" y="4820"/>
                </a:lnTo>
                <a:lnTo>
                  <a:pt x="2491" y="4754"/>
                </a:lnTo>
                <a:lnTo>
                  <a:pt x="2530" y="4688"/>
                </a:lnTo>
                <a:lnTo>
                  <a:pt x="2571" y="4622"/>
                </a:lnTo>
                <a:lnTo>
                  <a:pt x="2613" y="4557"/>
                </a:lnTo>
                <a:lnTo>
                  <a:pt x="2655" y="4492"/>
                </a:lnTo>
                <a:lnTo>
                  <a:pt x="2698" y="4428"/>
                </a:lnTo>
                <a:lnTo>
                  <a:pt x="2742" y="4365"/>
                </a:lnTo>
                <a:lnTo>
                  <a:pt x="2786" y="4301"/>
                </a:lnTo>
                <a:lnTo>
                  <a:pt x="2831" y="4239"/>
                </a:lnTo>
                <a:lnTo>
                  <a:pt x="2878" y="4177"/>
                </a:lnTo>
                <a:lnTo>
                  <a:pt x="2924" y="4116"/>
                </a:lnTo>
                <a:lnTo>
                  <a:pt x="2972" y="4055"/>
                </a:lnTo>
                <a:lnTo>
                  <a:pt x="3020" y="3995"/>
                </a:lnTo>
                <a:lnTo>
                  <a:pt x="3069" y="3935"/>
                </a:lnTo>
                <a:lnTo>
                  <a:pt x="3119" y="3876"/>
                </a:lnTo>
                <a:lnTo>
                  <a:pt x="3169" y="3817"/>
                </a:lnTo>
                <a:lnTo>
                  <a:pt x="3220" y="3760"/>
                </a:lnTo>
                <a:lnTo>
                  <a:pt x="3271" y="3702"/>
                </a:lnTo>
                <a:lnTo>
                  <a:pt x="3323" y="3646"/>
                </a:lnTo>
                <a:lnTo>
                  <a:pt x="3376" y="3589"/>
                </a:lnTo>
                <a:lnTo>
                  <a:pt x="3429" y="3534"/>
                </a:lnTo>
                <a:lnTo>
                  <a:pt x="3484" y="3480"/>
                </a:lnTo>
                <a:lnTo>
                  <a:pt x="3539" y="3425"/>
                </a:lnTo>
                <a:lnTo>
                  <a:pt x="3594" y="3372"/>
                </a:lnTo>
                <a:lnTo>
                  <a:pt x="3650" y="3319"/>
                </a:lnTo>
                <a:close/>
                <a:moveTo>
                  <a:pt x="6848" y="5635"/>
                </a:moveTo>
                <a:lnTo>
                  <a:pt x="6848" y="5645"/>
                </a:lnTo>
                <a:lnTo>
                  <a:pt x="6847" y="5654"/>
                </a:lnTo>
                <a:lnTo>
                  <a:pt x="6846" y="5662"/>
                </a:lnTo>
                <a:lnTo>
                  <a:pt x="6844" y="5669"/>
                </a:lnTo>
                <a:lnTo>
                  <a:pt x="6841" y="5676"/>
                </a:lnTo>
                <a:lnTo>
                  <a:pt x="6837" y="5682"/>
                </a:lnTo>
                <a:lnTo>
                  <a:pt x="6833" y="5687"/>
                </a:lnTo>
                <a:lnTo>
                  <a:pt x="6828" y="5691"/>
                </a:lnTo>
                <a:lnTo>
                  <a:pt x="6823" y="5695"/>
                </a:lnTo>
                <a:lnTo>
                  <a:pt x="6817" y="5698"/>
                </a:lnTo>
                <a:lnTo>
                  <a:pt x="6810" y="5701"/>
                </a:lnTo>
                <a:lnTo>
                  <a:pt x="6802" y="5703"/>
                </a:lnTo>
                <a:lnTo>
                  <a:pt x="6785" y="5707"/>
                </a:lnTo>
                <a:lnTo>
                  <a:pt x="6765" y="5709"/>
                </a:lnTo>
                <a:lnTo>
                  <a:pt x="6767" y="5700"/>
                </a:lnTo>
                <a:lnTo>
                  <a:pt x="6770" y="5692"/>
                </a:lnTo>
                <a:lnTo>
                  <a:pt x="6773" y="5685"/>
                </a:lnTo>
                <a:lnTo>
                  <a:pt x="6776" y="5680"/>
                </a:lnTo>
                <a:lnTo>
                  <a:pt x="6779" y="5675"/>
                </a:lnTo>
                <a:lnTo>
                  <a:pt x="6783" y="5671"/>
                </a:lnTo>
                <a:lnTo>
                  <a:pt x="6787" y="5667"/>
                </a:lnTo>
                <a:lnTo>
                  <a:pt x="6791" y="5664"/>
                </a:lnTo>
                <a:lnTo>
                  <a:pt x="6815" y="5653"/>
                </a:lnTo>
                <a:lnTo>
                  <a:pt x="6848" y="5635"/>
                </a:lnTo>
                <a:close/>
                <a:moveTo>
                  <a:pt x="6511" y="8090"/>
                </a:moveTo>
                <a:lnTo>
                  <a:pt x="6485" y="8093"/>
                </a:lnTo>
                <a:lnTo>
                  <a:pt x="6464" y="8097"/>
                </a:lnTo>
                <a:lnTo>
                  <a:pt x="6460" y="8097"/>
                </a:lnTo>
                <a:lnTo>
                  <a:pt x="6456" y="8095"/>
                </a:lnTo>
                <a:lnTo>
                  <a:pt x="6454" y="8093"/>
                </a:lnTo>
                <a:lnTo>
                  <a:pt x="6452" y="8089"/>
                </a:lnTo>
                <a:lnTo>
                  <a:pt x="6451" y="8084"/>
                </a:lnTo>
                <a:lnTo>
                  <a:pt x="6452" y="8077"/>
                </a:lnTo>
                <a:lnTo>
                  <a:pt x="6454" y="8069"/>
                </a:lnTo>
                <a:lnTo>
                  <a:pt x="6457" y="8058"/>
                </a:lnTo>
                <a:lnTo>
                  <a:pt x="6466" y="8059"/>
                </a:lnTo>
                <a:lnTo>
                  <a:pt x="6475" y="8060"/>
                </a:lnTo>
                <a:lnTo>
                  <a:pt x="6484" y="8062"/>
                </a:lnTo>
                <a:lnTo>
                  <a:pt x="6493" y="8066"/>
                </a:lnTo>
                <a:lnTo>
                  <a:pt x="6500" y="8070"/>
                </a:lnTo>
                <a:lnTo>
                  <a:pt x="6506" y="8075"/>
                </a:lnTo>
                <a:lnTo>
                  <a:pt x="6508" y="8079"/>
                </a:lnTo>
                <a:lnTo>
                  <a:pt x="6510" y="8082"/>
                </a:lnTo>
                <a:lnTo>
                  <a:pt x="6510" y="8086"/>
                </a:lnTo>
                <a:lnTo>
                  <a:pt x="6511" y="8090"/>
                </a:lnTo>
                <a:close/>
                <a:moveTo>
                  <a:pt x="6055" y="8080"/>
                </a:moveTo>
                <a:lnTo>
                  <a:pt x="6053" y="8083"/>
                </a:lnTo>
                <a:lnTo>
                  <a:pt x="6051" y="8085"/>
                </a:lnTo>
                <a:lnTo>
                  <a:pt x="6047" y="8088"/>
                </a:lnTo>
                <a:lnTo>
                  <a:pt x="6043" y="8090"/>
                </a:lnTo>
                <a:lnTo>
                  <a:pt x="6034" y="8094"/>
                </a:lnTo>
                <a:lnTo>
                  <a:pt x="6023" y="8097"/>
                </a:lnTo>
                <a:lnTo>
                  <a:pt x="6010" y="8100"/>
                </a:lnTo>
                <a:lnTo>
                  <a:pt x="5996" y="8101"/>
                </a:lnTo>
                <a:lnTo>
                  <a:pt x="5981" y="8101"/>
                </a:lnTo>
                <a:lnTo>
                  <a:pt x="5966" y="8101"/>
                </a:lnTo>
                <a:lnTo>
                  <a:pt x="5951" y="8100"/>
                </a:lnTo>
                <a:lnTo>
                  <a:pt x="5936" y="8098"/>
                </a:lnTo>
                <a:lnTo>
                  <a:pt x="5922" y="8095"/>
                </a:lnTo>
                <a:lnTo>
                  <a:pt x="5909" y="8091"/>
                </a:lnTo>
                <a:lnTo>
                  <a:pt x="5898" y="8087"/>
                </a:lnTo>
                <a:lnTo>
                  <a:pt x="5888" y="8082"/>
                </a:lnTo>
                <a:lnTo>
                  <a:pt x="5884" y="8079"/>
                </a:lnTo>
                <a:lnTo>
                  <a:pt x="5881" y="8075"/>
                </a:lnTo>
                <a:lnTo>
                  <a:pt x="5878" y="8072"/>
                </a:lnTo>
                <a:lnTo>
                  <a:pt x="5876" y="8069"/>
                </a:lnTo>
                <a:lnTo>
                  <a:pt x="5895" y="8069"/>
                </a:lnTo>
                <a:lnTo>
                  <a:pt x="5913" y="8072"/>
                </a:lnTo>
                <a:lnTo>
                  <a:pt x="5931" y="8074"/>
                </a:lnTo>
                <a:lnTo>
                  <a:pt x="5949" y="8077"/>
                </a:lnTo>
                <a:lnTo>
                  <a:pt x="5966" y="8078"/>
                </a:lnTo>
                <a:lnTo>
                  <a:pt x="5984" y="8078"/>
                </a:lnTo>
                <a:lnTo>
                  <a:pt x="5994" y="8077"/>
                </a:lnTo>
                <a:lnTo>
                  <a:pt x="6004" y="8075"/>
                </a:lnTo>
                <a:lnTo>
                  <a:pt x="6014" y="8072"/>
                </a:lnTo>
                <a:lnTo>
                  <a:pt x="6024" y="8069"/>
                </a:lnTo>
                <a:lnTo>
                  <a:pt x="6022" y="8058"/>
                </a:lnTo>
                <a:lnTo>
                  <a:pt x="6019" y="8048"/>
                </a:lnTo>
                <a:lnTo>
                  <a:pt x="6015" y="8038"/>
                </a:lnTo>
                <a:lnTo>
                  <a:pt x="6009" y="8028"/>
                </a:lnTo>
                <a:lnTo>
                  <a:pt x="5996" y="8007"/>
                </a:lnTo>
                <a:lnTo>
                  <a:pt x="5981" y="7984"/>
                </a:lnTo>
                <a:lnTo>
                  <a:pt x="5992" y="7984"/>
                </a:lnTo>
                <a:lnTo>
                  <a:pt x="6003" y="7986"/>
                </a:lnTo>
                <a:lnTo>
                  <a:pt x="6015" y="7988"/>
                </a:lnTo>
                <a:lnTo>
                  <a:pt x="6026" y="7991"/>
                </a:lnTo>
                <a:lnTo>
                  <a:pt x="6049" y="7998"/>
                </a:lnTo>
                <a:lnTo>
                  <a:pt x="6074" y="8006"/>
                </a:lnTo>
                <a:lnTo>
                  <a:pt x="6099" y="8014"/>
                </a:lnTo>
                <a:lnTo>
                  <a:pt x="6126" y="8021"/>
                </a:lnTo>
                <a:lnTo>
                  <a:pt x="6140" y="8024"/>
                </a:lnTo>
                <a:lnTo>
                  <a:pt x="6153" y="8026"/>
                </a:lnTo>
                <a:lnTo>
                  <a:pt x="6168" y="8027"/>
                </a:lnTo>
                <a:lnTo>
                  <a:pt x="6182" y="8027"/>
                </a:lnTo>
                <a:lnTo>
                  <a:pt x="6182" y="8019"/>
                </a:lnTo>
                <a:lnTo>
                  <a:pt x="6181" y="8013"/>
                </a:lnTo>
                <a:lnTo>
                  <a:pt x="6180" y="8009"/>
                </a:lnTo>
                <a:lnTo>
                  <a:pt x="6179" y="8007"/>
                </a:lnTo>
                <a:lnTo>
                  <a:pt x="6176" y="8006"/>
                </a:lnTo>
                <a:lnTo>
                  <a:pt x="6174" y="8006"/>
                </a:lnTo>
                <a:lnTo>
                  <a:pt x="6173" y="8006"/>
                </a:lnTo>
                <a:lnTo>
                  <a:pt x="6173" y="8005"/>
                </a:lnTo>
                <a:lnTo>
                  <a:pt x="6173" y="8002"/>
                </a:lnTo>
                <a:lnTo>
                  <a:pt x="6176" y="7992"/>
                </a:lnTo>
                <a:lnTo>
                  <a:pt x="6182" y="7973"/>
                </a:lnTo>
                <a:lnTo>
                  <a:pt x="6189" y="7976"/>
                </a:lnTo>
                <a:lnTo>
                  <a:pt x="6196" y="7979"/>
                </a:lnTo>
                <a:lnTo>
                  <a:pt x="6205" y="7984"/>
                </a:lnTo>
                <a:lnTo>
                  <a:pt x="6213" y="7990"/>
                </a:lnTo>
                <a:lnTo>
                  <a:pt x="6232" y="8006"/>
                </a:lnTo>
                <a:lnTo>
                  <a:pt x="6252" y="8023"/>
                </a:lnTo>
                <a:lnTo>
                  <a:pt x="6269" y="8041"/>
                </a:lnTo>
                <a:lnTo>
                  <a:pt x="6284" y="8059"/>
                </a:lnTo>
                <a:lnTo>
                  <a:pt x="6289" y="8068"/>
                </a:lnTo>
                <a:lnTo>
                  <a:pt x="6294" y="8076"/>
                </a:lnTo>
                <a:lnTo>
                  <a:pt x="6297" y="8083"/>
                </a:lnTo>
                <a:lnTo>
                  <a:pt x="6299" y="8090"/>
                </a:lnTo>
                <a:lnTo>
                  <a:pt x="6260" y="8086"/>
                </a:lnTo>
                <a:lnTo>
                  <a:pt x="6228" y="8083"/>
                </a:lnTo>
                <a:lnTo>
                  <a:pt x="6203" y="8081"/>
                </a:lnTo>
                <a:lnTo>
                  <a:pt x="6179" y="8080"/>
                </a:lnTo>
                <a:lnTo>
                  <a:pt x="6155" y="8080"/>
                </a:lnTo>
                <a:lnTo>
                  <a:pt x="6129" y="8079"/>
                </a:lnTo>
                <a:lnTo>
                  <a:pt x="6096" y="8080"/>
                </a:lnTo>
                <a:lnTo>
                  <a:pt x="6055" y="8080"/>
                </a:lnTo>
                <a:close/>
                <a:moveTo>
                  <a:pt x="6140" y="8577"/>
                </a:moveTo>
                <a:lnTo>
                  <a:pt x="6137" y="8586"/>
                </a:lnTo>
                <a:lnTo>
                  <a:pt x="6135" y="8594"/>
                </a:lnTo>
                <a:lnTo>
                  <a:pt x="6132" y="8600"/>
                </a:lnTo>
                <a:lnTo>
                  <a:pt x="6129" y="8603"/>
                </a:lnTo>
                <a:lnTo>
                  <a:pt x="6125" y="8606"/>
                </a:lnTo>
                <a:lnTo>
                  <a:pt x="6118" y="8607"/>
                </a:lnTo>
                <a:lnTo>
                  <a:pt x="6109" y="8608"/>
                </a:lnTo>
                <a:lnTo>
                  <a:pt x="6097" y="8608"/>
                </a:lnTo>
                <a:lnTo>
                  <a:pt x="6100" y="8598"/>
                </a:lnTo>
                <a:lnTo>
                  <a:pt x="6102" y="8587"/>
                </a:lnTo>
                <a:lnTo>
                  <a:pt x="6105" y="8577"/>
                </a:lnTo>
                <a:lnTo>
                  <a:pt x="6107" y="8566"/>
                </a:lnTo>
                <a:lnTo>
                  <a:pt x="6116" y="8569"/>
                </a:lnTo>
                <a:lnTo>
                  <a:pt x="6124" y="8571"/>
                </a:lnTo>
                <a:lnTo>
                  <a:pt x="6132" y="8574"/>
                </a:lnTo>
                <a:lnTo>
                  <a:pt x="6140" y="8577"/>
                </a:lnTo>
                <a:close/>
                <a:moveTo>
                  <a:pt x="5589" y="7826"/>
                </a:moveTo>
                <a:lnTo>
                  <a:pt x="5579" y="7825"/>
                </a:lnTo>
                <a:lnTo>
                  <a:pt x="5567" y="7823"/>
                </a:lnTo>
                <a:lnTo>
                  <a:pt x="5555" y="7821"/>
                </a:lnTo>
                <a:lnTo>
                  <a:pt x="5542" y="7817"/>
                </a:lnTo>
                <a:lnTo>
                  <a:pt x="5528" y="7813"/>
                </a:lnTo>
                <a:lnTo>
                  <a:pt x="5514" y="7808"/>
                </a:lnTo>
                <a:lnTo>
                  <a:pt x="5500" y="7802"/>
                </a:lnTo>
                <a:lnTo>
                  <a:pt x="5487" y="7796"/>
                </a:lnTo>
                <a:lnTo>
                  <a:pt x="5472" y="7789"/>
                </a:lnTo>
                <a:lnTo>
                  <a:pt x="5459" y="7782"/>
                </a:lnTo>
                <a:lnTo>
                  <a:pt x="5446" y="7774"/>
                </a:lnTo>
                <a:lnTo>
                  <a:pt x="5435" y="7766"/>
                </a:lnTo>
                <a:lnTo>
                  <a:pt x="5424" y="7757"/>
                </a:lnTo>
                <a:lnTo>
                  <a:pt x="5414" y="7748"/>
                </a:lnTo>
                <a:lnTo>
                  <a:pt x="5406" y="7739"/>
                </a:lnTo>
                <a:lnTo>
                  <a:pt x="5399" y="7730"/>
                </a:lnTo>
                <a:lnTo>
                  <a:pt x="5438" y="7734"/>
                </a:lnTo>
                <a:lnTo>
                  <a:pt x="5475" y="7736"/>
                </a:lnTo>
                <a:lnTo>
                  <a:pt x="5484" y="7735"/>
                </a:lnTo>
                <a:lnTo>
                  <a:pt x="5493" y="7733"/>
                </a:lnTo>
                <a:lnTo>
                  <a:pt x="5501" y="7731"/>
                </a:lnTo>
                <a:lnTo>
                  <a:pt x="5509" y="7727"/>
                </a:lnTo>
                <a:lnTo>
                  <a:pt x="5516" y="7722"/>
                </a:lnTo>
                <a:lnTo>
                  <a:pt x="5524" y="7716"/>
                </a:lnTo>
                <a:lnTo>
                  <a:pt x="5530" y="7708"/>
                </a:lnTo>
                <a:lnTo>
                  <a:pt x="5537" y="7698"/>
                </a:lnTo>
                <a:lnTo>
                  <a:pt x="5549" y="7700"/>
                </a:lnTo>
                <a:lnTo>
                  <a:pt x="5560" y="7702"/>
                </a:lnTo>
                <a:lnTo>
                  <a:pt x="5571" y="7704"/>
                </a:lnTo>
                <a:lnTo>
                  <a:pt x="5581" y="7707"/>
                </a:lnTo>
                <a:lnTo>
                  <a:pt x="5600" y="7713"/>
                </a:lnTo>
                <a:lnTo>
                  <a:pt x="5618" y="7720"/>
                </a:lnTo>
                <a:lnTo>
                  <a:pt x="5633" y="7729"/>
                </a:lnTo>
                <a:lnTo>
                  <a:pt x="5648" y="7738"/>
                </a:lnTo>
                <a:lnTo>
                  <a:pt x="5661" y="7747"/>
                </a:lnTo>
                <a:lnTo>
                  <a:pt x="5673" y="7757"/>
                </a:lnTo>
                <a:lnTo>
                  <a:pt x="5686" y="7766"/>
                </a:lnTo>
                <a:lnTo>
                  <a:pt x="5698" y="7775"/>
                </a:lnTo>
                <a:lnTo>
                  <a:pt x="5711" y="7783"/>
                </a:lnTo>
                <a:lnTo>
                  <a:pt x="5724" y="7790"/>
                </a:lnTo>
                <a:lnTo>
                  <a:pt x="5739" y="7796"/>
                </a:lnTo>
                <a:lnTo>
                  <a:pt x="5754" y="7801"/>
                </a:lnTo>
                <a:lnTo>
                  <a:pt x="5763" y="7802"/>
                </a:lnTo>
                <a:lnTo>
                  <a:pt x="5772" y="7804"/>
                </a:lnTo>
                <a:lnTo>
                  <a:pt x="5781" y="7804"/>
                </a:lnTo>
                <a:lnTo>
                  <a:pt x="5791" y="7805"/>
                </a:lnTo>
                <a:lnTo>
                  <a:pt x="5795" y="7812"/>
                </a:lnTo>
                <a:lnTo>
                  <a:pt x="5802" y="7820"/>
                </a:lnTo>
                <a:lnTo>
                  <a:pt x="5810" y="7829"/>
                </a:lnTo>
                <a:lnTo>
                  <a:pt x="5818" y="7838"/>
                </a:lnTo>
                <a:lnTo>
                  <a:pt x="5836" y="7858"/>
                </a:lnTo>
                <a:lnTo>
                  <a:pt x="5852" y="7879"/>
                </a:lnTo>
                <a:lnTo>
                  <a:pt x="5857" y="7888"/>
                </a:lnTo>
                <a:lnTo>
                  <a:pt x="5862" y="7898"/>
                </a:lnTo>
                <a:lnTo>
                  <a:pt x="5863" y="7902"/>
                </a:lnTo>
                <a:lnTo>
                  <a:pt x="5863" y="7906"/>
                </a:lnTo>
                <a:lnTo>
                  <a:pt x="5863" y="7910"/>
                </a:lnTo>
                <a:lnTo>
                  <a:pt x="5861" y="7914"/>
                </a:lnTo>
                <a:lnTo>
                  <a:pt x="5858" y="7917"/>
                </a:lnTo>
                <a:lnTo>
                  <a:pt x="5855" y="7921"/>
                </a:lnTo>
                <a:lnTo>
                  <a:pt x="5851" y="7924"/>
                </a:lnTo>
                <a:lnTo>
                  <a:pt x="5846" y="7926"/>
                </a:lnTo>
                <a:lnTo>
                  <a:pt x="5840" y="7929"/>
                </a:lnTo>
                <a:lnTo>
                  <a:pt x="5833" y="7930"/>
                </a:lnTo>
                <a:lnTo>
                  <a:pt x="5824" y="7932"/>
                </a:lnTo>
                <a:lnTo>
                  <a:pt x="5815" y="7933"/>
                </a:lnTo>
                <a:lnTo>
                  <a:pt x="5799" y="7934"/>
                </a:lnTo>
                <a:lnTo>
                  <a:pt x="5783" y="7934"/>
                </a:lnTo>
                <a:lnTo>
                  <a:pt x="5766" y="7932"/>
                </a:lnTo>
                <a:lnTo>
                  <a:pt x="5750" y="7930"/>
                </a:lnTo>
                <a:lnTo>
                  <a:pt x="5732" y="7926"/>
                </a:lnTo>
                <a:lnTo>
                  <a:pt x="5716" y="7921"/>
                </a:lnTo>
                <a:lnTo>
                  <a:pt x="5699" y="7916"/>
                </a:lnTo>
                <a:lnTo>
                  <a:pt x="5684" y="7909"/>
                </a:lnTo>
                <a:lnTo>
                  <a:pt x="5669" y="7901"/>
                </a:lnTo>
                <a:lnTo>
                  <a:pt x="5654" y="7893"/>
                </a:lnTo>
                <a:lnTo>
                  <a:pt x="5641" y="7884"/>
                </a:lnTo>
                <a:lnTo>
                  <a:pt x="5628" y="7873"/>
                </a:lnTo>
                <a:lnTo>
                  <a:pt x="5617" y="7862"/>
                </a:lnTo>
                <a:lnTo>
                  <a:pt x="5605" y="7850"/>
                </a:lnTo>
                <a:lnTo>
                  <a:pt x="5597" y="7838"/>
                </a:lnTo>
                <a:lnTo>
                  <a:pt x="5589" y="7826"/>
                </a:lnTo>
                <a:close/>
                <a:moveTo>
                  <a:pt x="5749" y="8111"/>
                </a:moveTo>
                <a:lnTo>
                  <a:pt x="5732" y="8114"/>
                </a:lnTo>
                <a:lnTo>
                  <a:pt x="5716" y="8116"/>
                </a:lnTo>
                <a:lnTo>
                  <a:pt x="5700" y="8119"/>
                </a:lnTo>
                <a:lnTo>
                  <a:pt x="5685" y="8121"/>
                </a:lnTo>
                <a:lnTo>
                  <a:pt x="5686" y="8112"/>
                </a:lnTo>
                <a:lnTo>
                  <a:pt x="5689" y="8103"/>
                </a:lnTo>
                <a:lnTo>
                  <a:pt x="5692" y="8094"/>
                </a:lnTo>
                <a:lnTo>
                  <a:pt x="5695" y="8086"/>
                </a:lnTo>
                <a:lnTo>
                  <a:pt x="5700" y="8079"/>
                </a:lnTo>
                <a:lnTo>
                  <a:pt x="5704" y="8072"/>
                </a:lnTo>
                <a:lnTo>
                  <a:pt x="5709" y="8067"/>
                </a:lnTo>
                <a:lnTo>
                  <a:pt x="5714" y="8063"/>
                </a:lnTo>
                <a:lnTo>
                  <a:pt x="5719" y="8061"/>
                </a:lnTo>
                <a:lnTo>
                  <a:pt x="5724" y="8061"/>
                </a:lnTo>
                <a:lnTo>
                  <a:pt x="5727" y="8062"/>
                </a:lnTo>
                <a:lnTo>
                  <a:pt x="5729" y="8063"/>
                </a:lnTo>
                <a:lnTo>
                  <a:pt x="5732" y="8065"/>
                </a:lnTo>
                <a:lnTo>
                  <a:pt x="5735" y="8067"/>
                </a:lnTo>
                <a:lnTo>
                  <a:pt x="5739" y="8074"/>
                </a:lnTo>
                <a:lnTo>
                  <a:pt x="5743" y="8083"/>
                </a:lnTo>
                <a:lnTo>
                  <a:pt x="5746" y="8095"/>
                </a:lnTo>
                <a:lnTo>
                  <a:pt x="5749" y="8111"/>
                </a:lnTo>
                <a:close/>
                <a:moveTo>
                  <a:pt x="5674" y="8121"/>
                </a:moveTo>
                <a:lnTo>
                  <a:pt x="5659" y="8122"/>
                </a:lnTo>
                <a:lnTo>
                  <a:pt x="5642" y="8123"/>
                </a:lnTo>
                <a:lnTo>
                  <a:pt x="5634" y="8123"/>
                </a:lnTo>
                <a:lnTo>
                  <a:pt x="5626" y="8122"/>
                </a:lnTo>
                <a:lnTo>
                  <a:pt x="5619" y="8122"/>
                </a:lnTo>
                <a:lnTo>
                  <a:pt x="5612" y="8120"/>
                </a:lnTo>
                <a:lnTo>
                  <a:pt x="5605" y="8117"/>
                </a:lnTo>
                <a:lnTo>
                  <a:pt x="5600" y="8113"/>
                </a:lnTo>
                <a:lnTo>
                  <a:pt x="5596" y="8108"/>
                </a:lnTo>
                <a:lnTo>
                  <a:pt x="5593" y="8102"/>
                </a:lnTo>
                <a:lnTo>
                  <a:pt x="5592" y="8094"/>
                </a:lnTo>
                <a:lnTo>
                  <a:pt x="5593" y="8084"/>
                </a:lnTo>
                <a:lnTo>
                  <a:pt x="5595" y="8072"/>
                </a:lnTo>
                <a:lnTo>
                  <a:pt x="5600" y="8058"/>
                </a:lnTo>
                <a:lnTo>
                  <a:pt x="5619" y="8061"/>
                </a:lnTo>
                <a:lnTo>
                  <a:pt x="5634" y="8066"/>
                </a:lnTo>
                <a:lnTo>
                  <a:pt x="5641" y="8069"/>
                </a:lnTo>
                <a:lnTo>
                  <a:pt x="5647" y="8072"/>
                </a:lnTo>
                <a:lnTo>
                  <a:pt x="5653" y="8075"/>
                </a:lnTo>
                <a:lnTo>
                  <a:pt x="5658" y="8079"/>
                </a:lnTo>
                <a:lnTo>
                  <a:pt x="5662" y="8083"/>
                </a:lnTo>
                <a:lnTo>
                  <a:pt x="5666" y="8088"/>
                </a:lnTo>
                <a:lnTo>
                  <a:pt x="5669" y="8093"/>
                </a:lnTo>
                <a:lnTo>
                  <a:pt x="5671" y="8098"/>
                </a:lnTo>
                <a:lnTo>
                  <a:pt x="5673" y="8103"/>
                </a:lnTo>
                <a:lnTo>
                  <a:pt x="5674" y="8109"/>
                </a:lnTo>
                <a:lnTo>
                  <a:pt x="5675" y="8115"/>
                </a:lnTo>
                <a:lnTo>
                  <a:pt x="5674" y="8121"/>
                </a:lnTo>
                <a:close/>
                <a:moveTo>
                  <a:pt x="5293" y="7719"/>
                </a:moveTo>
                <a:lnTo>
                  <a:pt x="5293" y="7725"/>
                </a:lnTo>
                <a:lnTo>
                  <a:pt x="5292" y="7730"/>
                </a:lnTo>
                <a:lnTo>
                  <a:pt x="5290" y="7735"/>
                </a:lnTo>
                <a:lnTo>
                  <a:pt x="5287" y="7740"/>
                </a:lnTo>
                <a:lnTo>
                  <a:pt x="5284" y="7744"/>
                </a:lnTo>
                <a:lnTo>
                  <a:pt x="5280" y="7750"/>
                </a:lnTo>
                <a:lnTo>
                  <a:pt x="5276" y="7753"/>
                </a:lnTo>
                <a:lnTo>
                  <a:pt x="5272" y="7757"/>
                </a:lnTo>
                <a:lnTo>
                  <a:pt x="5261" y="7762"/>
                </a:lnTo>
                <a:lnTo>
                  <a:pt x="5250" y="7767"/>
                </a:lnTo>
                <a:lnTo>
                  <a:pt x="5239" y="7769"/>
                </a:lnTo>
                <a:lnTo>
                  <a:pt x="5226" y="7770"/>
                </a:lnTo>
                <a:lnTo>
                  <a:pt x="5220" y="7770"/>
                </a:lnTo>
                <a:lnTo>
                  <a:pt x="5215" y="7769"/>
                </a:lnTo>
                <a:lnTo>
                  <a:pt x="5210" y="7768"/>
                </a:lnTo>
                <a:lnTo>
                  <a:pt x="5204" y="7766"/>
                </a:lnTo>
                <a:lnTo>
                  <a:pt x="5200" y="7763"/>
                </a:lnTo>
                <a:lnTo>
                  <a:pt x="5195" y="7760"/>
                </a:lnTo>
                <a:lnTo>
                  <a:pt x="5192" y="7757"/>
                </a:lnTo>
                <a:lnTo>
                  <a:pt x="5188" y="7753"/>
                </a:lnTo>
                <a:lnTo>
                  <a:pt x="5186" y="7747"/>
                </a:lnTo>
                <a:lnTo>
                  <a:pt x="5183" y="7742"/>
                </a:lnTo>
                <a:lnTo>
                  <a:pt x="5182" y="7737"/>
                </a:lnTo>
                <a:lnTo>
                  <a:pt x="5181" y="7730"/>
                </a:lnTo>
                <a:lnTo>
                  <a:pt x="5181" y="7723"/>
                </a:lnTo>
                <a:lnTo>
                  <a:pt x="5182" y="7716"/>
                </a:lnTo>
                <a:lnTo>
                  <a:pt x="5184" y="7707"/>
                </a:lnTo>
                <a:lnTo>
                  <a:pt x="5187" y="7698"/>
                </a:lnTo>
                <a:lnTo>
                  <a:pt x="5195" y="7701"/>
                </a:lnTo>
                <a:lnTo>
                  <a:pt x="5203" y="7704"/>
                </a:lnTo>
                <a:lnTo>
                  <a:pt x="5211" y="7706"/>
                </a:lnTo>
                <a:lnTo>
                  <a:pt x="5219" y="7709"/>
                </a:lnTo>
                <a:lnTo>
                  <a:pt x="5221" y="7718"/>
                </a:lnTo>
                <a:lnTo>
                  <a:pt x="5224" y="7725"/>
                </a:lnTo>
                <a:lnTo>
                  <a:pt x="5228" y="7730"/>
                </a:lnTo>
                <a:lnTo>
                  <a:pt x="5232" y="7735"/>
                </a:lnTo>
                <a:lnTo>
                  <a:pt x="5236" y="7737"/>
                </a:lnTo>
                <a:lnTo>
                  <a:pt x="5240" y="7739"/>
                </a:lnTo>
                <a:lnTo>
                  <a:pt x="5245" y="7740"/>
                </a:lnTo>
                <a:lnTo>
                  <a:pt x="5250" y="7739"/>
                </a:lnTo>
                <a:lnTo>
                  <a:pt x="5260" y="7737"/>
                </a:lnTo>
                <a:lnTo>
                  <a:pt x="5270" y="7732"/>
                </a:lnTo>
                <a:lnTo>
                  <a:pt x="5281" y="7726"/>
                </a:lnTo>
                <a:lnTo>
                  <a:pt x="5293" y="771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899" tIns="60949" rIns="121899" bIns="60949"/>
          <a:lstStyle/>
          <a:p>
            <a:endParaRPr lang="en-US"/>
          </a:p>
        </p:txBody>
      </p:sp>
      <p:grpSp>
        <p:nvGrpSpPr>
          <p:cNvPr id="18" name="Group 19"/>
          <p:cNvGrpSpPr>
            <a:grpSpLocks/>
          </p:cNvGrpSpPr>
          <p:nvPr/>
        </p:nvGrpSpPr>
        <p:grpSpPr bwMode="auto">
          <a:xfrm>
            <a:off x="5060950" y="6519863"/>
            <a:ext cx="387350" cy="357187"/>
            <a:chOff x="3923928" y="3291878"/>
            <a:chExt cx="432000" cy="432000"/>
          </a:xfrm>
        </p:grpSpPr>
        <p:sp>
          <p:nvSpPr>
            <p:cNvPr id="20" name="Oval 19"/>
            <p:cNvSpPr/>
            <p:nvPr userDrawn="1"/>
          </p:nvSpPr>
          <p:spPr>
            <a:xfrm>
              <a:off x="3923928" y="3291878"/>
              <a:ext cx="432000" cy="43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solidFill>
                  <a:prstClr val="white"/>
                </a:solidFill>
              </a:endParaRPr>
            </a:p>
          </p:txBody>
        </p:sp>
        <p:sp>
          <p:nvSpPr>
            <p:cNvPr id="21" name="Freeform 53"/>
            <p:cNvSpPr>
              <a:spLocks noEditPoints="1"/>
            </p:cNvSpPr>
            <p:nvPr userDrawn="1"/>
          </p:nvSpPr>
          <p:spPr bwMode="auto">
            <a:xfrm>
              <a:off x="4021306" y="3430118"/>
              <a:ext cx="247869" cy="155520"/>
            </a:xfrm>
            <a:custGeom>
              <a:avLst/>
              <a:gdLst>
                <a:gd name="T0" fmla="*/ 16113 w 16156"/>
                <a:gd name="T1" fmla="*/ 10223 h 10920"/>
                <a:gd name="T2" fmla="*/ 16133 w 16156"/>
                <a:gd name="T3" fmla="*/ 10148 h 10920"/>
                <a:gd name="T4" fmla="*/ 16147 w 16156"/>
                <a:gd name="T5" fmla="*/ 10071 h 10920"/>
                <a:gd name="T6" fmla="*/ 16155 w 16156"/>
                <a:gd name="T7" fmla="*/ 9992 h 10920"/>
                <a:gd name="T8" fmla="*/ 16156 w 16156"/>
                <a:gd name="T9" fmla="*/ 969 h 10920"/>
                <a:gd name="T10" fmla="*/ 16152 w 16156"/>
                <a:gd name="T11" fmla="*/ 893 h 10920"/>
                <a:gd name="T12" fmla="*/ 16142 w 16156"/>
                <a:gd name="T13" fmla="*/ 818 h 10920"/>
                <a:gd name="T14" fmla="*/ 16126 w 16156"/>
                <a:gd name="T15" fmla="*/ 746 h 10920"/>
                <a:gd name="T16" fmla="*/ 16106 w 16156"/>
                <a:gd name="T17" fmla="*/ 675 h 10920"/>
                <a:gd name="T18" fmla="*/ 16100 w 16156"/>
                <a:gd name="T19" fmla="*/ 10260 h 10920"/>
                <a:gd name="T20" fmla="*/ 39 w 16156"/>
                <a:gd name="T21" fmla="*/ 711 h 10920"/>
                <a:gd name="T22" fmla="*/ 21 w 16156"/>
                <a:gd name="T23" fmla="*/ 782 h 10920"/>
                <a:gd name="T24" fmla="*/ 8 w 16156"/>
                <a:gd name="T25" fmla="*/ 855 h 10920"/>
                <a:gd name="T26" fmla="*/ 1 w 16156"/>
                <a:gd name="T27" fmla="*/ 930 h 10920"/>
                <a:gd name="T28" fmla="*/ 0 w 16156"/>
                <a:gd name="T29" fmla="*/ 9951 h 10920"/>
                <a:gd name="T30" fmla="*/ 4 w 16156"/>
                <a:gd name="T31" fmla="*/ 10031 h 10920"/>
                <a:gd name="T32" fmla="*/ 15 w 16156"/>
                <a:gd name="T33" fmla="*/ 10110 h 10920"/>
                <a:gd name="T34" fmla="*/ 32 w 16156"/>
                <a:gd name="T35" fmla="*/ 10186 h 10920"/>
                <a:gd name="T36" fmla="*/ 56 w 16156"/>
                <a:gd name="T37" fmla="*/ 10260 h 10920"/>
                <a:gd name="T38" fmla="*/ 50 w 16156"/>
                <a:gd name="T39" fmla="*/ 675 h 10920"/>
                <a:gd name="T40" fmla="*/ 15222 w 16156"/>
                <a:gd name="T41" fmla="*/ 10919 h 10920"/>
                <a:gd name="T42" fmla="*/ 15289 w 16156"/>
                <a:gd name="T43" fmla="*/ 10913 h 10920"/>
                <a:gd name="T44" fmla="*/ 15354 w 16156"/>
                <a:gd name="T45" fmla="*/ 10903 h 10920"/>
                <a:gd name="T46" fmla="*/ 15418 w 16156"/>
                <a:gd name="T47" fmla="*/ 10888 h 10920"/>
                <a:gd name="T48" fmla="*/ 10133 w 16156"/>
                <a:gd name="T49" fmla="*/ 5765 h 10920"/>
                <a:gd name="T50" fmla="*/ 6026 w 16156"/>
                <a:gd name="T51" fmla="*/ 5768 h 10920"/>
                <a:gd name="T52" fmla="*/ 738 w 16156"/>
                <a:gd name="T53" fmla="*/ 10888 h 10920"/>
                <a:gd name="T54" fmla="*/ 802 w 16156"/>
                <a:gd name="T55" fmla="*/ 10903 h 10920"/>
                <a:gd name="T56" fmla="*/ 867 w 16156"/>
                <a:gd name="T57" fmla="*/ 10913 h 10920"/>
                <a:gd name="T58" fmla="*/ 934 w 16156"/>
                <a:gd name="T59" fmla="*/ 10919 h 10920"/>
                <a:gd name="T60" fmla="*/ 15189 w 16156"/>
                <a:gd name="T61" fmla="*/ 10920 h 10920"/>
                <a:gd name="T62" fmla="*/ 9465 w 16156"/>
                <a:gd name="T63" fmla="*/ 5153 h 10920"/>
                <a:gd name="T64" fmla="*/ 15460 w 16156"/>
                <a:gd name="T65" fmla="*/ 44 h 10920"/>
                <a:gd name="T66" fmla="*/ 15395 w 16156"/>
                <a:gd name="T67" fmla="*/ 26 h 10920"/>
                <a:gd name="T68" fmla="*/ 15327 w 16156"/>
                <a:gd name="T69" fmla="*/ 12 h 10920"/>
                <a:gd name="T70" fmla="*/ 15258 w 16156"/>
                <a:gd name="T71" fmla="*/ 3 h 10920"/>
                <a:gd name="T72" fmla="*/ 15189 w 16156"/>
                <a:gd name="T73" fmla="*/ 0 h 10920"/>
                <a:gd name="T74" fmla="*/ 932 w 16156"/>
                <a:gd name="T75" fmla="*/ 1 h 10920"/>
                <a:gd name="T76" fmla="*/ 862 w 16156"/>
                <a:gd name="T77" fmla="*/ 7 h 10920"/>
                <a:gd name="T78" fmla="*/ 795 w 16156"/>
                <a:gd name="T79" fmla="*/ 19 h 10920"/>
                <a:gd name="T80" fmla="*/ 728 w 16156"/>
                <a:gd name="T81" fmla="*/ 34 h 10920"/>
                <a:gd name="T82" fmla="*/ 5991 w 16156"/>
                <a:gd name="T83" fmla="*/ 4582 h 10920"/>
                <a:gd name="T84" fmla="*/ 8078 w 16156"/>
                <a:gd name="T85" fmla="*/ 6283 h 10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156" h="10920">
                  <a:moveTo>
                    <a:pt x="16100" y="10260"/>
                  </a:moveTo>
                  <a:lnTo>
                    <a:pt x="16113" y="10223"/>
                  </a:lnTo>
                  <a:lnTo>
                    <a:pt x="16124" y="10186"/>
                  </a:lnTo>
                  <a:lnTo>
                    <a:pt x="16133" y="10148"/>
                  </a:lnTo>
                  <a:lnTo>
                    <a:pt x="16141" y="10109"/>
                  </a:lnTo>
                  <a:lnTo>
                    <a:pt x="16147" y="10071"/>
                  </a:lnTo>
                  <a:lnTo>
                    <a:pt x="16152" y="10031"/>
                  </a:lnTo>
                  <a:lnTo>
                    <a:pt x="16155" y="9992"/>
                  </a:lnTo>
                  <a:lnTo>
                    <a:pt x="16156" y="9951"/>
                  </a:lnTo>
                  <a:lnTo>
                    <a:pt x="16156" y="969"/>
                  </a:lnTo>
                  <a:lnTo>
                    <a:pt x="16155" y="930"/>
                  </a:lnTo>
                  <a:lnTo>
                    <a:pt x="16152" y="893"/>
                  </a:lnTo>
                  <a:lnTo>
                    <a:pt x="16148" y="855"/>
                  </a:lnTo>
                  <a:lnTo>
                    <a:pt x="16142" y="818"/>
                  </a:lnTo>
                  <a:lnTo>
                    <a:pt x="16135" y="782"/>
                  </a:lnTo>
                  <a:lnTo>
                    <a:pt x="16126" y="746"/>
                  </a:lnTo>
                  <a:lnTo>
                    <a:pt x="16117" y="711"/>
                  </a:lnTo>
                  <a:lnTo>
                    <a:pt x="16106" y="675"/>
                  </a:lnTo>
                  <a:lnTo>
                    <a:pt x="10836" y="5193"/>
                  </a:lnTo>
                  <a:lnTo>
                    <a:pt x="16100" y="10260"/>
                  </a:lnTo>
                  <a:close/>
                  <a:moveTo>
                    <a:pt x="50" y="675"/>
                  </a:moveTo>
                  <a:lnTo>
                    <a:pt x="39" y="711"/>
                  </a:lnTo>
                  <a:lnTo>
                    <a:pt x="30" y="746"/>
                  </a:lnTo>
                  <a:lnTo>
                    <a:pt x="21" y="782"/>
                  </a:lnTo>
                  <a:lnTo>
                    <a:pt x="14" y="818"/>
                  </a:lnTo>
                  <a:lnTo>
                    <a:pt x="8" y="855"/>
                  </a:lnTo>
                  <a:lnTo>
                    <a:pt x="4" y="893"/>
                  </a:lnTo>
                  <a:lnTo>
                    <a:pt x="1" y="930"/>
                  </a:lnTo>
                  <a:lnTo>
                    <a:pt x="0" y="969"/>
                  </a:lnTo>
                  <a:lnTo>
                    <a:pt x="0" y="9951"/>
                  </a:lnTo>
                  <a:lnTo>
                    <a:pt x="1" y="9992"/>
                  </a:lnTo>
                  <a:lnTo>
                    <a:pt x="4" y="10031"/>
                  </a:lnTo>
                  <a:lnTo>
                    <a:pt x="9" y="10071"/>
                  </a:lnTo>
                  <a:lnTo>
                    <a:pt x="15" y="10110"/>
                  </a:lnTo>
                  <a:lnTo>
                    <a:pt x="23" y="10148"/>
                  </a:lnTo>
                  <a:lnTo>
                    <a:pt x="32" y="10186"/>
                  </a:lnTo>
                  <a:lnTo>
                    <a:pt x="43" y="10223"/>
                  </a:lnTo>
                  <a:lnTo>
                    <a:pt x="56" y="10260"/>
                  </a:lnTo>
                  <a:lnTo>
                    <a:pt x="5323" y="5196"/>
                  </a:lnTo>
                  <a:lnTo>
                    <a:pt x="50" y="675"/>
                  </a:lnTo>
                  <a:close/>
                  <a:moveTo>
                    <a:pt x="15189" y="10920"/>
                  </a:moveTo>
                  <a:lnTo>
                    <a:pt x="15222" y="10919"/>
                  </a:lnTo>
                  <a:lnTo>
                    <a:pt x="15256" y="10917"/>
                  </a:lnTo>
                  <a:lnTo>
                    <a:pt x="15289" y="10913"/>
                  </a:lnTo>
                  <a:lnTo>
                    <a:pt x="15322" y="10909"/>
                  </a:lnTo>
                  <a:lnTo>
                    <a:pt x="15354" y="10903"/>
                  </a:lnTo>
                  <a:lnTo>
                    <a:pt x="15387" y="10896"/>
                  </a:lnTo>
                  <a:lnTo>
                    <a:pt x="15418" y="10888"/>
                  </a:lnTo>
                  <a:lnTo>
                    <a:pt x="15449" y="10880"/>
                  </a:lnTo>
                  <a:lnTo>
                    <a:pt x="10133" y="5765"/>
                  </a:lnTo>
                  <a:lnTo>
                    <a:pt x="8078" y="7440"/>
                  </a:lnTo>
                  <a:lnTo>
                    <a:pt x="6026" y="5768"/>
                  </a:lnTo>
                  <a:lnTo>
                    <a:pt x="707" y="10880"/>
                  </a:lnTo>
                  <a:lnTo>
                    <a:pt x="738" y="10888"/>
                  </a:lnTo>
                  <a:lnTo>
                    <a:pt x="770" y="10896"/>
                  </a:lnTo>
                  <a:lnTo>
                    <a:pt x="802" y="10903"/>
                  </a:lnTo>
                  <a:lnTo>
                    <a:pt x="834" y="10909"/>
                  </a:lnTo>
                  <a:lnTo>
                    <a:pt x="867" y="10913"/>
                  </a:lnTo>
                  <a:lnTo>
                    <a:pt x="901" y="10917"/>
                  </a:lnTo>
                  <a:lnTo>
                    <a:pt x="934" y="10919"/>
                  </a:lnTo>
                  <a:lnTo>
                    <a:pt x="967" y="10920"/>
                  </a:lnTo>
                  <a:lnTo>
                    <a:pt x="15189" y="10920"/>
                  </a:lnTo>
                  <a:close/>
                  <a:moveTo>
                    <a:pt x="8078" y="6283"/>
                  </a:moveTo>
                  <a:lnTo>
                    <a:pt x="9465" y="5153"/>
                  </a:lnTo>
                  <a:lnTo>
                    <a:pt x="10168" y="4580"/>
                  </a:lnTo>
                  <a:lnTo>
                    <a:pt x="15460" y="44"/>
                  </a:lnTo>
                  <a:lnTo>
                    <a:pt x="15428" y="34"/>
                  </a:lnTo>
                  <a:lnTo>
                    <a:pt x="15395" y="26"/>
                  </a:lnTo>
                  <a:lnTo>
                    <a:pt x="15361" y="19"/>
                  </a:lnTo>
                  <a:lnTo>
                    <a:pt x="15327" y="12"/>
                  </a:lnTo>
                  <a:lnTo>
                    <a:pt x="15294" y="7"/>
                  </a:lnTo>
                  <a:lnTo>
                    <a:pt x="15258" y="3"/>
                  </a:lnTo>
                  <a:lnTo>
                    <a:pt x="15224" y="1"/>
                  </a:lnTo>
                  <a:lnTo>
                    <a:pt x="15189" y="0"/>
                  </a:lnTo>
                  <a:lnTo>
                    <a:pt x="967" y="0"/>
                  </a:lnTo>
                  <a:lnTo>
                    <a:pt x="932" y="1"/>
                  </a:lnTo>
                  <a:lnTo>
                    <a:pt x="897" y="3"/>
                  </a:lnTo>
                  <a:lnTo>
                    <a:pt x="862" y="7"/>
                  </a:lnTo>
                  <a:lnTo>
                    <a:pt x="828" y="12"/>
                  </a:lnTo>
                  <a:lnTo>
                    <a:pt x="795" y="19"/>
                  </a:lnTo>
                  <a:lnTo>
                    <a:pt x="761" y="26"/>
                  </a:lnTo>
                  <a:lnTo>
                    <a:pt x="728" y="34"/>
                  </a:lnTo>
                  <a:lnTo>
                    <a:pt x="695" y="44"/>
                  </a:lnTo>
                  <a:lnTo>
                    <a:pt x="5991" y="4582"/>
                  </a:lnTo>
                  <a:lnTo>
                    <a:pt x="6693" y="5155"/>
                  </a:lnTo>
                  <a:lnTo>
                    <a:pt x="8078" y="628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solidFill>
                  <a:prstClr val="black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279525" y="1450594"/>
            <a:ext cx="9794875" cy="4297363"/>
          </a:xfrm>
          <a:prstGeom prst="rect">
            <a:avLst/>
          </a:prstGeom>
        </p:spPr>
        <p:txBody>
          <a:bodyPr lIns="121899" tIns="60949" rIns="121899" bIns="60949"/>
          <a:lstStyle>
            <a:lvl1pPr>
              <a:defRPr sz="3200">
                <a:latin typeface="Trebuchet MS" panose="020B0603020202020204" pitchFamily="34" charset="0"/>
              </a:defRPr>
            </a:lvl1pPr>
            <a:lvl2pPr>
              <a:defRPr sz="3200">
                <a:latin typeface="Trebuchet MS" panose="020B0603020202020204" pitchFamily="34" charset="0"/>
              </a:defRPr>
            </a:lvl2pPr>
            <a:lvl3pPr>
              <a:defRPr sz="2400">
                <a:latin typeface="Trebuchet MS" panose="020B0603020202020204" pitchFamily="34" charset="0"/>
              </a:defRPr>
            </a:lvl3pPr>
            <a:lvl4pPr>
              <a:defRPr sz="2100">
                <a:latin typeface="Trebuchet MS" panose="020B0603020202020204" pitchFamily="34" charset="0"/>
              </a:defRPr>
            </a:lvl4pPr>
            <a:lvl5pPr>
              <a:defRPr sz="210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21"/>
          <p:cNvSpPr>
            <a:spLocks noGrp="1"/>
          </p:cNvSpPr>
          <p:nvPr>
            <p:ph type="title"/>
          </p:nvPr>
        </p:nvSpPr>
        <p:spPr bwMode="auto">
          <a:xfrm>
            <a:off x="1345479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 lIns="121899" tIns="60949" rIns="121899" bIns="60949"/>
          <a:lstStyle>
            <a:lvl1pPr algn="l">
              <a:defRPr sz="32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4117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715963"/>
            <a:ext cx="812800" cy="46037"/>
          </a:xfrm>
          <a:prstGeom prst="rect">
            <a:avLst/>
          </a:prstGeom>
          <a:solidFill>
            <a:srgbClr val="F20000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52488" y="715963"/>
            <a:ext cx="91043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7" name="TextBox 10"/>
          <p:cNvSpPr txBox="1">
            <a:spLocks noChangeArrowheads="1"/>
          </p:cNvSpPr>
          <p:nvPr/>
        </p:nvSpPr>
        <p:spPr bwMode="auto">
          <a:xfrm>
            <a:off x="11634788" y="6618288"/>
            <a:ext cx="341312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fld id="{F8451FF7-223D-4226-863A-3508789F17A1}" type="slidenum">
              <a:rPr lang="en-US" altLang="en-US" sz="1000" smtClean="0">
                <a:solidFill>
                  <a:srgbClr val="000000"/>
                </a:solidFill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en-US" sz="10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8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5138" y="73025"/>
            <a:ext cx="1465262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21"/>
          <p:cNvSpPr>
            <a:spLocks noGrp="1"/>
          </p:cNvSpPr>
          <p:nvPr>
            <p:ph type="title"/>
          </p:nvPr>
        </p:nvSpPr>
        <p:spPr bwMode="auto">
          <a:xfrm>
            <a:off x="406400" y="154958"/>
            <a:ext cx="10769600" cy="5319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2400" b="1" i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06401" y="838200"/>
            <a:ext cx="11480800" cy="457200"/>
          </a:xfrm>
          <a:prstGeom prst="rect">
            <a:avLst/>
          </a:prstGeom>
        </p:spPr>
        <p:txBody>
          <a:bodyPr/>
          <a:lstStyle>
            <a:lvl1pPr marL="0" indent="0">
              <a:buFont typeface="Arial" pitchFamily="34" charset="0"/>
              <a:buNone/>
              <a:defRPr sz="180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Font typeface="Arial" pitchFamily="34" charset="0"/>
              <a:buNone/>
              <a:defRPr sz="1600"/>
            </a:lvl2pPr>
            <a:lvl3pPr marL="914400" indent="0">
              <a:buFont typeface="Arial" pitchFamily="34" charset="0"/>
              <a:buNone/>
              <a:defRPr sz="1400"/>
            </a:lvl3pPr>
            <a:lvl4pPr marL="1371600" indent="0">
              <a:buFont typeface="Arial" pitchFamily="34" charset="0"/>
              <a:buNone/>
              <a:defRPr sz="1200"/>
            </a:lvl4pPr>
            <a:lvl5pPr marL="1828800" indent="0">
              <a:buFont typeface="Arial" pitchFamily="34" charset="0"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812801" y="6584776"/>
            <a:ext cx="10566400" cy="273224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itchFamily="34" charset="0"/>
              <a:buNone/>
              <a:defRPr sz="1050" b="0" baseline="0">
                <a:latin typeface="+mj-lt"/>
                <a:cs typeface="Arial" pitchFamily="34" charset="0"/>
              </a:defRPr>
            </a:lvl1pPr>
            <a:lvl2pPr marL="457200" indent="0">
              <a:buFont typeface="Arial" pitchFamily="34" charset="0"/>
              <a:buNone/>
              <a:defRPr sz="1600"/>
            </a:lvl2pPr>
            <a:lvl3pPr marL="914400" indent="0">
              <a:buFont typeface="Arial" pitchFamily="34" charset="0"/>
              <a:buNone/>
              <a:defRPr sz="1400"/>
            </a:lvl3pPr>
            <a:lvl4pPr marL="1371600" indent="0">
              <a:buFont typeface="Arial" pitchFamily="34" charset="0"/>
              <a:buNone/>
              <a:defRPr sz="1200"/>
            </a:lvl4pPr>
            <a:lvl5pPr marL="1828800" indent="0">
              <a:buFont typeface="Arial" pitchFamily="34" charset="0"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0541740"/>
      </p:ext>
    </p:extLst>
  </p:cSld>
  <p:clrMapOvr>
    <a:masterClrMapping/>
  </p:clrMapOvr>
  <p:transition spd="med">
    <p:wip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0088" y="73025"/>
            <a:ext cx="132238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808038" y="684213"/>
            <a:ext cx="10137775" cy="50800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7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75" y="66675"/>
            <a:ext cx="692150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6526213"/>
            <a:ext cx="3397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930275" y="6526213"/>
            <a:ext cx="1600200" cy="3698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id-ID">
                <a:solidFill>
                  <a:prstClr val="white"/>
                </a:solidFill>
                <a:ea typeface="+mn-ea"/>
                <a:cs typeface="+mn-cs"/>
              </a:rPr>
              <a:t>ddbaccelerator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3097213" y="6538913"/>
            <a:ext cx="1808162" cy="3698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id-ID">
                <a:solidFill>
                  <a:prstClr val="white"/>
                </a:solidFill>
                <a:ea typeface="+mn-ea"/>
                <a:cs typeface="+mn-cs"/>
              </a:rPr>
              <a:t>@ddbaccelerator</a:t>
            </a: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5397500" y="6550025"/>
            <a:ext cx="2978150" cy="369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id-ID" dirty="0">
                <a:solidFill>
                  <a:prstClr val="white"/>
                </a:solidFill>
                <a:ea typeface="+mn-ea"/>
                <a:cs typeface="+mn-cs"/>
              </a:rPr>
              <a:t>support@ddbaccelerator.com</a:t>
            </a: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8851900" y="6548438"/>
            <a:ext cx="2576513" cy="3698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id-ID">
                <a:solidFill>
                  <a:prstClr val="white"/>
                </a:solidFill>
                <a:ea typeface="+mn-ea"/>
                <a:cs typeface="+mn-cs"/>
              </a:rPr>
              <a:t>www.ddbaccelerator.com</a:t>
            </a:r>
          </a:p>
        </p:txBody>
      </p:sp>
      <p:pic>
        <p:nvPicPr>
          <p:cNvPr id="15" name="Picture 10" descr="https://g.twimg.com/Twitter_logo_blu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5588" y="6534150"/>
            <a:ext cx="382587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Freeform 39"/>
          <p:cNvSpPr>
            <a:spLocks noEditPoints="1"/>
          </p:cNvSpPr>
          <p:nvPr/>
        </p:nvSpPr>
        <p:spPr bwMode="auto">
          <a:xfrm>
            <a:off x="8532813" y="6534150"/>
            <a:ext cx="347662" cy="323850"/>
          </a:xfrm>
          <a:custGeom>
            <a:avLst/>
            <a:gdLst>
              <a:gd name="T0" fmla="*/ 2147483646 w 16128"/>
              <a:gd name="T1" fmla="*/ 2147483646 h 16128"/>
              <a:gd name="T2" fmla="*/ 2147483646 w 16128"/>
              <a:gd name="T3" fmla="*/ 2147483646 h 16128"/>
              <a:gd name="T4" fmla="*/ 2147483646 w 16128"/>
              <a:gd name="T5" fmla="*/ 2147483646 h 16128"/>
              <a:gd name="T6" fmla="*/ 2147483646 w 16128"/>
              <a:gd name="T7" fmla="*/ 2147483646 h 16128"/>
              <a:gd name="T8" fmla="*/ 2147483646 w 16128"/>
              <a:gd name="T9" fmla="*/ 2147483646 h 16128"/>
              <a:gd name="T10" fmla="*/ 2147483646 w 16128"/>
              <a:gd name="T11" fmla="*/ 2147483646 h 16128"/>
              <a:gd name="T12" fmla="*/ 2147483646 w 16128"/>
              <a:gd name="T13" fmla="*/ 2147483646 h 16128"/>
              <a:gd name="T14" fmla="*/ 2147483646 w 16128"/>
              <a:gd name="T15" fmla="*/ 2147483646 h 16128"/>
              <a:gd name="T16" fmla="*/ 2147483646 w 16128"/>
              <a:gd name="T17" fmla="*/ 2147483646 h 16128"/>
              <a:gd name="T18" fmla="*/ 2147483646 w 16128"/>
              <a:gd name="T19" fmla="*/ 2147483646 h 16128"/>
              <a:gd name="T20" fmla="*/ 2147483646 w 16128"/>
              <a:gd name="T21" fmla="*/ 2147483646 h 16128"/>
              <a:gd name="T22" fmla="*/ 2147483646 w 16128"/>
              <a:gd name="T23" fmla="*/ 2147483646 h 16128"/>
              <a:gd name="T24" fmla="*/ 2147483646 w 16128"/>
              <a:gd name="T25" fmla="*/ 2147483646 h 16128"/>
              <a:gd name="T26" fmla="*/ 2147483646 w 16128"/>
              <a:gd name="T27" fmla="*/ 2147483646 h 16128"/>
              <a:gd name="T28" fmla="*/ 2147483646 w 16128"/>
              <a:gd name="T29" fmla="*/ 2147483646 h 16128"/>
              <a:gd name="T30" fmla="*/ 2147483646 w 16128"/>
              <a:gd name="T31" fmla="*/ 2147483646 h 16128"/>
              <a:gd name="T32" fmla="*/ 2147483646 w 16128"/>
              <a:gd name="T33" fmla="*/ 2147483646 h 16128"/>
              <a:gd name="T34" fmla="*/ 2147483646 w 16128"/>
              <a:gd name="T35" fmla="*/ 2147483646 h 16128"/>
              <a:gd name="T36" fmla="*/ 2147483646 w 16128"/>
              <a:gd name="T37" fmla="*/ 2147483646 h 16128"/>
              <a:gd name="T38" fmla="*/ 2147483646 w 16128"/>
              <a:gd name="T39" fmla="*/ 2147483646 h 16128"/>
              <a:gd name="T40" fmla="*/ 2147483646 w 16128"/>
              <a:gd name="T41" fmla="*/ 2147483646 h 16128"/>
              <a:gd name="T42" fmla="*/ 2147483646 w 16128"/>
              <a:gd name="T43" fmla="*/ 2147483646 h 16128"/>
              <a:gd name="T44" fmla="*/ 2147483646 w 16128"/>
              <a:gd name="T45" fmla="*/ 2147483646 h 16128"/>
              <a:gd name="T46" fmla="*/ 2147483646 w 16128"/>
              <a:gd name="T47" fmla="*/ 2147483646 h 16128"/>
              <a:gd name="T48" fmla="*/ 2147483646 w 16128"/>
              <a:gd name="T49" fmla="*/ 2147483646 h 16128"/>
              <a:gd name="T50" fmla="*/ 2147483646 w 16128"/>
              <a:gd name="T51" fmla="*/ 2147483646 h 16128"/>
              <a:gd name="T52" fmla="*/ 2147483646 w 16128"/>
              <a:gd name="T53" fmla="*/ 2147483646 h 16128"/>
              <a:gd name="T54" fmla="*/ 2147483646 w 16128"/>
              <a:gd name="T55" fmla="*/ 2147483646 h 16128"/>
              <a:gd name="T56" fmla="*/ 2147483646 w 16128"/>
              <a:gd name="T57" fmla="*/ 2147483646 h 16128"/>
              <a:gd name="T58" fmla="*/ 2147483646 w 16128"/>
              <a:gd name="T59" fmla="*/ 2147483646 h 16128"/>
              <a:gd name="T60" fmla="*/ 2147483646 w 16128"/>
              <a:gd name="T61" fmla="*/ 2147483646 h 16128"/>
              <a:gd name="T62" fmla="*/ 2147483646 w 16128"/>
              <a:gd name="T63" fmla="*/ 2147483646 h 16128"/>
              <a:gd name="T64" fmla="*/ 2147483646 w 16128"/>
              <a:gd name="T65" fmla="*/ 2147483646 h 16128"/>
              <a:gd name="T66" fmla="*/ 2147483646 w 16128"/>
              <a:gd name="T67" fmla="*/ 2147483646 h 16128"/>
              <a:gd name="T68" fmla="*/ 2147483646 w 16128"/>
              <a:gd name="T69" fmla="*/ 2147483646 h 16128"/>
              <a:gd name="T70" fmla="*/ 2147483646 w 16128"/>
              <a:gd name="T71" fmla="*/ 2147483646 h 16128"/>
              <a:gd name="T72" fmla="*/ 2147483646 w 16128"/>
              <a:gd name="T73" fmla="*/ 2147483646 h 16128"/>
              <a:gd name="T74" fmla="*/ 2147483646 w 16128"/>
              <a:gd name="T75" fmla="*/ 2147483646 h 16128"/>
              <a:gd name="T76" fmla="*/ 2147483646 w 16128"/>
              <a:gd name="T77" fmla="*/ 2147483646 h 16128"/>
              <a:gd name="T78" fmla="*/ 2147483646 w 16128"/>
              <a:gd name="T79" fmla="*/ 2147483646 h 16128"/>
              <a:gd name="T80" fmla="*/ 2147483646 w 16128"/>
              <a:gd name="T81" fmla="*/ 2147483646 h 16128"/>
              <a:gd name="T82" fmla="*/ 2147483646 w 16128"/>
              <a:gd name="T83" fmla="*/ 2147483646 h 16128"/>
              <a:gd name="T84" fmla="*/ 2147483646 w 16128"/>
              <a:gd name="T85" fmla="*/ 2147483646 h 16128"/>
              <a:gd name="T86" fmla="*/ 2147483646 w 16128"/>
              <a:gd name="T87" fmla="*/ 2147483646 h 16128"/>
              <a:gd name="T88" fmla="*/ 2147483646 w 16128"/>
              <a:gd name="T89" fmla="*/ 2147483646 h 16128"/>
              <a:gd name="T90" fmla="*/ 2147483646 w 16128"/>
              <a:gd name="T91" fmla="*/ 2147483646 h 16128"/>
              <a:gd name="T92" fmla="*/ 2147483646 w 16128"/>
              <a:gd name="T93" fmla="*/ 2147483646 h 16128"/>
              <a:gd name="T94" fmla="*/ 2147483646 w 16128"/>
              <a:gd name="T95" fmla="*/ 2147483646 h 16128"/>
              <a:gd name="T96" fmla="*/ 2147483646 w 16128"/>
              <a:gd name="T97" fmla="*/ 2147483646 h 16128"/>
              <a:gd name="T98" fmla="*/ 2147483646 w 16128"/>
              <a:gd name="T99" fmla="*/ 2147483646 h 16128"/>
              <a:gd name="T100" fmla="*/ 2147483646 w 16128"/>
              <a:gd name="T101" fmla="*/ 2147483646 h 16128"/>
              <a:gd name="T102" fmla="*/ 2147483646 w 16128"/>
              <a:gd name="T103" fmla="*/ 2147483646 h 16128"/>
              <a:gd name="T104" fmla="*/ 2147483646 w 16128"/>
              <a:gd name="T105" fmla="*/ 2147483646 h 16128"/>
              <a:gd name="T106" fmla="*/ 2147483646 w 16128"/>
              <a:gd name="T107" fmla="*/ 2147483646 h 16128"/>
              <a:gd name="T108" fmla="*/ 2147483646 w 16128"/>
              <a:gd name="T109" fmla="*/ 2147483646 h 16128"/>
              <a:gd name="T110" fmla="*/ 2147483646 w 16128"/>
              <a:gd name="T111" fmla="*/ 2147483646 h 16128"/>
              <a:gd name="T112" fmla="*/ 2147483646 w 16128"/>
              <a:gd name="T113" fmla="*/ 2147483646 h 16128"/>
              <a:gd name="T114" fmla="*/ 2147483646 w 16128"/>
              <a:gd name="T115" fmla="*/ 2147483646 h 16128"/>
              <a:gd name="T116" fmla="*/ 2147483646 w 16128"/>
              <a:gd name="T117" fmla="*/ 2147483646 h 16128"/>
              <a:gd name="T118" fmla="*/ 2147483646 w 16128"/>
              <a:gd name="T119" fmla="*/ 2147483646 h 16128"/>
              <a:gd name="T120" fmla="*/ 2147483646 w 16128"/>
              <a:gd name="T121" fmla="*/ 2147483646 h 16128"/>
              <a:gd name="T122" fmla="*/ 2147483646 w 16128"/>
              <a:gd name="T123" fmla="*/ 2147483646 h 16128"/>
              <a:gd name="T124" fmla="*/ 2147483646 w 16128"/>
              <a:gd name="T125" fmla="*/ 2147483646 h 1612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128" h="16128">
                <a:moveTo>
                  <a:pt x="8064" y="0"/>
                </a:moveTo>
                <a:lnTo>
                  <a:pt x="7649" y="10"/>
                </a:lnTo>
                <a:lnTo>
                  <a:pt x="7239" y="41"/>
                </a:lnTo>
                <a:lnTo>
                  <a:pt x="6836" y="93"/>
                </a:lnTo>
                <a:lnTo>
                  <a:pt x="6439" y="164"/>
                </a:lnTo>
                <a:lnTo>
                  <a:pt x="6049" y="254"/>
                </a:lnTo>
                <a:lnTo>
                  <a:pt x="5666" y="363"/>
                </a:lnTo>
                <a:lnTo>
                  <a:pt x="5291" y="489"/>
                </a:lnTo>
                <a:lnTo>
                  <a:pt x="4925" y="634"/>
                </a:lnTo>
                <a:lnTo>
                  <a:pt x="4568" y="795"/>
                </a:lnTo>
                <a:lnTo>
                  <a:pt x="4220" y="974"/>
                </a:lnTo>
                <a:lnTo>
                  <a:pt x="3883" y="1167"/>
                </a:lnTo>
                <a:lnTo>
                  <a:pt x="3555" y="1377"/>
                </a:lnTo>
                <a:lnTo>
                  <a:pt x="3239" y="1602"/>
                </a:lnTo>
                <a:lnTo>
                  <a:pt x="2934" y="1842"/>
                </a:lnTo>
                <a:lnTo>
                  <a:pt x="2642" y="2095"/>
                </a:lnTo>
                <a:lnTo>
                  <a:pt x="2362" y="2362"/>
                </a:lnTo>
                <a:lnTo>
                  <a:pt x="2095" y="2642"/>
                </a:lnTo>
                <a:lnTo>
                  <a:pt x="1842" y="2934"/>
                </a:lnTo>
                <a:lnTo>
                  <a:pt x="1602" y="3239"/>
                </a:lnTo>
                <a:lnTo>
                  <a:pt x="1377" y="3555"/>
                </a:lnTo>
                <a:lnTo>
                  <a:pt x="1167" y="3883"/>
                </a:lnTo>
                <a:lnTo>
                  <a:pt x="974" y="4220"/>
                </a:lnTo>
                <a:lnTo>
                  <a:pt x="795" y="4568"/>
                </a:lnTo>
                <a:lnTo>
                  <a:pt x="634" y="4925"/>
                </a:lnTo>
                <a:lnTo>
                  <a:pt x="489" y="5291"/>
                </a:lnTo>
                <a:lnTo>
                  <a:pt x="363" y="5666"/>
                </a:lnTo>
                <a:lnTo>
                  <a:pt x="254" y="6049"/>
                </a:lnTo>
                <a:lnTo>
                  <a:pt x="164" y="6439"/>
                </a:lnTo>
                <a:lnTo>
                  <a:pt x="93" y="6836"/>
                </a:lnTo>
                <a:lnTo>
                  <a:pt x="41" y="7239"/>
                </a:lnTo>
                <a:lnTo>
                  <a:pt x="10" y="7649"/>
                </a:lnTo>
                <a:lnTo>
                  <a:pt x="0" y="8064"/>
                </a:lnTo>
                <a:lnTo>
                  <a:pt x="10" y="8479"/>
                </a:lnTo>
                <a:lnTo>
                  <a:pt x="41" y="8889"/>
                </a:lnTo>
                <a:lnTo>
                  <a:pt x="93" y="9292"/>
                </a:lnTo>
                <a:lnTo>
                  <a:pt x="164" y="9689"/>
                </a:lnTo>
                <a:lnTo>
                  <a:pt x="254" y="10079"/>
                </a:lnTo>
                <a:lnTo>
                  <a:pt x="363" y="10462"/>
                </a:lnTo>
                <a:lnTo>
                  <a:pt x="489" y="10837"/>
                </a:lnTo>
                <a:lnTo>
                  <a:pt x="634" y="11203"/>
                </a:lnTo>
                <a:lnTo>
                  <a:pt x="795" y="11560"/>
                </a:lnTo>
                <a:lnTo>
                  <a:pt x="974" y="11908"/>
                </a:lnTo>
                <a:lnTo>
                  <a:pt x="1167" y="12245"/>
                </a:lnTo>
                <a:lnTo>
                  <a:pt x="1377" y="12573"/>
                </a:lnTo>
                <a:lnTo>
                  <a:pt x="1602" y="12888"/>
                </a:lnTo>
                <a:lnTo>
                  <a:pt x="1842" y="13194"/>
                </a:lnTo>
                <a:lnTo>
                  <a:pt x="2095" y="13486"/>
                </a:lnTo>
                <a:lnTo>
                  <a:pt x="2362" y="13766"/>
                </a:lnTo>
                <a:lnTo>
                  <a:pt x="2642" y="14033"/>
                </a:lnTo>
                <a:lnTo>
                  <a:pt x="2934" y="14286"/>
                </a:lnTo>
                <a:lnTo>
                  <a:pt x="3239" y="14526"/>
                </a:lnTo>
                <a:lnTo>
                  <a:pt x="3555" y="14751"/>
                </a:lnTo>
                <a:lnTo>
                  <a:pt x="3883" y="14961"/>
                </a:lnTo>
                <a:lnTo>
                  <a:pt x="4220" y="15154"/>
                </a:lnTo>
                <a:lnTo>
                  <a:pt x="4568" y="15333"/>
                </a:lnTo>
                <a:lnTo>
                  <a:pt x="4925" y="15494"/>
                </a:lnTo>
                <a:lnTo>
                  <a:pt x="5291" y="15639"/>
                </a:lnTo>
                <a:lnTo>
                  <a:pt x="5666" y="15765"/>
                </a:lnTo>
                <a:lnTo>
                  <a:pt x="6049" y="15874"/>
                </a:lnTo>
                <a:lnTo>
                  <a:pt x="6439" y="15964"/>
                </a:lnTo>
                <a:lnTo>
                  <a:pt x="6836" y="16035"/>
                </a:lnTo>
                <a:lnTo>
                  <a:pt x="7239" y="16087"/>
                </a:lnTo>
                <a:lnTo>
                  <a:pt x="7649" y="16118"/>
                </a:lnTo>
                <a:lnTo>
                  <a:pt x="8064" y="16128"/>
                </a:lnTo>
                <a:lnTo>
                  <a:pt x="8479" y="16118"/>
                </a:lnTo>
                <a:lnTo>
                  <a:pt x="8889" y="16087"/>
                </a:lnTo>
                <a:lnTo>
                  <a:pt x="9292" y="16035"/>
                </a:lnTo>
                <a:lnTo>
                  <a:pt x="9689" y="15964"/>
                </a:lnTo>
                <a:lnTo>
                  <a:pt x="10079" y="15874"/>
                </a:lnTo>
                <a:lnTo>
                  <a:pt x="10462" y="15765"/>
                </a:lnTo>
                <a:lnTo>
                  <a:pt x="10837" y="15639"/>
                </a:lnTo>
                <a:lnTo>
                  <a:pt x="11203" y="15494"/>
                </a:lnTo>
                <a:lnTo>
                  <a:pt x="11560" y="15333"/>
                </a:lnTo>
                <a:lnTo>
                  <a:pt x="11908" y="15154"/>
                </a:lnTo>
                <a:lnTo>
                  <a:pt x="12245" y="14961"/>
                </a:lnTo>
                <a:lnTo>
                  <a:pt x="12573" y="14751"/>
                </a:lnTo>
                <a:lnTo>
                  <a:pt x="12889" y="14526"/>
                </a:lnTo>
                <a:lnTo>
                  <a:pt x="13194" y="14286"/>
                </a:lnTo>
                <a:lnTo>
                  <a:pt x="13486" y="14033"/>
                </a:lnTo>
                <a:lnTo>
                  <a:pt x="13766" y="13766"/>
                </a:lnTo>
                <a:lnTo>
                  <a:pt x="14033" y="13486"/>
                </a:lnTo>
                <a:lnTo>
                  <a:pt x="14286" y="13194"/>
                </a:lnTo>
                <a:lnTo>
                  <a:pt x="14526" y="12888"/>
                </a:lnTo>
                <a:lnTo>
                  <a:pt x="14751" y="12573"/>
                </a:lnTo>
                <a:lnTo>
                  <a:pt x="14961" y="12245"/>
                </a:lnTo>
                <a:lnTo>
                  <a:pt x="15154" y="11908"/>
                </a:lnTo>
                <a:lnTo>
                  <a:pt x="15333" y="11560"/>
                </a:lnTo>
                <a:lnTo>
                  <a:pt x="15494" y="11203"/>
                </a:lnTo>
                <a:lnTo>
                  <a:pt x="15639" y="10837"/>
                </a:lnTo>
                <a:lnTo>
                  <a:pt x="15765" y="10462"/>
                </a:lnTo>
                <a:lnTo>
                  <a:pt x="15874" y="10079"/>
                </a:lnTo>
                <a:lnTo>
                  <a:pt x="15964" y="9689"/>
                </a:lnTo>
                <a:lnTo>
                  <a:pt x="16035" y="9292"/>
                </a:lnTo>
                <a:lnTo>
                  <a:pt x="16087" y="8889"/>
                </a:lnTo>
                <a:lnTo>
                  <a:pt x="16118" y="8479"/>
                </a:lnTo>
                <a:lnTo>
                  <a:pt x="16128" y="8064"/>
                </a:lnTo>
                <a:lnTo>
                  <a:pt x="16118" y="7649"/>
                </a:lnTo>
                <a:lnTo>
                  <a:pt x="16087" y="7239"/>
                </a:lnTo>
                <a:lnTo>
                  <a:pt x="16035" y="6836"/>
                </a:lnTo>
                <a:lnTo>
                  <a:pt x="15964" y="6439"/>
                </a:lnTo>
                <a:lnTo>
                  <a:pt x="15874" y="6049"/>
                </a:lnTo>
                <a:lnTo>
                  <a:pt x="15765" y="5666"/>
                </a:lnTo>
                <a:lnTo>
                  <a:pt x="15639" y="5291"/>
                </a:lnTo>
                <a:lnTo>
                  <a:pt x="15494" y="4925"/>
                </a:lnTo>
                <a:lnTo>
                  <a:pt x="15333" y="4568"/>
                </a:lnTo>
                <a:lnTo>
                  <a:pt x="15154" y="4220"/>
                </a:lnTo>
                <a:lnTo>
                  <a:pt x="14961" y="3883"/>
                </a:lnTo>
                <a:lnTo>
                  <a:pt x="14751" y="3555"/>
                </a:lnTo>
                <a:lnTo>
                  <a:pt x="14526" y="3239"/>
                </a:lnTo>
                <a:lnTo>
                  <a:pt x="14286" y="2934"/>
                </a:lnTo>
                <a:lnTo>
                  <a:pt x="14033" y="2642"/>
                </a:lnTo>
                <a:lnTo>
                  <a:pt x="13766" y="2362"/>
                </a:lnTo>
                <a:lnTo>
                  <a:pt x="13486" y="2095"/>
                </a:lnTo>
                <a:lnTo>
                  <a:pt x="13194" y="1842"/>
                </a:lnTo>
                <a:lnTo>
                  <a:pt x="12889" y="1602"/>
                </a:lnTo>
                <a:lnTo>
                  <a:pt x="12573" y="1377"/>
                </a:lnTo>
                <a:lnTo>
                  <a:pt x="12245" y="1167"/>
                </a:lnTo>
                <a:lnTo>
                  <a:pt x="11908" y="974"/>
                </a:lnTo>
                <a:lnTo>
                  <a:pt x="11560" y="795"/>
                </a:lnTo>
                <a:lnTo>
                  <a:pt x="11203" y="634"/>
                </a:lnTo>
                <a:lnTo>
                  <a:pt x="10837" y="489"/>
                </a:lnTo>
                <a:lnTo>
                  <a:pt x="10462" y="363"/>
                </a:lnTo>
                <a:lnTo>
                  <a:pt x="10079" y="254"/>
                </a:lnTo>
                <a:lnTo>
                  <a:pt x="9689" y="164"/>
                </a:lnTo>
                <a:lnTo>
                  <a:pt x="9292" y="93"/>
                </a:lnTo>
                <a:lnTo>
                  <a:pt x="8889" y="41"/>
                </a:lnTo>
                <a:lnTo>
                  <a:pt x="8479" y="10"/>
                </a:lnTo>
                <a:lnTo>
                  <a:pt x="8064" y="0"/>
                </a:lnTo>
                <a:close/>
                <a:moveTo>
                  <a:pt x="9888" y="5193"/>
                </a:moveTo>
                <a:lnTo>
                  <a:pt x="9879" y="5196"/>
                </a:lnTo>
                <a:lnTo>
                  <a:pt x="9872" y="5197"/>
                </a:lnTo>
                <a:lnTo>
                  <a:pt x="9865" y="5198"/>
                </a:lnTo>
                <a:lnTo>
                  <a:pt x="9859" y="5198"/>
                </a:lnTo>
                <a:lnTo>
                  <a:pt x="9854" y="5198"/>
                </a:lnTo>
                <a:lnTo>
                  <a:pt x="9850" y="5197"/>
                </a:lnTo>
                <a:lnTo>
                  <a:pt x="9847" y="5195"/>
                </a:lnTo>
                <a:lnTo>
                  <a:pt x="9844" y="5193"/>
                </a:lnTo>
                <a:lnTo>
                  <a:pt x="9842" y="5190"/>
                </a:lnTo>
                <a:lnTo>
                  <a:pt x="9840" y="5187"/>
                </a:lnTo>
                <a:lnTo>
                  <a:pt x="9839" y="5183"/>
                </a:lnTo>
                <a:lnTo>
                  <a:pt x="9839" y="5179"/>
                </a:lnTo>
                <a:lnTo>
                  <a:pt x="9839" y="5170"/>
                </a:lnTo>
                <a:lnTo>
                  <a:pt x="9841" y="5159"/>
                </a:lnTo>
                <a:lnTo>
                  <a:pt x="9848" y="5136"/>
                </a:lnTo>
                <a:lnTo>
                  <a:pt x="9857" y="5111"/>
                </a:lnTo>
                <a:lnTo>
                  <a:pt x="9861" y="5097"/>
                </a:lnTo>
                <a:lnTo>
                  <a:pt x="9865" y="5085"/>
                </a:lnTo>
                <a:lnTo>
                  <a:pt x="9867" y="5073"/>
                </a:lnTo>
                <a:lnTo>
                  <a:pt x="9868" y="5063"/>
                </a:lnTo>
                <a:lnTo>
                  <a:pt x="9881" y="5063"/>
                </a:lnTo>
                <a:lnTo>
                  <a:pt x="9906" y="5064"/>
                </a:lnTo>
                <a:lnTo>
                  <a:pt x="9937" y="5064"/>
                </a:lnTo>
                <a:lnTo>
                  <a:pt x="9967" y="5063"/>
                </a:lnTo>
                <a:lnTo>
                  <a:pt x="9980" y="5061"/>
                </a:lnTo>
                <a:lnTo>
                  <a:pt x="9991" y="5060"/>
                </a:lnTo>
                <a:lnTo>
                  <a:pt x="9995" y="5058"/>
                </a:lnTo>
                <a:lnTo>
                  <a:pt x="9999" y="5057"/>
                </a:lnTo>
                <a:lnTo>
                  <a:pt x="10001" y="5056"/>
                </a:lnTo>
                <a:lnTo>
                  <a:pt x="10003" y="5054"/>
                </a:lnTo>
                <a:lnTo>
                  <a:pt x="10003" y="5052"/>
                </a:lnTo>
                <a:lnTo>
                  <a:pt x="10002" y="5050"/>
                </a:lnTo>
                <a:lnTo>
                  <a:pt x="9999" y="5047"/>
                </a:lnTo>
                <a:lnTo>
                  <a:pt x="9996" y="5045"/>
                </a:lnTo>
                <a:lnTo>
                  <a:pt x="9983" y="5039"/>
                </a:lnTo>
                <a:lnTo>
                  <a:pt x="9964" y="5032"/>
                </a:lnTo>
                <a:lnTo>
                  <a:pt x="9962" y="5011"/>
                </a:lnTo>
                <a:lnTo>
                  <a:pt x="9960" y="4993"/>
                </a:lnTo>
                <a:lnTo>
                  <a:pt x="9958" y="4975"/>
                </a:lnTo>
                <a:lnTo>
                  <a:pt x="9954" y="4960"/>
                </a:lnTo>
                <a:lnTo>
                  <a:pt x="9950" y="4946"/>
                </a:lnTo>
                <a:lnTo>
                  <a:pt x="9945" y="4934"/>
                </a:lnTo>
                <a:lnTo>
                  <a:pt x="9939" y="4924"/>
                </a:lnTo>
                <a:lnTo>
                  <a:pt x="9932" y="4915"/>
                </a:lnTo>
                <a:lnTo>
                  <a:pt x="9924" y="4907"/>
                </a:lnTo>
                <a:lnTo>
                  <a:pt x="9915" y="4900"/>
                </a:lnTo>
                <a:lnTo>
                  <a:pt x="9904" y="4895"/>
                </a:lnTo>
                <a:lnTo>
                  <a:pt x="9892" y="4891"/>
                </a:lnTo>
                <a:lnTo>
                  <a:pt x="9877" y="4887"/>
                </a:lnTo>
                <a:lnTo>
                  <a:pt x="9862" y="4885"/>
                </a:lnTo>
                <a:lnTo>
                  <a:pt x="9845" y="4884"/>
                </a:lnTo>
                <a:lnTo>
                  <a:pt x="9826" y="4883"/>
                </a:lnTo>
                <a:lnTo>
                  <a:pt x="9826" y="4870"/>
                </a:lnTo>
                <a:lnTo>
                  <a:pt x="9825" y="4858"/>
                </a:lnTo>
                <a:lnTo>
                  <a:pt x="9824" y="4847"/>
                </a:lnTo>
                <a:lnTo>
                  <a:pt x="9822" y="4837"/>
                </a:lnTo>
                <a:lnTo>
                  <a:pt x="9817" y="4821"/>
                </a:lnTo>
                <a:lnTo>
                  <a:pt x="9811" y="4807"/>
                </a:lnTo>
                <a:lnTo>
                  <a:pt x="9805" y="4793"/>
                </a:lnTo>
                <a:lnTo>
                  <a:pt x="9798" y="4776"/>
                </a:lnTo>
                <a:lnTo>
                  <a:pt x="9795" y="4766"/>
                </a:lnTo>
                <a:lnTo>
                  <a:pt x="9792" y="4754"/>
                </a:lnTo>
                <a:lnTo>
                  <a:pt x="9789" y="4741"/>
                </a:lnTo>
                <a:lnTo>
                  <a:pt x="9787" y="4727"/>
                </a:lnTo>
                <a:lnTo>
                  <a:pt x="9785" y="4715"/>
                </a:lnTo>
                <a:lnTo>
                  <a:pt x="9785" y="4705"/>
                </a:lnTo>
                <a:lnTo>
                  <a:pt x="9785" y="4697"/>
                </a:lnTo>
                <a:lnTo>
                  <a:pt x="9786" y="4690"/>
                </a:lnTo>
                <a:lnTo>
                  <a:pt x="9787" y="4684"/>
                </a:lnTo>
                <a:lnTo>
                  <a:pt x="9789" y="4679"/>
                </a:lnTo>
                <a:lnTo>
                  <a:pt x="9792" y="4675"/>
                </a:lnTo>
                <a:lnTo>
                  <a:pt x="9795" y="4672"/>
                </a:lnTo>
                <a:lnTo>
                  <a:pt x="9798" y="4670"/>
                </a:lnTo>
                <a:lnTo>
                  <a:pt x="9802" y="4668"/>
                </a:lnTo>
                <a:lnTo>
                  <a:pt x="9807" y="4667"/>
                </a:lnTo>
                <a:lnTo>
                  <a:pt x="9811" y="4666"/>
                </a:lnTo>
                <a:lnTo>
                  <a:pt x="9822" y="4666"/>
                </a:lnTo>
                <a:lnTo>
                  <a:pt x="9833" y="4666"/>
                </a:lnTo>
                <a:lnTo>
                  <a:pt x="9845" y="4666"/>
                </a:lnTo>
                <a:lnTo>
                  <a:pt x="9857" y="4665"/>
                </a:lnTo>
                <a:lnTo>
                  <a:pt x="9864" y="4664"/>
                </a:lnTo>
                <a:lnTo>
                  <a:pt x="9870" y="4663"/>
                </a:lnTo>
                <a:lnTo>
                  <a:pt x="9876" y="4661"/>
                </a:lnTo>
                <a:lnTo>
                  <a:pt x="9882" y="4658"/>
                </a:lnTo>
                <a:lnTo>
                  <a:pt x="9888" y="4654"/>
                </a:lnTo>
                <a:lnTo>
                  <a:pt x="9894" y="4650"/>
                </a:lnTo>
                <a:lnTo>
                  <a:pt x="9900" y="4644"/>
                </a:lnTo>
                <a:lnTo>
                  <a:pt x="9905" y="4638"/>
                </a:lnTo>
                <a:lnTo>
                  <a:pt x="9910" y="4630"/>
                </a:lnTo>
                <a:lnTo>
                  <a:pt x="9914" y="4621"/>
                </a:lnTo>
                <a:lnTo>
                  <a:pt x="9918" y="4610"/>
                </a:lnTo>
                <a:lnTo>
                  <a:pt x="9922" y="4597"/>
                </a:lnTo>
                <a:lnTo>
                  <a:pt x="9936" y="4598"/>
                </a:lnTo>
                <a:lnTo>
                  <a:pt x="9947" y="4601"/>
                </a:lnTo>
                <a:lnTo>
                  <a:pt x="9951" y="4602"/>
                </a:lnTo>
                <a:lnTo>
                  <a:pt x="9954" y="4604"/>
                </a:lnTo>
                <a:lnTo>
                  <a:pt x="9957" y="4606"/>
                </a:lnTo>
                <a:lnTo>
                  <a:pt x="9959" y="4608"/>
                </a:lnTo>
                <a:lnTo>
                  <a:pt x="9961" y="4610"/>
                </a:lnTo>
                <a:lnTo>
                  <a:pt x="9961" y="4613"/>
                </a:lnTo>
                <a:lnTo>
                  <a:pt x="9962" y="4615"/>
                </a:lnTo>
                <a:lnTo>
                  <a:pt x="9962" y="4618"/>
                </a:lnTo>
                <a:lnTo>
                  <a:pt x="9960" y="4624"/>
                </a:lnTo>
                <a:lnTo>
                  <a:pt x="9957" y="4630"/>
                </a:lnTo>
                <a:lnTo>
                  <a:pt x="9952" y="4636"/>
                </a:lnTo>
                <a:lnTo>
                  <a:pt x="9947" y="4641"/>
                </a:lnTo>
                <a:lnTo>
                  <a:pt x="9941" y="4647"/>
                </a:lnTo>
                <a:lnTo>
                  <a:pt x="9935" y="4651"/>
                </a:lnTo>
                <a:lnTo>
                  <a:pt x="9929" y="4655"/>
                </a:lnTo>
                <a:lnTo>
                  <a:pt x="9923" y="4659"/>
                </a:lnTo>
                <a:lnTo>
                  <a:pt x="9918" y="4661"/>
                </a:lnTo>
                <a:lnTo>
                  <a:pt x="9914" y="4661"/>
                </a:lnTo>
                <a:lnTo>
                  <a:pt x="9916" y="4663"/>
                </a:lnTo>
                <a:lnTo>
                  <a:pt x="9918" y="4666"/>
                </a:lnTo>
                <a:lnTo>
                  <a:pt x="9919" y="4669"/>
                </a:lnTo>
                <a:lnTo>
                  <a:pt x="9920" y="4673"/>
                </a:lnTo>
                <a:lnTo>
                  <a:pt x="9919" y="4683"/>
                </a:lnTo>
                <a:lnTo>
                  <a:pt x="9918" y="4694"/>
                </a:lnTo>
                <a:lnTo>
                  <a:pt x="9914" y="4717"/>
                </a:lnTo>
                <a:lnTo>
                  <a:pt x="9911" y="4736"/>
                </a:lnTo>
                <a:lnTo>
                  <a:pt x="9925" y="4735"/>
                </a:lnTo>
                <a:lnTo>
                  <a:pt x="9937" y="4733"/>
                </a:lnTo>
                <a:lnTo>
                  <a:pt x="9948" y="4731"/>
                </a:lnTo>
                <a:lnTo>
                  <a:pt x="9958" y="4727"/>
                </a:lnTo>
                <a:lnTo>
                  <a:pt x="9966" y="4723"/>
                </a:lnTo>
                <a:lnTo>
                  <a:pt x="9974" y="4718"/>
                </a:lnTo>
                <a:lnTo>
                  <a:pt x="9981" y="4713"/>
                </a:lnTo>
                <a:lnTo>
                  <a:pt x="9988" y="4708"/>
                </a:lnTo>
                <a:lnTo>
                  <a:pt x="10000" y="4698"/>
                </a:lnTo>
                <a:lnTo>
                  <a:pt x="10014" y="4687"/>
                </a:lnTo>
                <a:lnTo>
                  <a:pt x="10022" y="4683"/>
                </a:lnTo>
                <a:lnTo>
                  <a:pt x="10030" y="4678"/>
                </a:lnTo>
                <a:lnTo>
                  <a:pt x="10039" y="4675"/>
                </a:lnTo>
                <a:lnTo>
                  <a:pt x="10049" y="4672"/>
                </a:lnTo>
                <a:lnTo>
                  <a:pt x="10046" y="4684"/>
                </a:lnTo>
                <a:lnTo>
                  <a:pt x="10042" y="4696"/>
                </a:lnTo>
                <a:lnTo>
                  <a:pt x="10036" y="4706"/>
                </a:lnTo>
                <a:lnTo>
                  <a:pt x="10031" y="4715"/>
                </a:lnTo>
                <a:lnTo>
                  <a:pt x="10019" y="4733"/>
                </a:lnTo>
                <a:lnTo>
                  <a:pt x="10008" y="4749"/>
                </a:lnTo>
                <a:lnTo>
                  <a:pt x="10004" y="4756"/>
                </a:lnTo>
                <a:lnTo>
                  <a:pt x="10002" y="4764"/>
                </a:lnTo>
                <a:lnTo>
                  <a:pt x="10001" y="4771"/>
                </a:lnTo>
                <a:lnTo>
                  <a:pt x="10002" y="4779"/>
                </a:lnTo>
                <a:lnTo>
                  <a:pt x="10006" y="4788"/>
                </a:lnTo>
                <a:lnTo>
                  <a:pt x="10012" y="4797"/>
                </a:lnTo>
                <a:lnTo>
                  <a:pt x="10022" y="4806"/>
                </a:lnTo>
                <a:lnTo>
                  <a:pt x="10035" y="4817"/>
                </a:lnTo>
                <a:lnTo>
                  <a:pt x="10050" y="4829"/>
                </a:lnTo>
                <a:lnTo>
                  <a:pt x="10065" y="4842"/>
                </a:lnTo>
                <a:lnTo>
                  <a:pt x="10078" y="4857"/>
                </a:lnTo>
                <a:lnTo>
                  <a:pt x="10089" y="4871"/>
                </a:lnTo>
                <a:lnTo>
                  <a:pt x="10094" y="4878"/>
                </a:lnTo>
                <a:lnTo>
                  <a:pt x="10098" y="4886"/>
                </a:lnTo>
                <a:lnTo>
                  <a:pt x="10101" y="4894"/>
                </a:lnTo>
                <a:lnTo>
                  <a:pt x="10103" y="4902"/>
                </a:lnTo>
                <a:lnTo>
                  <a:pt x="10105" y="4910"/>
                </a:lnTo>
                <a:lnTo>
                  <a:pt x="10105" y="4919"/>
                </a:lnTo>
                <a:lnTo>
                  <a:pt x="10104" y="4927"/>
                </a:lnTo>
                <a:lnTo>
                  <a:pt x="10101" y="4936"/>
                </a:lnTo>
                <a:lnTo>
                  <a:pt x="10110" y="4936"/>
                </a:lnTo>
                <a:lnTo>
                  <a:pt x="10119" y="4937"/>
                </a:lnTo>
                <a:lnTo>
                  <a:pt x="10127" y="4939"/>
                </a:lnTo>
                <a:lnTo>
                  <a:pt x="10135" y="4941"/>
                </a:lnTo>
                <a:lnTo>
                  <a:pt x="10142" y="4943"/>
                </a:lnTo>
                <a:lnTo>
                  <a:pt x="10150" y="4946"/>
                </a:lnTo>
                <a:lnTo>
                  <a:pt x="10156" y="4949"/>
                </a:lnTo>
                <a:lnTo>
                  <a:pt x="10162" y="4953"/>
                </a:lnTo>
                <a:lnTo>
                  <a:pt x="10168" y="4957"/>
                </a:lnTo>
                <a:lnTo>
                  <a:pt x="10173" y="4962"/>
                </a:lnTo>
                <a:lnTo>
                  <a:pt x="10177" y="4967"/>
                </a:lnTo>
                <a:lnTo>
                  <a:pt x="10182" y="4973"/>
                </a:lnTo>
                <a:lnTo>
                  <a:pt x="10189" y="4986"/>
                </a:lnTo>
                <a:lnTo>
                  <a:pt x="10195" y="5000"/>
                </a:lnTo>
                <a:lnTo>
                  <a:pt x="10199" y="5015"/>
                </a:lnTo>
                <a:lnTo>
                  <a:pt x="10202" y="5031"/>
                </a:lnTo>
                <a:lnTo>
                  <a:pt x="10204" y="5048"/>
                </a:lnTo>
                <a:lnTo>
                  <a:pt x="10205" y="5067"/>
                </a:lnTo>
                <a:lnTo>
                  <a:pt x="10204" y="5086"/>
                </a:lnTo>
                <a:lnTo>
                  <a:pt x="10202" y="5107"/>
                </a:lnTo>
                <a:lnTo>
                  <a:pt x="10200" y="5127"/>
                </a:lnTo>
                <a:lnTo>
                  <a:pt x="10197" y="5148"/>
                </a:lnTo>
                <a:lnTo>
                  <a:pt x="10215" y="5148"/>
                </a:lnTo>
                <a:lnTo>
                  <a:pt x="10228" y="5148"/>
                </a:lnTo>
                <a:lnTo>
                  <a:pt x="10233" y="5147"/>
                </a:lnTo>
                <a:lnTo>
                  <a:pt x="10238" y="5146"/>
                </a:lnTo>
                <a:lnTo>
                  <a:pt x="10241" y="5145"/>
                </a:lnTo>
                <a:lnTo>
                  <a:pt x="10244" y="5143"/>
                </a:lnTo>
                <a:lnTo>
                  <a:pt x="10246" y="5140"/>
                </a:lnTo>
                <a:lnTo>
                  <a:pt x="10247" y="5137"/>
                </a:lnTo>
                <a:lnTo>
                  <a:pt x="10248" y="5132"/>
                </a:lnTo>
                <a:lnTo>
                  <a:pt x="10249" y="5127"/>
                </a:lnTo>
                <a:lnTo>
                  <a:pt x="10249" y="5114"/>
                </a:lnTo>
                <a:lnTo>
                  <a:pt x="10249" y="5095"/>
                </a:lnTo>
                <a:lnTo>
                  <a:pt x="10259" y="5098"/>
                </a:lnTo>
                <a:lnTo>
                  <a:pt x="10267" y="5102"/>
                </a:lnTo>
                <a:lnTo>
                  <a:pt x="10275" y="5107"/>
                </a:lnTo>
                <a:lnTo>
                  <a:pt x="10280" y="5112"/>
                </a:lnTo>
                <a:lnTo>
                  <a:pt x="10284" y="5117"/>
                </a:lnTo>
                <a:lnTo>
                  <a:pt x="10287" y="5122"/>
                </a:lnTo>
                <a:lnTo>
                  <a:pt x="10289" y="5127"/>
                </a:lnTo>
                <a:lnTo>
                  <a:pt x="10289" y="5133"/>
                </a:lnTo>
                <a:lnTo>
                  <a:pt x="10289" y="5138"/>
                </a:lnTo>
                <a:lnTo>
                  <a:pt x="10287" y="5143"/>
                </a:lnTo>
                <a:lnTo>
                  <a:pt x="10283" y="5147"/>
                </a:lnTo>
                <a:lnTo>
                  <a:pt x="10279" y="5151"/>
                </a:lnTo>
                <a:lnTo>
                  <a:pt x="10274" y="5154"/>
                </a:lnTo>
                <a:lnTo>
                  <a:pt x="10266" y="5157"/>
                </a:lnTo>
                <a:lnTo>
                  <a:pt x="10258" y="5158"/>
                </a:lnTo>
                <a:lnTo>
                  <a:pt x="10249" y="5159"/>
                </a:lnTo>
                <a:lnTo>
                  <a:pt x="10245" y="5168"/>
                </a:lnTo>
                <a:lnTo>
                  <a:pt x="10239" y="5176"/>
                </a:lnTo>
                <a:lnTo>
                  <a:pt x="10233" y="5184"/>
                </a:lnTo>
                <a:lnTo>
                  <a:pt x="10227" y="5191"/>
                </a:lnTo>
                <a:lnTo>
                  <a:pt x="10221" y="5198"/>
                </a:lnTo>
                <a:lnTo>
                  <a:pt x="10214" y="5204"/>
                </a:lnTo>
                <a:lnTo>
                  <a:pt x="10206" y="5210"/>
                </a:lnTo>
                <a:lnTo>
                  <a:pt x="10199" y="5215"/>
                </a:lnTo>
                <a:lnTo>
                  <a:pt x="10183" y="5224"/>
                </a:lnTo>
                <a:lnTo>
                  <a:pt x="10166" y="5233"/>
                </a:lnTo>
                <a:lnTo>
                  <a:pt x="10147" y="5239"/>
                </a:lnTo>
                <a:lnTo>
                  <a:pt x="10128" y="5244"/>
                </a:lnTo>
                <a:lnTo>
                  <a:pt x="10109" y="5247"/>
                </a:lnTo>
                <a:lnTo>
                  <a:pt x="10089" y="5250"/>
                </a:lnTo>
                <a:lnTo>
                  <a:pt x="10070" y="5252"/>
                </a:lnTo>
                <a:lnTo>
                  <a:pt x="10050" y="5253"/>
                </a:lnTo>
                <a:lnTo>
                  <a:pt x="10011" y="5254"/>
                </a:lnTo>
                <a:lnTo>
                  <a:pt x="9974" y="5254"/>
                </a:lnTo>
                <a:lnTo>
                  <a:pt x="9974" y="5241"/>
                </a:lnTo>
                <a:lnTo>
                  <a:pt x="9973" y="5228"/>
                </a:lnTo>
                <a:lnTo>
                  <a:pt x="9972" y="5217"/>
                </a:lnTo>
                <a:lnTo>
                  <a:pt x="9970" y="5209"/>
                </a:lnTo>
                <a:lnTo>
                  <a:pt x="9968" y="5201"/>
                </a:lnTo>
                <a:lnTo>
                  <a:pt x="9965" y="5195"/>
                </a:lnTo>
                <a:lnTo>
                  <a:pt x="9962" y="5190"/>
                </a:lnTo>
                <a:lnTo>
                  <a:pt x="9958" y="5187"/>
                </a:lnTo>
                <a:lnTo>
                  <a:pt x="9952" y="5184"/>
                </a:lnTo>
                <a:lnTo>
                  <a:pt x="9946" y="5183"/>
                </a:lnTo>
                <a:lnTo>
                  <a:pt x="9939" y="5182"/>
                </a:lnTo>
                <a:lnTo>
                  <a:pt x="9932" y="5183"/>
                </a:lnTo>
                <a:lnTo>
                  <a:pt x="9912" y="5187"/>
                </a:lnTo>
                <a:lnTo>
                  <a:pt x="9888" y="5193"/>
                </a:lnTo>
                <a:close/>
                <a:moveTo>
                  <a:pt x="9889" y="5286"/>
                </a:moveTo>
                <a:lnTo>
                  <a:pt x="9889" y="5290"/>
                </a:lnTo>
                <a:lnTo>
                  <a:pt x="9887" y="5295"/>
                </a:lnTo>
                <a:lnTo>
                  <a:pt x="9884" y="5299"/>
                </a:lnTo>
                <a:lnTo>
                  <a:pt x="9881" y="5303"/>
                </a:lnTo>
                <a:lnTo>
                  <a:pt x="9877" y="5307"/>
                </a:lnTo>
                <a:lnTo>
                  <a:pt x="9872" y="5310"/>
                </a:lnTo>
                <a:lnTo>
                  <a:pt x="9867" y="5312"/>
                </a:lnTo>
                <a:lnTo>
                  <a:pt x="9862" y="5314"/>
                </a:lnTo>
                <a:lnTo>
                  <a:pt x="9856" y="5315"/>
                </a:lnTo>
                <a:lnTo>
                  <a:pt x="9851" y="5315"/>
                </a:lnTo>
                <a:lnTo>
                  <a:pt x="9845" y="5315"/>
                </a:lnTo>
                <a:lnTo>
                  <a:pt x="9840" y="5313"/>
                </a:lnTo>
                <a:lnTo>
                  <a:pt x="9836" y="5311"/>
                </a:lnTo>
                <a:lnTo>
                  <a:pt x="9832" y="5307"/>
                </a:lnTo>
                <a:lnTo>
                  <a:pt x="9829" y="5302"/>
                </a:lnTo>
                <a:lnTo>
                  <a:pt x="9826" y="5296"/>
                </a:lnTo>
                <a:lnTo>
                  <a:pt x="9830" y="5297"/>
                </a:lnTo>
                <a:lnTo>
                  <a:pt x="9833" y="5297"/>
                </a:lnTo>
                <a:lnTo>
                  <a:pt x="9835" y="5297"/>
                </a:lnTo>
                <a:lnTo>
                  <a:pt x="9837" y="5296"/>
                </a:lnTo>
                <a:lnTo>
                  <a:pt x="9838" y="5294"/>
                </a:lnTo>
                <a:lnTo>
                  <a:pt x="9838" y="5292"/>
                </a:lnTo>
                <a:lnTo>
                  <a:pt x="9837" y="5289"/>
                </a:lnTo>
                <a:lnTo>
                  <a:pt x="9836" y="5286"/>
                </a:lnTo>
                <a:lnTo>
                  <a:pt x="9850" y="5286"/>
                </a:lnTo>
                <a:lnTo>
                  <a:pt x="9863" y="5286"/>
                </a:lnTo>
                <a:lnTo>
                  <a:pt x="9876" y="5286"/>
                </a:lnTo>
                <a:lnTo>
                  <a:pt x="9889" y="5286"/>
                </a:lnTo>
                <a:close/>
                <a:moveTo>
                  <a:pt x="10684" y="6122"/>
                </a:moveTo>
                <a:lnTo>
                  <a:pt x="10687" y="6135"/>
                </a:lnTo>
                <a:lnTo>
                  <a:pt x="10691" y="6145"/>
                </a:lnTo>
                <a:lnTo>
                  <a:pt x="10694" y="6153"/>
                </a:lnTo>
                <a:lnTo>
                  <a:pt x="10697" y="6159"/>
                </a:lnTo>
                <a:lnTo>
                  <a:pt x="10699" y="6163"/>
                </a:lnTo>
                <a:lnTo>
                  <a:pt x="10702" y="6165"/>
                </a:lnTo>
                <a:lnTo>
                  <a:pt x="10704" y="6165"/>
                </a:lnTo>
                <a:lnTo>
                  <a:pt x="10706" y="6164"/>
                </a:lnTo>
                <a:lnTo>
                  <a:pt x="10708" y="6161"/>
                </a:lnTo>
                <a:lnTo>
                  <a:pt x="10710" y="6156"/>
                </a:lnTo>
                <a:lnTo>
                  <a:pt x="10712" y="6150"/>
                </a:lnTo>
                <a:lnTo>
                  <a:pt x="10713" y="6142"/>
                </a:lnTo>
                <a:lnTo>
                  <a:pt x="10715" y="6124"/>
                </a:lnTo>
                <a:lnTo>
                  <a:pt x="10715" y="6100"/>
                </a:lnTo>
                <a:lnTo>
                  <a:pt x="10719" y="6101"/>
                </a:lnTo>
                <a:lnTo>
                  <a:pt x="10723" y="6102"/>
                </a:lnTo>
                <a:lnTo>
                  <a:pt x="10726" y="6105"/>
                </a:lnTo>
                <a:lnTo>
                  <a:pt x="10729" y="6108"/>
                </a:lnTo>
                <a:lnTo>
                  <a:pt x="10732" y="6114"/>
                </a:lnTo>
                <a:lnTo>
                  <a:pt x="10735" y="6119"/>
                </a:lnTo>
                <a:lnTo>
                  <a:pt x="10738" y="6124"/>
                </a:lnTo>
                <a:lnTo>
                  <a:pt x="10740" y="6131"/>
                </a:lnTo>
                <a:lnTo>
                  <a:pt x="10743" y="6145"/>
                </a:lnTo>
                <a:lnTo>
                  <a:pt x="10745" y="6160"/>
                </a:lnTo>
                <a:lnTo>
                  <a:pt x="10745" y="6177"/>
                </a:lnTo>
                <a:lnTo>
                  <a:pt x="10744" y="6193"/>
                </a:lnTo>
                <a:lnTo>
                  <a:pt x="10742" y="6201"/>
                </a:lnTo>
                <a:lnTo>
                  <a:pt x="10740" y="6209"/>
                </a:lnTo>
                <a:lnTo>
                  <a:pt x="10738" y="6217"/>
                </a:lnTo>
                <a:lnTo>
                  <a:pt x="10735" y="6224"/>
                </a:lnTo>
                <a:lnTo>
                  <a:pt x="10731" y="6231"/>
                </a:lnTo>
                <a:lnTo>
                  <a:pt x="10727" y="6239"/>
                </a:lnTo>
                <a:lnTo>
                  <a:pt x="10723" y="6245"/>
                </a:lnTo>
                <a:lnTo>
                  <a:pt x="10718" y="6250"/>
                </a:lnTo>
                <a:lnTo>
                  <a:pt x="10712" y="6254"/>
                </a:lnTo>
                <a:lnTo>
                  <a:pt x="10705" y="6258"/>
                </a:lnTo>
                <a:lnTo>
                  <a:pt x="10698" y="6261"/>
                </a:lnTo>
                <a:lnTo>
                  <a:pt x="10690" y="6263"/>
                </a:lnTo>
                <a:lnTo>
                  <a:pt x="10682" y="6264"/>
                </a:lnTo>
                <a:lnTo>
                  <a:pt x="10673" y="6264"/>
                </a:lnTo>
                <a:lnTo>
                  <a:pt x="10663" y="6262"/>
                </a:lnTo>
                <a:lnTo>
                  <a:pt x="10652" y="6259"/>
                </a:lnTo>
                <a:lnTo>
                  <a:pt x="10649" y="6217"/>
                </a:lnTo>
                <a:lnTo>
                  <a:pt x="10644" y="6172"/>
                </a:lnTo>
                <a:lnTo>
                  <a:pt x="10644" y="6162"/>
                </a:lnTo>
                <a:lnTo>
                  <a:pt x="10646" y="6153"/>
                </a:lnTo>
                <a:lnTo>
                  <a:pt x="10649" y="6144"/>
                </a:lnTo>
                <a:lnTo>
                  <a:pt x="10653" y="6137"/>
                </a:lnTo>
                <a:lnTo>
                  <a:pt x="10655" y="6134"/>
                </a:lnTo>
                <a:lnTo>
                  <a:pt x="10658" y="6131"/>
                </a:lnTo>
                <a:lnTo>
                  <a:pt x="10661" y="6128"/>
                </a:lnTo>
                <a:lnTo>
                  <a:pt x="10665" y="6126"/>
                </a:lnTo>
                <a:lnTo>
                  <a:pt x="10669" y="6124"/>
                </a:lnTo>
                <a:lnTo>
                  <a:pt x="10673" y="6123"/>
                </a:lnTo>
                <a:lnTo>
                  <a:pt x="10678" y="6122"/>
                </a:lnTo>
                <a:lnTo>
                  <a:pt x="10684" y="6122"/>
                </a:lnTo>
                <a:close/>
                <a:moveTo>
                  <a:pt x="10663" y="5973"/>
                </a:moveTo>
                <a:lnTo>
                  <a:pt x="10680" y="5980"/>
                </a:lnTo>
                <a:lnTo>
                  <a:pt x="10694" y="5984"/>
                </a:lnTo>
                <a:lnTo>
                  <a:pt x="10700" y="5986"/>
                </a:lnTo>
                <a:lnTo>
                  <a:pt x="10706" y="5986"/>
                </a:lnTo>
                <a:lnTo>
                  <a:pt x="10711" y="5986"/>
                </a:lnTo>
                <a:lnTo>
                  <a:pt x="10715" y="5984"/>
                </a:lnTo>
                <a:lnTo>
                  <a:pt x="10719" y="5982"/>
                </a:lnTo>
                <a:lnTo>
                  <a:pt x="10722" y="5980"/>
                </a:lnTo>
                <a:lnTo>
                  <a:pt x="10724" y="5977"/>
                </a:lnTo>
                <a:lnTo>
                  <a:pt x="10726" y="5973"/>
                </a:lnTo>
                <a:lnTo>
                  <a:pt x="10727" y="5969"/>
                </a:lnTo>
                <a:lnTo>
                  <a:pt x="10727" y="5964"/>
                </a:lnTo>
                <a:lnTo>
                  <a:pt x="10727" y="5958"/>
                </a:lnTo>
                <a:lnTo>
                  <a:pt x="10726" y="5952"/>
                </a:lnTo>
                <a:lnTo>
                  <a:pt x="10736" y="5956"/>
                </a:lnTo>
                <a:lnTo>
                  <a:pt x="10744" y="5961"/>
                </a:lnTo>
                <a:lnTo>
                  <a:pt x="10746" y="5964"/>
                </a:lnTo>
                <a:lnTo>
                  <a:pt x="10748" y="5966"/>
                </a:lnTo>
                <a:lnTo>
                  <a:pt x="10750" y="5969"/>
                </a:lnTo>
                <a:lnTo>
                  <a:pt x="10751" y="5972"/>
                </a:lnTo>
                <a:lnTo>
                  <a:pt x="10752" y="5978"/>
                </a:lnTo>
                <a:lnTo>
                  <a:pt x="10750" y="5986"/>
                </a:lnTo>
                <a:lnTo>
                  <a:pt x="10748" y="5993"/>
                </a:lnTo>
                <a:lnTo>
                  <a:pt x="10744" y="6000"/>
                </a:lnTo>
                <a:lnTo>
                  <a:pt x="10734" y="6016"/>
                </a:lnTo>
                <a:lnTo>
                  <a:pt x="10722" y="6033"/>
                </a:lnTo>
                <a:lnTo>
                  <a:pt x="10717" y="6042"/>
                </a:lnTo>
                <a:lnTo>
                  <a:pt x="10712" y="6051"/>
                </a:lnTo>
                <a:lnTo>
                  <a:pt x="10708" y="6060"/>
                </a:lnTo>
                <a:lnTo>
                  <a:pt x="10705" y="6069"/>
                </a:lnTo>
                <a:lnTo>
                  <a:pt x="10694" y="6057"/>
                </a:lnTo>
                <a:lnTo>
                  <a:pt x="10687" y="6047"/>
                </a:lnTo>
                <a:lnTo>
                  <a:pt x="10682" y="6038"/>
                </a:lnTo>
                <a:lnTo>
                  <a:pt x="10679" y="6028"/>
                </a:lnTo>
                <a:lnTo>
                  <a:pt x="10673" y="6006"/>
                </a:lnTo>
                <a:lnTo>
                  <a:pt x="10663" y="5973"/>
                </a:lnTo>
                <a:close/>
                <a:moveTo>
                  <a:pt x="10768" y="6503"/>
                </a:moveTo>
                <a:lnTo>
                  <a:pt x="10768" y="6495"/>
                </a:lnTo>
                <a:lnTo>
                  <a:pt x="10768" y="6486"/>
                </a:lnTo>
                <a:lnTo>
                  <a:pt x="10768" y="6478"/>
                </a:lnTo>
                <a:lnTo>
                  <a:pt x="10768" y="6470"/>
                </a:lnTo>
                <a:lnTo>
                  <a:pt x="10776" y="6473"/>
                </a:lnTo>
                <a:lnTo>
                  <a:pt x="10784" y="6477"/>
                </a:lnTo>
                <a:lnTo>
                  <a:pt x="10792" y="6483"/>
                </a:lnTo>
                <a:lnTo>
                  <a:pt x="10801" y="6491"/>
                </a:lnTo>
                <a:lnTo>
                  <a:pt x="10810" y="6500"/>
                </a:lnTo>
                <a:lnTo>
                  <a:pt x="10819" y="6510"/>
                </a:lnTo>
                <a:lnTo>
                  <a:pt x="10828" y="6521"/>
                </a:lnTo>
                <a:lnTo>
                  <a:pt x="10837" y="6533"/>
                </a:lnTo>
                <a:lnTo>
                  <a:pt x="10855" y="6560"/>
                </a:lnTo>
                <a:lnTo>
                  <a:pt x="10874" y="6591"/>
                </a:lnTo>
                <a:lnTo>
                  <a:pt x="10892" y="6624"/>
                </a:lnTo>
                <a:lnTo>
                  <a:pt x="10910" y="6658"/>
                </a:lnTo>
                <a:lnTo>
                  <a:pt x="10926" y="6692"/>
                </a:lnTo>
                <a:lnTo>
                  <a:pt x="10940" y="6726"/>
                </a:lnTo>
                <a:lnTo>
                  <a:pt x="10953" y="6760"/>
                </a:lnTo>
                <a:lnTo>
                  <a:pt x="10964" y="6792"/>
                </a:lnTo>
                <a:lnTo>
                  <a:pt x="10972" y="6820"/>
                </a:lnTo>
                <a:lnTo>
                  <a:pt x="10978" y="6846"/>
                </a:lnTo>
                <a:lnTo>
                  <a:pt x="10980" y="6857"/>
                </a:lnTo>
                <a:lnTo>
                  <a:pt x="10981" y="6868"/>
                </a:lnTo>
                <a:lnTo>
                  <a:pt x="10981" y="6877"/>
                </a:lnTo>
                <a:lnTo>
                  <a:pt x="10980" y="6884"/>
                </a:lnTo>
                <a:lnTo>
                  <a:pt x="11002" y="6884"/>
                </a:lnTo>
                <a:lnTo>
                  <a:pt x="11024" y="6883"/>
                </a:lnTo>
                <a:lnTo>
                  <a:pt x="11047" y="6881"/>
                </a:lnTo>
                <a:lnTo>
                  <a:pt x="11067" y="6880"/>
                </a:lnTo>
                <a:lnTo>
                  <a:pt x="11087" y="6880"/>
                </a:lnTo>
                <a:lnTo>
                  <a:pt x="11105" y="6880"/>
                </a:lnTo>
                <a:lnTo>
                  <a:pt x="11123" y="6881"/>
                </a:lnTo>
                <a:lnTo>
                  <a:pt x="11138" y="6884"/>
                </a:lnTo>
                <a:lnTo>
                  <a:pt x="11139" y="6890"/>
                </a:lnTo>
                <a:lnTo>
                  <a:pt x="11140" y="6896"/>
                </a:lnTo>
                <a:lnTo>
                  <a:pt x="11142" y="6902"/>
                </a:lnTo>
                <a:lnTo>
                  <a:pt x="11144" y="6907"/>
                </a:lnTo>
                <a:lnTo>
                  <a:pt x="11147" y="6912"/>
                </a:lnTo>
                <a:lnTo>
                  <a:pt x="11150" y="6917"/>
                </a:lnTo>
                <a:lnTo>
                  <a:pt x="11156" y="6922"/>
                </a:lnTo>
                <a:lnTo>
                  <a:pt x="11160" y="6926"/>
                </a:lnTo>
                <a:lnTo>
                  <a:pt x="11171" y="6934"/>
                </a:lnTo>
                <a:lnTo>
                  <a:pt x="11183" y="6941"/>
                </a:lnTo>
                <a:lnTo>
                  <a:pt x="11196" y="6947"/>
                </a:lnTo>
                <a:lnTo>
                  <a:pt x="11210" y="6952"/>
                </a:lnTo>
                <a:lnTo>
                  <a:pt x="11225" y="6957"/>
                </a:lnTo>
                <a:lnTo>
                  <a:pt x="11241" y="6961"/>
                </a:lnTo>
                <a:lnTo>
                  <a:pt x="11256" y="6964"/>
                </a:lnTo>
                <a:lnTo>
                  <a:pt x="11271" y="6966"/>
                </a:lnTo>
                <a:lnTo>
                  <a:pt x="11301" y="6970"/>
                </a:lnTo>
                <a:lnTo>
                  <a:pt x="11326" y="6971"/>
                </a:lnTo>
                <a:lnTo>
                  <a:pt x="11343" y="6972"/>
                </a:lnTo>
                <a:lnTo>
                  <a:pt x="11363" y="6972"/>
                </a:lnTo>
                <a:lnTo>
                  <a:pt x="11385" y="6972"/>
                </a:lnTo>
                <a:lnTo>
                  <a:pt x="11411" y="6970"/>
                </a:lnTo>
                <a:lnTo>
                  <a:pt x="11436" y="6968"/>
                </a:lnTo>
                <a:lnTo>
                  <a:pt x="11463" y="6965"/>
                </a:lnTo>
                <a:lnTo>
                  <a:pt x="11490" y="6961"/>
                </a:lnTo>
                <a:lnTo>
                  <a:pt x="11516" y="6955"/>
                </a:lnTo>
                <a:lnTo>
                  <a:pt x="11543" y="6948"/>
                </a:lnTo>
                <a:lnTo>
                  <a:pt x="11567" y="6940"/>
                </a:lnTo>
                <a:lnTo>
                  <a:pt x="11578" y="6935"/>
                </a:lnTo>
                <a:lnTo>
                  <a:pt x="11588" y="6930"/>
                </a:lnTo>
                <a:lnTo>
                  <a:pt x="11598" y="6924"/>
                </a:lnTo>
                <a:lnTo>
                  <a:pt x="11608" y="6918"/>
                </a:lnTo>
                <a:lnTo>
                  <a:pt x="11616" y="6912"/>
                </a:lnTo>
                <a:lnTo>
                  <a:pt x="11624" y="6905"/>
                </a:lnTo>
                <a:lnTo>
                  <a:pt x="11630" y="6898"/>
                </a:lnTo>
                <a:lnTo>
                  <a:pt x="11636" y="6890"/>
                </a:lnTo>
                <a:lnTo>
                  <a:pt x="11640" y="6881"/>
                </a:lnTo>
                <a:lnTo>
                  <a:pt x="11643" y="6872"/>
                </a:lnTo>
                <a:lnTo>
                  <a:pt x="11645" y="6861"/>
                </a:lnTo>
                <a:lnTo>
                  <a:pt x="11646" y="6851"/>
                </a:lnTo>
                <a:lnTo>
                  <a:pt x="11659" y="6852"/>
                </a:lnTo>
                <a:lnTo>
                  <a:pt x="11670" y="6853"/>
                </a:lnTo>
                <a:lnTo>
                  <a:pt x="11681" y="6856"/>
                </a:lnTo>
                <a:lnTo>
                  <a:pt x="11691" y="6859"/>
                </a:lnTo>
                <a:lnTo>
                  <a:pt x="11701" y="6864"/>
                </a:lnTo>
                <a:lnTo>
                  <a:pt x="11711" y="6870"/>
                </a:lnTo>
                <a:lnTo>
                  <a:pt x="11719" y="6876"/>
                </a:lnTo>
                <a:lnTo>
                  <a:pt x="11727" y="6883"/>
                </a:lnTo>
                <a:lnTo>
                  <a:pt x="11734" y="6891"/>
                </a:lnTo>
                <a:lnTo>
                  <a:pt x="11741" y="6900"/>
                </a:lnTo>
                <a:lnTo>
                  <a:pt x="11746" y="6909"/>
                </a:lnTo>
                <a:lnTo>
                  <a:pt x="11750" y="6920"/>
                </a:lnTo>
                <a:lnTo>
                  <a:pt x="11752" y="6931"/>
                </a:lnTo>
                <a:lnTo>
                  <a:pt x="11754" y="6942"/>
                </a:lnTo>
                <a:lnTo>
                  <a:pt x="11754" y="6955"/>
                </a:lnTo>
                <a:lnTo>
                  <a:pt x="11752" y="6968"/>
                </a:lnTo>
                <a:lnTo>
                  <a:pt x="11795" y="6971"/>
                </a:lnTo>
                <a:lnTo>
                  <a:pt x="11860" y="6975"/>
                </a:lnTo>
                <a:lnTo>
                  <a:pt x="11898" y="6978"/>
                </a:lnTo>
                <a:lnTo>
                  <a:pt x="11939" y="6981"/>
                </a:lnTo>
                <a:lnTo>
                  <a:pt x="11981" y="6985"/>
                </a:lnTo>
                <a:lnTo>
                  <a:pt x="12023" y="6990"/>
                </a:lnTo>
                <a:lnTo>
                  <a:pt x="12065" y="6997"/>
                </a:lnTo>
                <a:lnTo>
                  <a:pt x="12103" y="7004"/>
                </a:lnTo>
                <a:lnTo>
                  <a:pt x="12121" y="7007"/>
                </a:lnTo>
                <a:lnTo>
                  <a:pt x="12137" y="7012"/>
                </a:lnTo>
                <a:lnTo>
                  <a:pt x="12153" y="7016"/>
                </a:lnTo>
                <a:lnTo>
                  <a:pt x="12168" y="7021"/>
                </a:lnTo>
                <a:lnTo>
                  <a:pt x="12181" y="7026"/>
                </a:lnTo>
                <a:lnTo>
                  <a:pt x="12193" y="7032"/>
                </a:lnTo>
                <a:lnTo>
                  <a:pt x="12202" y="7038"/>
                </a:lnTo>
                <a:lnTo>
                  <a:pt x="12210" y="7044"/>
                </a:lnTo>
                <a:lnTo>
                  <a:pt x="12215" y="7051"/>
                </a:lnTo>
                <a:lnTo>
                  <a:pt x="12218" y="7058"/>
                </a:lnTo>
                <a:lnTo>
                  <a:pt x="12219" y="7066"/>
                </a:lnTo>
                <a:lnTo>
                  <a:pt x="12218" y="7074"/>
                </a:lnTo>
                <a:lnTo>
                  <a:pt x="12223" y="7074"/>
                </a:lnTo>
                <a:lnTo>
                  <a:pt x="12229" y="7075"/>
                </a:lnTo>
                <a:lnTo>
                  <a:pt x="12234" y="7076"/>
                </a:lnTo>
                <a:lnTo>
                  <a:pt x="12239" y="7078"/>
                </a:lnTo>
                <a:lnTo>
                  <a:pt x="12248" y="7083"/>
                </a:lnTo>
                <a:lnTo>
                  <a:pt x="12257" y="7090"/>
                </a:lnTo>
                <a:lnTo>
                  <a:pt x="12265" y="7098"/>
                </a:lnTo>
                <a:lnTo>
                  <a:pt x="12272" y="7107"/>
                </a:lnTo>
                <a:lnTo>
                  <a:pt x="12280" y="7117"/>
                </a:lnTo>
                <a:lnTo>
                  <a:pt x="12288" y="7127"/>
                </a:lnTo>
                <a:lnTo>
                  <a:pt x="12295" y="7137"/>
                </a:lnTo>
                <a:lnTo>
                  <a:pt x="12302" y="7147"/>
                </a:lnTo>
                <a:lnTo>
                  <a:pt x="12310" y="7156"/>
                </a:lnTo>
                <a:lnTo>
                  <a:pt x="12318" y="7164"/>
                </a:lnTo>
                <a:lnTo>
                  <a:pt x="12326" y="7170"/>
                </a:lnTo>
                <a:lnTo>
                  <a:pt x="12335" y="7176"/>
                </a:lnTo>
                <a:lnTo>
                  <a:pt x="12340" y="7177"/>
                </a:lnTo>
                <a:lnTo>
                  <a:pt x="12345" y="7179"/>
                </a:lnTo>
                <a:lnTo>
                  <a:pt x="12350" y="7180"/>
                </a:lnTo>
                <a:lnTo>
                  <a:pt x="12356" y="7180"/>
                </a:lnTo>
                <a:lnTo>
                  <a:pt x="12355" y="7187"/>
                </a:lnTo>
                <a:lnTo>
                  <a:pt x="12354" y="7195"/>
                </a:lnTo>
                <a:lnTo>
                  <a:pt x="12355" y="7203"/>
                </a:lnTo>
                <a:lnTo>
                  <a:pt x="12355" y="7212"/>
                </a:lnTo>
                <a:lnTo>
                  <a:pt x="12358" y="7231"/>
                </a:lnTo>
                <a:lnTo>
                  <a:pt x="12363" y="7253"/>
                </a:lnTo>
                <a:lnTo>
                  <a:pt x="12369" y="7274"/>
                </a:lnTo>
                <a:lnTo>
                  <a:pt x="12377" y="7296"/>
                </a:lnTo>
                <a:lnTo>
                  <a:pt x="12386" y="7318"/>
                </a:lnTo>
                <a:lnTo>
                  <a:pt x="12395" y="7339"/>
                </a:lnTo>
                <a:lnTo>
                  <a:pt x="12406" y="7360"/>
                </a:lnTo>
                <a:lnTo>
                  <a:pt x="12419" y="7381"/>
                </a:lnTo>
                <a:lnTo>
                  <a:pt x="12431" y="7398"/>
                </a:lnTo>
                <a:lnTo>
                  <a:pt x="12443" y="7414"/>
                </a:lnTo>
                <a:lnTo>
                  <a:pt x="12450" y="7420"/>
                </a:lnTo>
                <a:lnTo>
                  <a:pt x="12456" y="7426"/>
                </a:lnTo>
                <a:lnTo>
                  <a:pt x="12462" y="7432"/>
                </a:lnTo>
                <a:lnTo>
                  <a:pt x="12468" y="7436"/>
                </a:lnTo>
                <a:lnTo>
                  <a:pt x="12475" y="7440"/>
                </a:lnTo>
                <a:lnTo>
                  <a:pt x="12481" y="7442"/>
                </a:lnTo>
                <a:lnTo>
                  <a:pt x="12487" y="7444"/>
                </a:lnTo>
                <a:lnTo>
                  <a:pt x="12493" y="7444"/>
                </a:lnTo>
                <a:lnTo>
                  <a:pt x="12494" y="7457"/>
                </a:lnTo>
                <a:lnTo>
                  <a:pt x="12495" y="7470"/>
                </a:lnTo>
                <a:lnTo>
                  <a:pt x="12497" y="7485"/>
                </a:lnTo>
                <a:lnTo>
                  <a:pt x="12500" y="7501"/>
                </a:lnTo>
                <a:lnTo>
                  <a:pt x="12504" y="7516"/>
                </a:lnTo>
                <a:lnTo>
                  <a:pt x="12508" y="7532"/>
                </a:lnTo>
                <a:lnTo>
                  <a:pt x="12514" y="7548"/>
                </a:lnTo>
                <a:lnTo>
                  <a:pt x="12520" y="7564"/>
                </a:lnTo>
                <a:lnTo>
                  <a:pt x="12526" y="7579"/>
                </a:lnTo>
                <a:lnTo>
                  <a:pt x="12533" y="7595"/>
                </a:lnTo>
                <a:lnTo>
                  <a:pt x="12542" y="7609"/>
                </a:lnTo>
                <a:lnTo>
                  <a:pt x="12551" y="7624"/>
                </a:lnTo>
                <a:lnTo>
                  <a:pt x="12559" y="7637"/>
                </a:lnTo>
                <a:lnTo>
                  <a:pt x="12569" y="7648"/>
                </a:lnTo>
                <a:lnTo>
                  <a:pt x="12579" y="7658"/>
                </a:lnTo>
                <a:lnTo>
                  <a:pt x="12589" y="7667"/>
                </a:lnTo>
                <a:lnTo>
                  <a:pt x="12595" y="7685"/>
                </a:lnTo>
                <a:lnTo>
                  <a:pt x="12603" y="7705"/>
                </a:lnTo>
                <a:lnTo>
                  <a:pt x="12612" y="7726"/>
                </a:lnTo>
                <a:lnTo>
                  <a:pt x="12623" y="7750"/>
                </a:lnTo>
                <a:lnTo>
                  <a:pt x="12634" y="7774"/>
                </a:lnTo>
                <a:lnTo>
                  <a:pt x="12647" y="7799"/>
                </a:lnTo>
                <a:lnTo>
                  <a:pt x="12661" y="7824"/>
                </a:lnTo>
                <a:lnTo>
                  <a:pt x="12676" y="7849"/>
                </a:lnTo>
                <a:lnTo>
                  <a:pt x="12692" y="7873"/>
                </a:lnTo>
                <a:lnTo>
                  <a:pt x="12708" y="7898"/>
                </a:lnTo>
                <a:lnTo>
                  <a:pt x="12724" y="7920"/>
                </a:lnTo>
                <a:lnTo>
                  <a:pt x="12741" y="7941"/>
                </a:lnTo>
                <a:lnTo>
                  <a:pt x="12758" y="7961"/>
                </a:lnTo>
                <a:lnTo>
                  <a:pt x="12775" y="7978"/>
                </a:lnTo>
                <a:lnTo>
                  <a:pt x="12784" y="7986"/>
                </a:lnTo>
                <a:lnTo>
                  <a:pt x="12794" y="7993"/>
                </a:lnTo>
                <a:lnTo>
                  <a:pt x="12802" y="7999"/>
                </a:lnTo>
                <a:lnTo>
                  <a:pt x="12811" y="8006"/>
                </a:lnTo>
                <a:lnTo>
                  <a:pt x="12808" y="8013"/>
                </a:lnTo>
                <a:lnTo>
                  <a:pt x="12805" y="8020"/>
                </a:lnTo>
                <a:lnTo>
                  <a:pt x="12803" y="8026"/>
                </a:lnTo>
                <a:lnTo>
                  <a:pt x="12802" y="8033"/>
                </a:lnTo>
                <a:lnTo>
                  <a:pt x="12802" y="8040"/>
                </a:lnTo>
                <a:lnTo>
                  <a:pt x="12802" y="8046"/>
                </a:lnTo>
                <a:lnTo>
                  <a:pt x="12803" y="8053"/>
                </a:lnTo>
                <a:lnTo>
                  <a:pt x="12804" y="8060"/>
                </a:lnTo>
                <a:lnTo>
                  <a:pt x="12808" y="8073"/>
                </a:lnTo>
                <a:lnTo>
                  <a:pt x="12814" y="8085"/>
                </a:lnTo>
                <a:lnTo>
                  <a:pt x="12821" y="8098"/>
                </a:lnTo>
                <a:lnTo>
                  <a:pt x="12829" y="8111"/>
                </a:lnTo>
                <a:lnTo>
                  <a:pt x="12847" y="8137"/>
                </a:lnTo>
                <a:lnTo>
                  <a:pt x="12866" y="8163"/>
                </a:lnTo>
                <a:lnTo>
                  <a:pt x="12875" y="8176"/>
                </a:lnTo>
                <a:lnTo>
                  <a:pt x="12883" y="8189"/>
                </a:lnTo>
                <a:lnTo>
                  <a:pt x="12890" y="8203"/>
                </a:lnTo>
                <a:lnTo>
                  <a:pt x="12895" y="8217"/>
                </a:lnTo>
                <a:lnTo>
                  <a:pt x="12894" y="8221"/>
                </a:lnTo>
                <a:lnTo>
                  <a:pt x="12896" y="8234"/>
                </a:lnTo>
                <a:lnTo>
                  <a:pt x="12901" y="8252"/>
                </a:lnTo>
                <a:lnTo>
                  <a:pt x="12907" y="8275"/>
                </a:lnTo>
                <a:lnTo>
                  <a:pt x="12917" y="8297"/>
                </a:lnTo>
                <a:lnTo>
                  <a:pt x="12926" y="8317"/>
                </a:lnTo>
                <a:lnTo>
                  <a:pt x="12932" y="8326"/>
                </a:lnTo>
                <a:lnTo>
                  <a:pt x="12937" y="8334"/>
                </a:lnTo>
                <a:lnTo>
                  <a:pt x="12943" y="8340"/>
                </a:lnTo>
                <a:lnTo>
                  <a:pt x="12948" y="8344"/>
                </a:lnTo>
                <a:lnTo>
                  <a:pt x="12949" y="8351"/>
                </a:lnTo>
                <a:lnTo>
                  <a:pt x="12950" y="8360"/>
                </a:lnTo>
                <a:lnTo>
                  <a:pt x="12952" y="8370"/>
                </a:lnTo>
                <a:lnTo>
                  <a:pt x="12955" y="8382"/>
                </a:lnTo>
                <a:lnTo>
                  <a:pt x="12963" y="8407"/>
                </a:lnTo>
                <a:lnTo>
                  <a:pt x="12974" y="8435"/>
                </a:lnTo>
                <a:lnTo>
                  <a:pt x="12987" y="8466"/>
                </a:lnTo>
                <a:lnTo>
                  <a:pt x="13002" y="8497"/>
                </a:lnTo>
                <a:lnTo>
                  <a:pt x="13019" y="8531"/>
                </a:lnTo>
                <a:lnTo>
                  <a:pt x="13037" y="8563"/>
                </a:lnTo>
                <a:lnTo>
                  <a:pt x="13057" y="8594"/>
                </a:lnTo>
                <a:lnTo>
                  <a:pt x="13077" y="8624"/>
                </a:lnTo>
                <a:lnTo>
                  <a:pt x="13097" y="8652"/>
                </a:lnTo>
                <a:lnTo>
                  <a:pt x="13117" y="8676"/>
                </a:lnTo>
                <a:lnTo>
                  <a:pt x="13127" y="8687"/>
                </a:lnTo>
                <a:lnTo>
                  <a:pt x="13137" y="8696"/>
                </a:lnTo>
                <a:lnTo>
                  <a:pt x="13147" y="8705"/>
                </a:lnTo>
                <a:lnTo>
                  <a:pt x="13156" y="8712"/>
                </a:lnTo>
                <a:lnTo>
                  <a:pt x="13165" y="8717"/>
                </a:lnTo>
                <a:lnTo>
                  <a:pt x="13175" y="8721"/>
                </a:lnTo>
                <a:lnTo>
                  <a:pt x="13184" y="8724"/>
                </a:lnTo>
                <a:lnTo>
                  <a:pt x="13192" y="8725"/>
                </a:lnTo>
                <a:lnTo>
                  <a:pt x="13192" y="8731"/>
                </a:lnTo>
                <a:lnTo>
                  <a:pt x="13190" y="8738"/>
                </a:lnTo>
                <a:lnTo>
                  <a:pt x="13187" y="8744"/>
                </a:lnTo>
                <a:lnTo>
                  <a:pt x="13183" y="8749"/>
                </a:lnTo>
                <a:lnTo>
                  <a:pt x="13175" y="8760"/>
                </a:lnTo>
                <a:lnTo>
                  <a:pt x="13168" y="8768"/>
                </a:lnTo>
                <a:lnTo>
                  <a:pt x="13165" y="8771"/>
                </a:lnTo>
                <a:lnTo>
                  <a:pt x="13165" y="8774"/>
                </a:lnTo>
                <a:lnTo>
                  <a:pt x="13168" y="8777"/>
                </a:lnTo>
                <a:lnTo>
                  <a:pt x="13172" y="8780"/>
                </a:lnTo>
                <a:lnTo>
                  <a:pt x="13179" y="8782"/>
                </a:lnTo>
                <a:lnTo>
                  <a:pt x="13190" y="8784"/>
                </a:lnTo>
                <a:lnTo>
                  <a:pt x="13205" y="8786"/>
                </a:lnTo>
                <a:lnTo>
                  <a:pt x="13223" y="8788"/>
                </a:lnTo>
                <a:lnTo>
                  <a:pt x="13248" y="8788"/>
                </a:lnTo>
                <a:lnTo>
                  <a:pt x="13287" y="8785"/>
                </a:lnTo>
                <a:lnTo>
                  <a:pt x="13307" y="8782"/>
                </a:lnTo>
                <a:lnTo>
                  <a:pt x="13324" y="8779"/>
                </a:lnTo>
                <a:lnTo>
                  <a:pt x="13331" y="8777"/>
                </a:lnTo>
                <a:lnTo>
                  <a:pt x="13336" y="8774"/>
                </a:lnTo>
                <a:lnTo>
                  <a:pt x="13339" y="8771"/>
                </a:lnTo>
                <a:lnTo>
                  <a:pt x="13340" y="8768"/>
                </a:lnTo>
                <a:lnTo>
                  <a:pt x="13376" y="8767"/>
                </a:lnTo>
                <a:lnTo>
                  <a:pt x="13413" y="8765"/>
                </a:lnTo>
                <a:lnTo>
                  <a:pt x="13454" y="8762"/>
                </a:lnTo>
                <a:lnTo>
                  <a:pt x="13494" y="8758"/>
                </a:lnTo>
                <a:lnTo>
                  <a:pt x="13534" y="8751"/>
                </a:lnTo>
                <a:lnTo>
                  <a:pt x="13574" y="8744"/>
                </a:lnTo>
                <a:lnTo>
                  <a:pt x="13593" y="8739"/>
                </a:lnTo>
                <a:lnTo>
                  <a:pt x="13612" y="8735"/>
                </a:lnTo>
                <a:lnTo>
                  <a:pt x="13629" y="8730"/>
                </a:lnTo>
                <a:lnTo>
                  <a:pt x="13647" y="8725"/>
                </a:lnTo>
                <a:lnTo>
                  <a:pt x="13646" y="8737"/>
                </a:lnTo>
                <a:lnTo>
                  <a:pt x="13645" y="8750"/>
                </a:lnTo>
                <a:lnTo>
                  <a:pt x="13644" y="8762"/>
                </a:lnTo>
                <a:lnTo>
                  <a:pt x="13642" y="8774"/>
                </a:lnTo>
                <a:lnTo>
                  <a:pt x="13636" y="8796"/>
                </a:lnTo>
                <a:lnTo>
                  <a:pt x="13629" y="8818"/>
                </a:lnTo>
                <a:lnTo>
                  <a:pt x="13621" y="8839"/>
                </a:lnTo>
                <a:lnTo>
                  <a:pt x="13612" y="8859"/>
                </a:lnTo>
                <a:lnTo>
                  <a:pt x="13602" y="8880"/>
                </a:lnTo>
                <a:lnTo>
                  <a:pt x="13592" y="8900"/>
                </a:lnTo>
                <a:lnTo>
                  <a:pt x="13583" y="8920"/>
                </a:lnTo>
                <a:lnTo>
                  <a:pt x="13574" y="8940"/>
                </a:lnTo>
                <a:lnTo>
                  <a:pt x="13566" y="8961"/>
                </a:lnTo>
                <a:lnTo>
                  <a:pt x="13559" y="8981"/>
                </a:lnTo>
                <a:lnTo>
                  <a:pt x="13556" y="8992"/>
                </a:lnTo>
                <a:lnTo>
                  <a:pt x="13554" y="9003"/>
                </a:lnTo>
                <a:lnTo>
                  <a:pt x="13552" y="9015"/>
                </a:lnTo>
                <a:lnTo>
                  <a:pt x="13551" y="9026"/>
                </a:lnTo>
                <a:lnTo>
                  <a:pt x="13550" y="9038"/>
                </a:lnTo>
                <a:lnTo>
                  <a:pt x="13550" y="9050"/>
                </a:lnTo>
                <a:lnTo>
                  <a:pt x="13551" y="9062"/>
                </a:lnTo>
                <a:lnTo>
                  <a:pt x="13552" y="9074"/>
                </a:lnTo>
                <a:lnTo>
                  <a:pt x="13538" y="9075"/>
                </a:lnTo>
                <a:lnTo>
                  <a:pt x="13528" y="9078"/>
                </a:lnTo>
                <a:lnTo>
                  <a:pt x="13523" y="9080"/>
                </a:lnTo>
                <a:lnTo>
                  <a:pt x="13519" y="9082"/>
                </a:lnTo>
                <a:lnTo>
                  <a:pt x="13516" y="9084"/>
                </a:lnTo>
                <a:lnTo>
                  <a:pt x="13513" y="9087"/>
                </a:lnTo>
                <a:lnTo>
                  <a:pt x="13508" y="9093"/>
                </a:lnTo>
                <a:lnTo>
                  <a:pt x="13504" y="9100"/>
                </a:lnTo>
                <a:lnTo>
                  <a:pt x="13503" y="9108"/>
                </a:lnTo>
                <a:lnTo>
                  <a:pt x="13502" y="9117"/>
                </a:lnTo>
                <a:lnTo>
                  <a:pt x="13505" y="9152"/>
                </a:lnTo>
                <a:lnTo>
                  <a:pt x="13509" y="9180"/>
                </a:lnTo>
                <a:lnTo>
                  <a:pt x="13500" y="9186"/>
                </a:lnTo>
                <a:lnTo>
                  <a:pt x="13492" y="9193"/>
                </a:lnTo>
                <a:lnTo>
                  <a:pt x="13485" y="9199"/>
                </a:lnTo>
                <a:lnTo>
                  <a:pt x="13478" y="9207"/>
                </a:lnTo>
                <a:lnTo>
                  <a:pt x="13466" y="9222"/>
                </a:lnTo>
                <a:lnTo>
                  <a:pt x="13455" y="9238"/>
                </a:lnTo>
                <a:lnTo>
                  <a:pt x="13443" y="9254"/>
                </a:lnTo>
                <a:lnTo>
                  <a:pt x="13430" y="9270"/>
                </a:lnTo>
                <a:lnTo>
                  <a:pt x="13422" y="9278"/>
                </a:lnTo>
                <a:lnTo>
                  <a:pt x="13413" y="9284"/>
                </a:lnTo>
                <a:lnTo>
                  <a:pt x="13403" y="9291"/>
                </a:lnTo>
                <a:lnTo>
                  <a:pt x="13393" y="9297"/>
                </a:lnTo>
                <a:lnTo>
                  <a:pt x="13392" y="9302"/>
                </a:lnTo>
                <a:lnTo>
                  <a:pt x="13391" y="9309"/>
                </a:lnTo>
                <a:lnTo>
                  <a:pt x="13389" y="9315"/>
                </a:lnTo>
                <a:lnTo>
                  <a:pt x="13387" y="9321"/>
                </a:lnTo>
                <a:lnTo>
                  <a:pt x="13380" y="9335"/>
                </a:lnTo>
                <a:lnTo>
                  <a:pt x="13371" y="9348"/>
                </a:lnTo>
                <a:lnTo>
                  <a:pt x="13360" y="9363"/>
                </a:lnTo>
                <a:lnTo>
                  <a:pt x="13347" y="9377"/>
                </a:lnTo>
                <a:lnTo>
                  <a:pt x="13334" y="9393"/>
                </a:lnTo>
                <a:lnTo>
                  <a:pt x="13319" y="9408"/>
                </a:lnTo>
                <a:lnTo>
                  <a:pt x="13289" y="9437"/>
                </a:lnTo>
                <a:lnTo>
                  <a:pt x="13260" y="9465"/>
                </a:lnTo>
                <a:lnTo>
                  <a:pt x="13246" y="9478"/>
                </a:lnTo>
                <a:lnTo>
                  <a:pt x="13234" y="9490"/>
                </a:lnTo>
                <a:lnTo>
                  <a:pt x="13224" y="9501"/>
                </a:lnTo>
                <a:lnTo>
                  <a:pt x="13215" y="9512"/>
                </a:lnTo>
                <a:lnTo>
                  <a:pt x="13206" y="9524"/>
                </a:lnTo>
                <a:lnTo>
                  <a:pt x="13194" y="9536"/>
                </a:lnTo>
                <a:lnTo>
                  <a:pt x="13181" y="9550"/>
                </a:lnTo>
                <a:lnTo>
                  <a:pt x="13166" y="9563"/>
                </a:lnTo>
                <a:lnTo>
                  <a:pt x="13136" y="9593"/>
                </a:lnTo>
                <a:lnTo>
                  <a:pt x="13104" y="9624"/>
                </a:lnTo>
                <a:lnTo>
                  <a:pt x="13088" y="9640"/>
                </a:lnTo>
                <a:lnTo>
                  <a:pt x="13073" y="9656"/>
                </a:lnTo>
                <a:lnTo>
                  <a:pt x="13059" y="9672"/>
                </a:lnTo>
                <a:lnTo>
                  <a:pt x="13047" y="9688"/>
                </a:lnTo>
                <a:lnTo>
                  <a:pt x="13034" y="9703"/>
                </a:lnTo>
                <a:lnTo>
                  <a:pt x="13025" y="9718"/>
                </a:lnTo>
                <a:lnTo>
                  <a:pt x="13021" y="9726"/>
                </a:lnTo>
                <a:lnTo>
                  <a:pt x="13018" y="9733"/>
                </a:lnTo>
                <a:lnTo>
                  <a:pt x="13015" y="9740"/>
                </a:lnTo>
                <a:lnTo>
                  <a:pt x="13013" y="9747"/>
                </a:lnTo>
                <a:lnTo>
                  <a:pt x="13011" y="9747"/>
                </a:lnTo>
                <a:lnTo>
                  <a:pt x="13008" y="9750"/>
                </a:lnTo>
                <a:lnTo>
                  <a:pt x="13004" y="9754"/>
                </a:lnTo>
                <a:lnTo>
                  <a:pt x="12992" y="9766"/>
                </a:lnTo>
                <a:lnTo>
                  <a:pt x="12977" y="9783"/>
                </a:lnTo>
                <a:lnTo>
                  <a:pt x="12939" y="9825"/>
                </a:lnTo>
                <a:lnTo>
                  <a:pt x="12896" y="9875"/>
                </a:lnTo>
                <a:lnTo>
                  <a:pt x="12876" y="9902"/>
                </a:lnTo>
                <a:lnTo>
                  <a:pt x="12857" y="9927"/>
                </a:lnTo>
                <a:lnTo>
                  <a:pt x="12840" y="9950"/>
                </a:lnTo>
                <a:lnTo>
                  <a:pt x="12827" y="9971"/>
                </a:lnTo>
                <a:lnTo>
                  <a:pt x="12822" y="9981"/>
                </a:lnTo>
                <a:lnTo>
                  <a:pt x="12818" y="9990"/>
                </a:lnTo>
                <a:lnTo>
                  <a:pt x="12815" y="9997"/>
                </a:lnTo>
                <a:lnTo>
                  <a:pt x="12813" y="10003"/>
                </a:lnTo>
                <a:lnTo>
                  <a:pt x="12813" y="10009"/>
                </a:lnTo>
                <a:lnTo>
                  <a:pt x="12814" y="10012"/>
                </a:lnTo>
                <a:lnTo>
                  <a:pt x="12817" y="10015"/>
                </a:lnTo>
                <a:lnTo>
                  <a:pt x="12822" y="10016"/>
                </a:lnTo>
                <a:lnTo>
                  <a:pt x="12819" y="10052"/>
                </a:lnTo>
                <a:lnTo>
                  <a:pt x="12812" y="10113"/>
                </a:lnTo>
                <a:lnTo>
                  <a:pt x="12808" y="10151"/>
                </a:lnTo>
                <a:lnTo>
                  <a:pt x="12804" y="10190"/>
                </a:lnTo>
                <a:lnTo>
                  <a:pt x="12800" y="10232"/>
                </a:lnTo>
                <a:lnTo>
                  <a:pt x="12797" y="10275"/>
                </a:lnTo>
                <a:lnTo>
                  <a:pt x="12796" y="10316"/>
                </a:lnTo>
                <a:lnTo>
                  <a:pt x="12795" y="10355"/>
                </a:lnTo>
                <a:lnTo>
                  <a:pt x="12796" y="10374"/>
                </a:lnTo>
                <a:lnTo>
                  <a:pt x="12797" y="10392"/>
                </a:lnTo>
                <a:lnTo>
                  <a:pt x="12798" y="10410"/>
                </a:lnTo>
                <a:lnTo>
                  <a:pt x="12800" y="10425"/>
                </a:lnTo>
                <a:lnTo>
                  <a:pt x="12803" y="10440"/>
                </a:lnTo>
                <a:lnTo>
                  <a:pt x="12806" y="10453"/>
                </a:lnTo>
                <a:lnTo>
                  <a:pt x="12810" y="10464"/>
                </a:lnTo>
                <a:lnTo>
                  <a:pt x="12815" y="10474"/>
                </a:lnTo>
                <a:lnTo>
                  <a:pt x="12821" y="10481"/>
                </a:lnTo>
                <a:lnTo>
                  <a:pt x="12827" y="10487"/>
                </a:lnTo>
                <a:lnTo>
                  <a:pt x="12834" y="10491"/>
                </a:lnTo>
                <a:lnTo>
                  <a:pt x="12843" y="10492"/>
                </a:lnTo>
                <a:lnTo>
                  <a:pt x="12846" y="10519"/>
                </a:lnTo>
                <a:lnTo>
                  <a:pt x="12854" y="10569"/>
                </a:lnTo>
                <a:lnTo>
                  <a:pt x="12865" y="10632"/>
                </a:lnTo>
                <a:lnTo>
                  <a:pt x="12876" y="10702"/>
                </a:lnTo>
                <a:lnTo>
                  <a:pt x="12881" y="10736"/>
                </a:lnTo>
                <a:lnTo>
                  <a:pt x="12885" y="10769"/>
                </a:lnTo>
                <a:lnTo>
                  <a:pt x="12888" y="10801"/>
                </a:lnTo>
                <a:lnTo>
                  <a:pt x="12889" y="10828"/>
                </a:lnTo>
                <a:lnTo>
                  <a:pt x="12889" y="10840"/>
                </a:lnTo>
                <a:lnTo>
                  <a:pt x="12889" y="10851"/>
                </a:lnTo>
                <a:lnTo>
                  <a:pt x="12888" y="10860"/>
                </a:lnTo>
                <a:lnTo>
                  <a:pt x="12886" y="10869"/>
                </a:lnTo>
                <a:lnTo>
                  <a:pt x="12884" y="10875"/>
                </a:lnTo>
                <a:lnTo>
                  <a:pt x="12881" y="10880"/>
                </a:lnTo>
                <a:lnTo>
                  <a:pt x="12878" y="10883"/>
                </a:lnTo>
                <a:lnTo>
                  <a:pt x="12874" y="10884"/>
                </a:lnTo>
                <a:lnTo>
                  <a:pt x="12873" y="10905"/>
                </a:lnTo>
                <a:lnTo>
                  <a:pt x="12871" y="10925"/>
                </a:lnTo>
                <a:lnTo>
                  <a:pt x="12867" y="10944"/>
                </a:lnTo>
                <a:lnTo>
                  <a:pt x="12862" y="10962"/>
                </a:lnTo>
                <a:lnTo>
                  <a:pt x="12857" y="10980"/>
                </a:lnTo>
                <a:lnTo>
                  <a:pt x="12851" y="10997"/>
                </a:lnTo>
                <a:lnTo>
                  <a:pt x="12844" y="11013"/>
                </a:lnTo>
                <a:lnTo>
                  <a:pt x="12837" y="11030"/>
                </a:lnTo>
                <a:lnTo>
                  <a:pt x="12824" y="11062"/>
                </a:lnTo>
                <a:lnTo>
                  <a:pt x="12812" y="11093"/>
                </a:lnTo>
                <a:lnTo>
                  <a:pt x="12807" y="11109"/>
                </a:lnTo>
                <a:lnTo>
                  <a:pt x="12804" y="11125"/>
                </a:lnTo>
                <a:lnTo>
                  <a:pt x="12801" y="11141"/>
                </a:lnTo>
                <a:lnTo>
                  <a:pt x="12801" y="11159"/>
                </a:lnTo>
                <a:lnTo>
                  <a:pt x="12771" y="11176"/>
                </a:lnTo>
                <a:lnTo>
                  <a:pt x="12740" y="11192"/>
                </a:lnTo>
                <a:lnTo>
                  <a:pt x="12726" y="11200"/>
                </a:lnTo>
                <a:lnTo>
                  <a:pt x="12714" y="11210"/>
                </a:lnTo>
                <a:lnTo>
                  <a:pt x="12708" y="11215"/>
                </a:lnTo>
                <a:lnTo>
                  <a:pt x="12703" y="11220"/>
                </a:lnTo>
                <a:lnTo>
                  <a:pt x="12698" y="11226"/>
                </a:lnTo>
                <a:lnTo>
                  <a:pt x="12694" y="11233"/>
                </a:lnTo>
                <a:lnTo>
                  <a:pt x="12689" y="11233"/>
                </a:lnTo>
                <a:lnTo>
                  <a:pt x="12683" y="11234"/>
                </a:lnTo>
                <a:lnTo>
                  <a:pt x="12677" y="11236"/>
                </a:lnTo>
                <a:lnTo>
                  <a:pt x="12672" y="11239"/>
                </a:lnTo>
                <a:lnTo>
                  <a:pt x="12661" y="11245"/>
                </a:lnTo>
                <a:lnTo>
                  <a:pt x="12651" y="11254"/>
                </a:lnTo>
                <a:lnTo>
                  <a:pt x="12642" y="11265"/>
                </a:lnTo>
                <a:lnTo>
                  <a:pt x="12634" y="11276"/>
                </a:lnTo>
                <a:lnTo>
                  <a:pt x="12626" y="11289"/>
                </a:lnTo>
                <a:lnTo>
                  <a:pt x="12618" y="11302"/>
                </a:lnTo>
                <a:lnTo>
                  <a:pt x="12604" y="11327"/>
                </a:lnTo>
                <a:lnTo>
                  <a:pt x="12591" y="11349"/>
                </a:lnTo>
                <a:lnTo>
                  <a:pt x="12585" y="11358"/>
                </a:lnTo>
                <a:lnTo>
                  <a:pt x="12579" y="11365"/>
                </a:lnTo>
                <a:lnTo>
                  <a:pt x="12576" y="11367"/>
                </a:lnTo>
                <a:lnTo>
                  <a:pt x="12573" y="11369"/>
                </a:lnTo>
                <a:lnTo>
                  <a:pt x="12571" y="11370"/>
                </a:lnTo>
                <a:lnTo>
                  <a:pt x="12568" y="11371"/>
                </a:lnTo>
                <a:lnTo>
                  <a:pt x="12567" y="11397"/>
                </a:lnTo>
                <a:lnTo>
                  <a:pt x="12566" y="11425"/>
                </a:lnTo>
                <a:lnTo>
                  <a:pt x="12564" y="11450"/>
                </a:lnTo>
                <a:lnTo>
                  <a:pt x="12561" y="11475"/>
                </a:lnTo>
                <a:lnTo>
                  <a:pt x="12554" y="11525"/>
                </a:lnTo>
                <a:lnTo>
                  <a:pt x="12547" y="11575"/>
                </a:lnTo>
                <a:lnTo>
                  <a:pt x="12539" y="11625"/>
                </a:lnTo>
                <a:lnTo>
                  <a:pt x="12531" y="11678"/>
                </a:lnTo>
                <a:lnTo>
                  <a:pt x="12528" y="11706"/>
                </a:lnTo>
                <a:lnTo>
                  <a:pt x="12526" y="11734"/>
                </a:lnTo>
                <a:lnTo>
                  <a:pt x="12525" y="11763"/>
                </a:lnTo>
                <a:lnTo>
                  <a:pt x="12525" y="11794"/>
                </a:lnTo>
                <a:lnTo>
                  <a:pt x="12525" y="11795"/>
                </a:lnTo>
                <a:lnTo>
                  <a:pt x="12526" y="11797"/>
                </a:lnTo>
                <a:lnTo>
                  <a:pt x="12525" y="11800"/>
                </a:lnTo>
                <a:lnTo>
                  <a:pt x="12524" y="11804"/>
                </a:lnTo>
                <a:lnTo>
                  <a:pt x="12521" y="11816"/>
                </a:lnTo>
                <a:lnTo>
                  <a:pt x="12516" y="11831"/>
                </a:lnTo>
                <a:lnTo>
                  <a:pt x="12503" y="11870"/>
                </a:lnTo>
                <a:lnTo>
                  <a:pt x="12487" y="11915"/>
                </a:lnTo>
                <a:lnTo>
                  <a:pt x="12470" y="11961"/>
                </a:lnTo>
                <a:lnTo>
                  <a:pt x="12455" y="12001"/>
                </a:lnTo>
                <a:lnTo>
                  <a:pt x="12445" y="12032"/>
                </a:lnTo>
                <a:lnTo>
                  <a:pt x="12441" y="12048"/>
                </a:lnTo>
                <a:lnTo>
                  <a:pt x="12425" y="12059"/>
                </a:lnTo>
                <a:lnTo>
                  <a:pt x="12406" y="12074"/>
                </a:lnTo>
                <a:lnTo>
                  <a:pt x="12386" y="12090"/>
                </a:lnTo>
                <a:lnTo>
                  <a:pt x="12364" y="12109"/>
                </a:lnTo>
                <a:lnTo>
                  <a:pt x="12342" y="12130"/>
                </a:lnTo>
                <a:lnTo>
                  <a:pt x="12319" y="12152"/>
                </a:lnTo>
                <a:lnTo>
                  <a:pt x="12297" y="12176"/>
                </a:lnTo>
                <a:lnTo>
                  <a:pt x="12273" y="12200"/>
                </a:lnTo>
                <a:lnTo>
                  <a:pt x="12252" y="12225"/>
                </a:lnTo>
                <a:lnTo>
                  <a:pt x="12232" y="12250"/>
                </a:lnTo>
                <a:lnTo>
                  <a:pt x="12213" y="12275"/>
                </a:lnTo>
                <a:lnTo>
                  <a:pt x="12197" y="12300"/>
                </a:lnTo>
                <a:lnTo>
                  <a:pt x="12190" y="12312"/>
                </a:lnTo>
                <a:lnTo>
                  <a:pt x="12184" y="12324"/>
                </a:lnTo>
                <a:lnTo>
                  <a:pt x="12179" y="12335"/>
                </a:lnTo>
                <a:lnTo>
                  <a:pt x="12174" y="12346"/>
                </a:lnTo>
                <a:lnTo>
                  <a:pt x="12170" y="12357"/>
                </a:lnTo>
                <a:lnTo>
                  <a:pt x="12168" y="12367"/>
                </a:lnTo>
                <a:lnTo>
                  <a:pt x="12166" y="12377"/>
                </a:lnTo>
                <a:lnTo>
                  <a:pt x="12166" y="12386"/>
                </a:lnTo>
                <a:lnTo>
                  <a:pt x="12160" y="12395"/>
                </a:lnTo>
                <a:lnTo>
                  <a:pt x="12143" y="12418"/>
                </a:lnTo>
                <a:lnTo>
                  <a:pt x="12120" y="12450"/>
                </a:lnTo>
                <a:lnTo>
                  <a:pt x="12094" y="12487"/>
                </a:lnTo>
                <a:lnTo>
                  <a:pt x="12066" y="12526"/>
                </a:lnTo>
                <a:lnTo>
                  <a:pt x="12041" y="12563"/>
                </a:lnTo>
                <a:lnTo>
                  <a:pt x="12019" y="12591"/>
                </a:lnTo>
                <a:lnTo>
                  <a:pt x="12006" y="12609"/>
                </a:lnTo>
                <a:lnTo>
                  <a:pt x="11979" y="12611"/>
                </a:lnTo>
                <a:lnTo>
                  <a:pt x="11933" y="12619"/>
                </a:lnTo>
                <a:lnTo>
                  <a:pt x="11874" y="12629"/>
                </a:lnTo>
                <a:lnTo>
                  <a:pt x="11811" y="12642"/>
                </a:lnTo>
                <a:lnTo>
                  <a:pt x="11779" y="12649"/>
                </a:lnTo>
                <a:lnTo>
                  <a:pt x="11749" y="12656"/>
                </a:lnTo>
                <a:lnTo>
                  <a:pt x="11722" y="12664"/>
                </a:lnTo>
                <a:lnTo>
                  <a:pt x="11697" y="12670"/>
                </a:lnTo>
                <a:lnTo>
                  <a:pt x="11676" y="12677"/>
                </a:lnTo>
                <a:lnTo>
                  <a:pt x="11661" y="12683"/>
                </a:lnTo>
                <a:lnTo>
                  <a:pt x="11654" y="12686"/>
                </a:lnTo>
                <a:lnTo>
                  <a:pt x="11650" y="12689"/>
                </a:lnTo>
                <a:lnTo>
                  <a:pt x="11647" y="12691"/>
                </a:lnTo>
                <a:lnTo>
                  <a:pt x="11646" y="12694"/>
                </a:lnTo>
                <a:lnTo>
                  <a:pt x="11632" y="12694"/>
                </a:lnTo>
                <a:lnTo>
                  <a:pt x="11616" y="12696"/>
                </a:lnTo>
                <a:lnTo>
                  <a:pt x="11598" y="12698"/>
                </a:lnTo>
                <a:lnTo>
                  <a:pt x="11579" y="12701"/>
                </a:lnTo>
                <a:lnTo>
                  <a:pt x="11538" y="12707"/>
                </a:lnTo>
                <a:lnTo>
                  <a:pt x="11494" y="12713"/>
                </a:lnTo>
                <a:lnTo>
                  <a:pt x="11472" y="12714"/>
                </a:lnTo>
                <a:lnTo>
                  <a:pt x="11452" y="12715"/>
                </a:lnTo>
                <a:lnTo>
                  <a:pt x="11432" y="12714"/>
                </a:lnTo>
                <a:lnTo>
                  <a:pt x="11414" y="12712"/>
                </a:lnTo>
                <a:lnTo>
                  <a:pt x="11406" y="12710"/>
                </a:lnTo>
                <a:lnTo>
                  <a:pt x="11397" y="12708"/>
                </a:lnTo>
                <a:lnTo>
                  <a:pt x="11389" y="12706"/>
                </a:lnTo>
                <a:lnTo>
                  <a:pt x="11382" y="12702"/>
                </a:lnTo>
                <a:lnTo>
                  <a:pt x="11376" y="12699"/>
                </a:lnTo>
                <a:lnTo>
                  <a:pt x="11370" y="12694"/>
                </a:lnTo>
                <a:lnTo>
                  <a:pt x="11365" y="12689"/>
                </a:lnTo>
                <a:lnTo>
                  <a:pt x="11361" y="12683"/>
                </a:lnTo>
                <a:lnTo>
                  <a:pt x="11360" y="12671"/>
                </a:lnTo>
                <a:lnTo>
                  <a:pt x="11359" y="12657"/>
                </a:lnTo>
                <a:lnTo>
                  <a:pt x="11357" y="12643"/>
                </a:lnTo>
                <a:lnTo>
                  <a:pt x="11355" y="12629"/>
                </a:lnTo>
                <a:lnTo>
                  <a:pt x="11349" y="12601"/>
                </a:lnTo>
                <a:lnTo>
                  <a:pt x="11342" y="12571"/>
                </a:lnTo>
                <a:lnTo>
                  <a:pt x="11334" y="12540"/>
                </a:lnTo>
                <a:lnTo>
                  <a:pt x="11327" y="12506"/>
                </a:lnTo>
                <a:lnTo>
                  <a:pt x="11325" y="12490"/>
                </a:lnTo>
                <a:lnTo>
                  <a:pt x="11322" y="12474"/>
                </a:lnTo>
                <a:lnTo>
                  <a:pt x="11320" y="12457"/>
                </a:lnTo>
                <a:lnTo>
                  <a:pt x="11319" y="12440"/>
                </a:lnTo>
                <a:lnTo>
                  <a:pt x="11316" y="12440"/>
                </a:lnTo>
                <a:lnTo>
                  <a:pt x="11313" y="12438"/>
                </a:lnTo>
                <a:lnTo>
                  <a:pt x="11310" y="12437"/>
                </a:lnTo>
                <a:lnTo>
                  <a:pt x="11308" y="12434"/>
                </a:lnTo>
                <a:lnTo>
                  <a:pt x="11303" y="12427"/>
                </a:lnTo>
                <a:lnTo>
                  <a:pt x="11298" y="12419"/>
                </a:lnTo>
                <a:lnTo>
                  <a:pt x="11291" y="12396"/>
                </a:lnTo>
                <a:lnTo>
                  <a:pt x="11283" y="12371"/>
                </a:lnTo>
                <a:lnTo>
                  <a:pt x="11275" y="12346"/>
                </a:lnTo>
                <a:lnTo>
                  <a:pt x="11266" y="12324"/>
                </a:lnTo>
                <a:lnTo>
                  <a:pt x="11262" y="12315"/>
                </a:lnTo>
                <a:lnTo>
                  <a:pt x="11256" y="12308"/>
                </a:lnTo>
                <a:lnTo>
                  <a:pt x="11254" y="12306"/>
                </a:lnTo>
                <a:lnTo>
                  <a:pt x="11251" y="12304"/>
                </a:lnTo>
                <a:lnTo>
                  <a:pt x="11248" y="12303"/>
                </a:lnTo>
                <a:lnTo>
                  <a:pt x="11244" y="12303"/>
                </a:lnTo>
                <a:lnTo>
                  <a:pt x="11242" y="12293"/>
                </a:lnTo>
                <a:lnTo>
                  <a:pt x="11236" y="12275"/>
                </a:lnTo>
                <a:lnTo>
                  <a:pt x="11226" y="12251"/>
                </a:lnTo>
                <a:lnTo>
                  <a:pt x="11214" y="12222"/>
                </a:lnTo>
                <a:lnTo>
                  <a:pt x="11183" y="12151"/>
                </a:lnTo>
                <a:lnTo>
                  <a:pt x="11147" y="12074"/>
                </a:lnTo>
                <a:lnTo>
                  <a:pt x="11130" y="12036"/>
                </a:lnTo>
                <a:lnTo>
                  <a:pt x="11114" y="11997"/>
                </a:lnTo>
                <a:lnTo>
                  <a:pt x="11100" y="11963"/>
                </a:lnTo>
                <a:lnTo>
                  <a:pt x="11088" y="11932"/>
                </a:lnTo>
                <a:lnTo>
                  <a:pt x="11079" y="11905"/>
                </a:lnTo>
                <a:lnTo>
                  <a:pt x="11073" y="11885"/>
                </a:lnTo>
                <a:lnTo>
                  <a:pt x="11072" y="11878"/>
                </a:lnTo>
                <a:lnTo>
                  <a:pt x="11072" y="11872"/>
                </a:lnTo>
                <a:lnTo>
                  <a:pt x="11073" y="11869"/>
                </a:lnTo>
                <a:lnTo>
                  <a:pt x="11075" y="11868"/>
                </a:lnTo>
                <a:lnTo>
                  <a:pt x="11074" y="11848"/>
                </a:lnTo>
                <a:lnTo>
                  <a:pt x="11070" y="11822"/>
                </a:lnTo>
                <a:lnTo>
                  <a:pt x="11064" y="11793"/>
                </a:lnTo>
                <a:lnTo>
                  <a:pt x="11057" y="11762"/>
                </a:lnTo>
                <a:lnTo>
                  <a:pt x="11049" y="11734"/>
                </a:lnTo>
                <a:lnTo>
                  <a:pt x="11043" y="11710"/>
                </a:lnTo>
                <a:lnTo>
                  <a:pt x="11040" y="11701"/>
                </a:lnTo>
                <a:lnTo>
                  <a:pt x="11037" y="11694"/>
                </a:lnTo>
                <a:lnTo>
                  <a:pt x="11035" y="11690"/>
                </a:lnTo>
                <a:lnTo>
                  <a:pt x="11033" y="11688"/>
                </a:lnTo>
                <a:lnTo>
                  <a:pt x="11033" y="11675"/>
                </a:lnTo>
                <a:lnTo>
                  <a:pt x="11032" y="11661"/>
                </a:lnTo>
                <a:lnTo>
                  <a:pt x="11031" y="11647"/>
                </a:lnTo>
                <a:lnTo>
                  <a:pt x="11029" y="11634"/>
                </a:lnTo>
                <a:lnTo>
                  <a:pt x="11023" y="11608"/>
                </a:lnTo>
                <a:lnTo>
                  <a:pt x="11016" y="11583"/>
                </a:lnTo>
                <a:lnTo>
                  <a:pt x="11008" y="11557"/>
                </a:lnTo>
                <a:lnTo>
                  <a:pt x="10999" y="11533"/>
                </a:lnTo>
                <a:lnTo>
                  <a:pt x="10989" y="11507"/>
                </a:lnTo>
                <a:lnTo>
                  <a:pt x="10980" y="11483"/>
                </a:lnTo>
                <a:lnTo>
                  <a:pt x="10970" y="11458"/>
                </a:lnTo>
                <a:lnTo>
                  <a:pt x="10960" y="11434"/>
                </a:lnTo>
                <a:lnTo>
                  <a:pt x="10951" y="11410"/>
                </a:lnTo>
                <a:lnTo>
                  <a:pt x="10943" y="11385"/>
                </a:lnTo>
                <a:lnTo>
                  <a:pt x="10937" y="11360"/>
                </a:lnTo>
                <a:lnTo>
                  <a:pt x="10932" y="11336"/>
                </a:lnTo>
                <a:lnTo>
                  <a:pt x="10930" y="11324"/>
                </a:lnTo>
                <a:lnTo>
                  <a:pt x="10928" y="11311"/>
                </a:lnTo>
                <a:lnTo>
                  <a:pt x="10927" y="11299"/>
                </a:lnTo>
                <a:lnTo>
                  <a:pt x="10927" y="11286"/>
                </a:lnTo>
                <a:lnTo>
                  <a:pt x="10924" y="11286"/>
                </a:lnTo>
                <a:lnTo>
                  <a:pt x="10921" y="11283"/>
                </a:lnTo>
                <a:lnTo>
                  <a:pt x="10918" y="11279"/>
                </a:lnTo>
                <a:lnTo>
                  <a:pt x="10914" y="11273"/>
                </a:lnTo>
                <a:lnTo>
                  <a:pt x="10907" y="11258"/>
                </a:lnTo>
                <a:lnTo>
                  <a:pt x="10900" y="11239"/>
                </a:lnTo>
                <a:lnTo>
                  <a:pt x="10891" y="11217"/>
                </a:lnTo>
                <a:lnTo>
                  <a:pt x="10884" y="11192"/>
                </a:lnTo>
                <a:lnTo>
                  <a:pt x="10877" y="11166"/>
                </a:lnTo>
                <a:lnTo>
                  <a:pt x="10871" y="11137"/>
                </a:lnTo>
                <a:lnTo>
                  <a:pt x="10865" y="11110"/>
                </a:lnTo>
                <a:lnTo>
                  <a:pt x="10861" y="11083"/>
                </a:lnTo>
                <a:lnTo>
                  <a:pt x="10857" y="11059"/>
                </a:lnTo>
                <a:lnTo>
                  <a:pt x="10855" y="11036"/>
                </a:lnTo>
                <a:lnTo>
                  <a:pt x="10854" y="11017"/>
                </a:lnTo>
                <a:lnTo>
                  <a:pt x="10855" y="11002"/>
                </a:lnTo>
                <a:lnTo>
                  <a:pt x="10857" y="10997"/>
                </a:lnTo>
                <a:lnTo>
                  <a:pt x="10858" y="10993"/>
                </a:lnTo>
                <a:lnTo>
                  <a:pt x="10861" y="10990"/>
                </a:lnTo>
                <a:lnTo>
                  <a:pt x="10863" y="10990"/>
                </a:lnTo>
                <a:lnTo>
                  <a:pt x="10864" y="10961"/>
                </a:lnTo>
                <a:lnTo>
                  <a:pt x="10866" y="10934"/>
                </a:lnTo>
                <a:lnTo>
                  <a:pt x="10868" y="10908"/>
                </a:lnTo>
                <a:lnTo>
                  <a:pt x="10872" y="10881"/>
                </a:lnTo>
                <a:lnTo>
                  <a:pt x="10876" y="10856"/>
                </a:lnTo>
                <a:lnTo>
                  <a:pt x="10882" y="10831"/>
                </a:lnTo>
                <a:lnTo>
                  <a:pt x="10887" y="10807"/>
                </a:lnTo>
                <a:lnTo>
                  <a:pt x="10893" y="10782"/>
                </a:lnTo>
                <a:lnTo>
                  <a:pt x="10907" y="10731"/>
                </a:lnTo>
                <a:lnTo>
                  <a:pt x="10919" y="10679"/>
                </a:lnTo>
                <a:lnTo>
                  <a:pt x="10925" y="10651"/>
                </a:lnTo>
                <a:lnTo>
                  <a:pt x="10931" y="10622"/>
                </a:lnTo>
                <a:lnTo>
                  <a:pt x="10936" y="10592"/>
                </a:lnTo>
                <a:lnTo>
                  <a:pt x="10941" y="10560"/>
                </a:lnTo>
                <a:lnTo>
                  <a:pt x="10944" y="10526"/>
                </a:lnTo>
                <a:lnTo>
                  <a:pt x="10947" y="10492"/>
                </a:lnTo>
                <a:lnTo>
                  <a:pt x="10948" y="10461"/>
                </a:lnTo>
                <a:lnTo>
                  <a:pt x="10948" y="10431"/>
                </a:lnTo>
                <a:lnTo>
                  <a:pt x="10948" y="10402"/>
                </a:lnTo>
                <a:lnTo>
                  <a:pt x="10946" y="10373"/>
                </a:lnTo>
                <a:lnTo>
                  <a:pt x="10943" y="10346"/>
                </a:lnTo>
                <a:lnTo>
                  <a:pt x="10940" y="10320"/>
                </a:lnTo>
                <a:lnTo>
                  <a:pt x="10935" y="10295"/>
                </a:lnTo>
                <a:lnTo>
                  <a:pt x="10931" y="10270"/>
                </a:lnTo>
                <a:lnTo>
                  <a:pt x="10926" y="10244"/>
                </a:lnTo>
                <a:lnTo>
                  <a:pt x="10920" y="10220"/>
                </a:lnTo>
                <a:lnTo>
                  <a:pt x="10908" y="10171"/>
                </a:lnTo>
                <a:lnTo>
                  <a:pt x="10895" y="10121"/>
                </a:lnTo>
                <a:lnTo>
                  <a:pt x="10891" y="10120"/>
                </a:lnTo>
                <a:lnTo>
                  <a:pt x="10886" y="10117"/>
                </a:lnTo>
                <a:lnTo>
                  <a:pt x="10881" y="10112"/>
                </a:lnTo>
                <a:lnTo>
                  <a:pt x="10875" y="10105"/>
                </a:lnTo>
                <a:lnTo>
                  <a:pt x="10862" y="10088"/>
                </a:lnTo>
                <a:lnTo>
                  <a:pt x="10848" y="10068"/>
                </a:lnTo>
                <a:lnTo>
                  <a:pt x="10835" y="10047"/>
                </a:lnTo>
                <a:lnTo>
                  <a:pt x="10824" y="10026"/>
                </a:lnTo>
                <a:lnTo>
                  <a:pt x="10815" y="10007"/>
                </a:lnTo>
                <a:lnTo>
                  <a:pt x="10811" y="9995"/>
                </a:lnTo>
                <a:lnTo>
                  <a:pt x="10795" y="9983"/>
                </a:lnTo>
                <a:lnTo>
                  <a:pt x="10781" y="9971"/>
                </a:lnTo>
                <a:lnTo>
                  <a:pt x="10768" y="9958"/>
                </a:lnTo>
                <a:lnTo>
                  <a:pt x="10756" y="9943"/>
                </a:lnTo>
                <a:lnTo>
                  <a:pt x="10746" y="9928"/>
                </a:lnTo>
                <a:lnTo>
                  <a:pt x="10736" y="9911"/>
                </a:lnTo>
                <a:lnTo>
                  <a:pt x="10728" y="9894"/>
                </a:lnTo>
                <a:lnTo>
                  <a:pt x="10720" y="9876"/>
                </a:lnTo>
                <a:lnTo>
                  <a:pt x="10714" y="9857"/>
                </a:lnTo>
                <a:lnTo>
                  <a:pt x="10709" y="9839"/>
                </a:lnTo>
                <a:lnTo>
                  <a:pt x="10704" y="9819"/>
                </a:lnTo>
                <a:lnTo>
                  <a:pt x="10701" y="9800"/>
                </a:lnTo>
                <a:lnTo>
                  <a:pt x="10698" y="9780"/>
                </a:lnTo>
                <a:lnTo>
                  <a:pt x="10696" y="9759"/>
                </a:lnTo>
                <a:lnTo>
                  <a:pt x="10695" y="9740"/>
                </a:lnTo>
                <a:lnTo>
                  <a:pt x="10694" y="9720"/>
                </a:lnTo>
                <a:lnTo>
                  <a:pt x="10699" y="9713"/>
                </a:lnTo>
                <a:lnTo>
                  <a:pt x="10704" y="9706"/>
                </a:lnTo>
                <a:lnTo>
                  <a:pt x="10709" y="9698"/>
                </a:lnTo>
                <a:lnTo>
                  <a:pt x="10713" y="9689"/>
                </a:lnTo>
                <a:lnTo>
                  <a:pt x="10722" y="9668"/>
                </a:lnTo>
                <a:lnTo>
                  <a:pt x="10729" y="9645"/>
                </a:lnTo>
                <a:lnTo>
                  <a:pt x="10736" y="9619"/>
                </a:lnTo>
                <a:lnTo>
                  <a:pt x="10742" y="9592"/>
                </a:lnTo>
                <a:lnTo>
                  <a:pt x="10747" y="9564"/>
                </a:lnTo>
                <a:lnTo>
                  <a:pt x="10752" y="9536"/>
                </a:lnTo>
                <a:lnTo>
                  <a:pt x="10755" y="9506"/>
                </a:lnTo>
                <a:lnTo>
                  <a:pt x="10758" y="9477"/>
                </a:lnTo>
                <a:lnTo>
                  <a:pt x="10760" y="9449"/>
                </a:lnTo>
                <a:lnTo>
                  <a:pt x="10761" y="9423"/>
                </a:lnTo>
                <a:lnTo>
                  <a:pt x="10761" y="9398"/>
                </a:lnTo>
                <a:lnTo>
                  <a:pt x="10761" y="9375"/>
                </a:lnTo>
                <a:lnTo>
                  <a:pt x="10759" y="9355"/>
                </a:lnTo>
                <a:lnTo>
                  <a:pt x="10757" y="9339"/>
                </a:lnTo>
                <a:lnTo>
                  <a:pt x="10738" y="9330"/>
                </a:lnTo>
                <a:lnTo>
                  <a:pt x="10720" y="9323"/>
                </a:lnTo>
                <a:lnTo>
                  <a:pt x="10704" y="9317"/>
                </a:lnTo>
                <a:lnTo>
                  <a:pt x="10688" y="9312"/>
                </a:lnTo>
                <a:lnTo>
                  <a:pt x="10673" y="9309"/>
                </a:lnTo>
                <a:lnTo>
                  <a:pt x="10658" y="9306"/>
                </a:lnTo>
                <a:lnTo>
                  <a:pt x="10643" y="9305"/>
                </a:lnTo>
                <a:lnTo>
                  <a:pt x="10628" y="9304"/>
                </a:lnTo>
                <a:lnTo>
                  <a:pt x="10599" y="9304"/>
                </a:lnTo>
                <a:lnTo>
                  <a:pt x="10568" y="9305"/>
                </a:lnTo>
                <a:lnTo>
                  <a:pt x="10533" y="9306"/>
                </a:lnTo>
                <a:lnTo>
                  <a:pt x="10493" y="9307"/>
                </a:lnTo>
                <a:lnTo>
                  <a:pt x="10485" y="9295"/>
                </a:lnTo>
                <a:lnTo>
                  <a:pt x="10476" y="9284"/>
                </a:lnTo>
                <a:lnTo>
                  <a:pt x="10464" y="9274"/>
                </a:lnTo>
                <a:lnTo>
                  <a:pt x="10451" y="9266"/>
                </a:lnTo>
                <a:lnTo>
                  <a:pt x="10435" y="9257"/>
                </a:lnTo>
                <a:lnTo>
                  <a:pt x="10418" y="9251"/>
                </a:lnTo>
                <a:lnTo>
                  <a:pt x="10400" y="9245"/>
                </a:lnTo>
                <a:lnTo>
                  <a:pt x="10379" y="9241"/>
                </a:lnTo>
                <a:lnTo>
                  <a:pt x="10359" y="9237"/>
                </a:lnTo>
                <a:lnTo>
                  <a:pt x="10337" y="9234"/>
                </a:lnTo>
                <a:lnTo>
                  <a:pt x="10314" y="9231"/>
                </a:lnTo>
                <a:lnTo>
                  <a:pt x="10290" y="9230"/>
                </a:lnTo>
                <a:lnTo>
                  <a:pt x="10264" y="9229"/>
                </a:lnTo>
                <a:lnTo>
                  <a:pt x="10239" y="9228"/>
                </a:lnTo>
                <a:lnTo>
                  <a:pt x="10214" y="9228"/>
                </a:lnTo>
                <a:lnTo>
                  <a:pt x="10188" y="9229"/>
                </a:lnTo>
                <a:lnTo>
                  <a:pt x="10135" y="9231"/>
                </a:lnTo>
                <a:lnTo>
                  <a:pt x="10083" y="9234"/>
                </a:lnTo>
                <a:lnTo>
                  <a:pt x="10033" y="9238"/>
                </a:lnTo>
                <a:lnTo>
                  <a:pt x="9984" y="9243"/>
                </a:lnTo>
                <a:lnTo>
                  <a:pt x="9940" y="9247"/>
                </a:lnTo>
                <a:lnTo>
                  <a:pt x="9900" y="9250"/>
                </a:lnTo>
                <a:lnTo>
                  <a:pt x="9864" y="9253"/>
                </a:lnTo>
                <a:lnTo>
                  <a:pt x="9836" y="9254"/>
                </a:lnTo>
                <a:lnTo>
                  <a:pt x="9836" y="9260"/>
                </a:lnTo>
                <a:lnTo>
                  <a:pt x="9833" y="9267"/>
                </a:lnTo>
                <a:lnTo>
                  <a:pt x="9829" y="9271"/>
                </a:lnTo>
                <a:lnTo>
                  <a:pt x="9823" y="9275"/>
                </a:lnTo>
                <a:lnTo>
                  <a:pt x="9816" y="9278"/>
                </a:lnTo>
                <a:lnTo>
                  <a:pt x="9807" y="9281"/>
                </a:lnTo>
                <a:lnTo>
                  <a:pt x="9797" y="9282"/>
                </a:lnTo>
                <a:lnTo>
                  <a:pt x="9787" y="9283"/>
                </a:lnTo>
                <a:lnTo>
                  <a:pt x="9775" y="9283"/>
                </a:lnTo>
                <a:lnTo>
                  <a:pt x="9761" y="9283"/>
                </a:lnTo>
                <a:lnTo>
                  <a:pt x="9748" y="9281"/>
                </a:lnTo>
                <a:lnTo>
                  <a:pt x="9734" y="9280"/>
                </a:lnTo>
                <a:lnTo>
                  <a:pt x="9704" y="9275"/>
                </a:lnTo>
                <a:lnTo>
                  <a:pt x="9674" y="9268"/>
                </a:lnTo>
                <a:lnTo>
                  <a:pt x="9642" y="9259"/>
                </a:lnTo>
                <a:lnTo>
                  <a:pt x="9611" y="9249"/>
                </a:lnTo>
                <a:lnTo>
                  <a:pt x="9582" y="9238"/>
                </a:lnTo>
                <a:lnTo>
                  <a:pt x="9555" y="9227"/>
                </a:lnTo>
                <a:lnTo>
                  <a:pt x="9543" y="9221"/>
                </a:lnTo>
                <a:lnTo>
                  <a:pt x="9531" y="9215"/>
                </a:lnTo>
                <a:lnTo>
                  <a:pt x="9521" y="9209"/>
                </a:lnTo>
                <a:lnTo>
                  <a:pt x="9511" y="9203"/>
                </a:lnTo>
                <a:lnTo>
                  <a:pt x="9503" y="9197"/>
                </a:lnTo>
                <a:lnTo>
                  <a:pt x="9496" y="9191"/>
                </a:lnTo>
                <a:lnTo>
                  <a:pt x="9491" y="9186"/>
                </a:lnTo>
                <a:lnTo>
                  <a:pt x="9487" y="9180"/>
                </a:lnTo>
                <a:lnTo>
                  <a:pt x="9480" y="9179"/>
                </a:lnTo>
                <a:lnTo>
                  <a:pt x="9472" y="9178"/>
                </a:lnTo>
                <a:lnTo>
                  <a:pt x="9464" y="9176"/>
                </a:lnTo>
                <a:lnTo>
                  <a:pt x="9455" y="9173"/>
                </a:lnTo>
                <a:lnTo>
                  <a:pt x="9446" y="9169"/>
                </a:lnTo>
                <a:lnTo>
                  <a:pt x="9437" y="9164"/>
                </a:lnTo>
                <a:lnTo>
                  <a:pt x="9428" y="9159"/>
                </a:lnTo>
                <a:lnTo>
                  <a:pt x="9418" y="9153"/>
                </a:lnTo>
                <a:lnTo>
                  <a:pt x="9399" y="9139"/>
                </a:lnTo>
                <a:lnTo>
                  <a:pt x="9379" y="9123"/>
                </a:lnTo>
                <a:lnTo>
                  <a:pt x="9360" y="9106"/>
                </a:lnTo>
                <a:lnTo>
                  <a:pt x="9342" y="9087"/>
                </a:lnTo>
                <a:lnTo>
                  <a:pt x="9324" y="9068"/>
                </a:lnTo>
                <a:lnTo>
                  <a:pt x="9308" y="9048"/>
                </a:lnTo>
                <a:lnTo>
                  <a:pt x="9293" y="9028"/>
                </a:lnTo>
                <a:lnTo>
                  <a:pt x="9280" y="9007"/>
                </a:lnTo>
                <a:lnTo>
                  <a:pt x="9270" y="8987"/>
                </a:lnTo>
                <a:lnTo>
                  <a:pt x="9262" y="8969"/>
                </a:lnTo>
                <a:lnTo>
                  <a:pt x="9258" y="8960"/>
                </a:lnTo>
                <a:lnTo>
                  <a:pt x="9256" y="8952"/>
                </a:lnTo>
                <a:lnTo>
                  <a:pt x="9255" y="8944"/>
                </a:lnTo>
                <a:lnTo>
                  <a:pt x="9254" y="8937"/>
                </a:lnTo>
                <a:lnTo>
                  <a:pt x="9246" y="8931"/>
                </a:lnTo>
                <a:lnTo>
                  <a:pt x="9238" y="8923"/>
                </a:lnTo>
                <a:lnTo>
                  <a:pt x="9229" y="8915"/>
                </a:lnTo>
                <a:lnTo>
                  <a:pt x="9220" y="8906"/>
                </a:lnTo>
                <a:lnTo>
                  <a:pt x="9202" y="8884"/>
                </a:lnTo>
                <a:lnTo>
                  <a:pt x="9184" y="8858"/>
                </a:lnTo>
                <a:lnTo>
                  <a:pt x="9166" y="8830"/>
                </a:lnTo>
                <a:lnTo>
                  <a:pt x="9147" y="8799"/>
                </a:lnTo>
                <a:lnTo>
                  <a:pt x="9129" y="8767"/>
                </a:lnTo>
                <a:lnTo>
                  <a:pt x="9111" y="8733"/>
                </a:lnTo>
                <a:lnTo>
                  <a:pt x="9095" y="8700"/>
                </a:lnTo>
                <a:lnTo>
                  <a:pt x="9080" y="8666"/>
                </a:lnTo>
                <a:lnTo>
                  <a:pt x="9067" y="8634"/>
                </a:lnTo>
                <a:lnTo>
                  <a:pt x="9056" y="8602"/>
                </a:lnTo>
                <a:lnTo>
                  <a:pt x="9046" y="8573"/>
                </a:lnTo>
                <a:lnTo>
                  <a:pt x="9039" y="8546"/>
                </a:lnTo>
                <a:lnTo>
                  <a:pt x="9037" y="8534"/>
                </a:lnTo>
                <a:lnTo>
                  <a:pt x="9035" y="8523"/>
                </a:lnTo>
                <a:lnTo>
                  <a:pt x="9033" y="8512"/>
                </a:lnTo>
                <a:lnTo>
                  <a:pt x="9033" y="8502"/>
                </a:lnTo>
                <a:lnTo>
                  <a:pt x="9026" y="8498"/>
                </a:lnTo>
                <a:lnTo>
                  <a:pt x="9020" y="8494"/>
                </a:lnTo>
                <a:lnTo>
                  <a:pt x="9015" y="8489"/>
                </a:lnTo>
                <a:lnTo>
                  <a:pt x="9010" y="8484"/>
                </a:lnTo>
                <a:lnTo>
                  <a:pt x="9004" y="8478"/>
                </a:lnTo>
                <a:lnTo>
                  <a:pt x="9000" y="8472"/>
                </a:lnTo>
                <a:lnTo>
                  <a:pt x="8997" y="8465"/>
                </a:lnTo>
                <a:lnTo>
                  <a:pt x="8994" y="8459"/>
                </a:lnTo>
                <a:lnTo>
                  <a:pt x="8989" y="8444"/>
                </a:lnTo>
                <a:lnTo>
                  <a:pt x="8986" y="8429"/>
                </a:lnTo>
                <a:lnTo>
                  <a:pt x="8984" y="8414"/>
                </a:lnTo>
                <a:lnTo>
                  <a:pt x="8984" y="8399"/>
                </a:lnTo>
                <a:lnTo>
                  <a:pt x="8985" y="8384"/>
                </a:lnTo>
                <a:lnTo>
                  <a:pt x="8988" y="8369"/>
                </a:lnTo>
                <a:lnTo>
                  <a:pt x="8991" y="8357"/>
                </a:lnTo>
                <a:lnTo>
                  <a:pt x="8996" y="8345"/>
                </a:lnTo>
                <a:lnTo>
                  <a:pt x="9001" y="8336"/>
                </a:lnTo>
                <a:lnTo>
                  <a:pt x="9007" y="8329"/>
                </a:lnTo>
                <a:lnTo>
                  <a:pt x="9011" y="8326"/>
                </a:lnTo>
                <a:lnTo>
                  <a:pt x="9015" y="8324"/>
                </a:lnTo>
                <a:lnTo>
                  <a:pt x="9019" y="8323"/>
                </a:lnTo>
                <a:lnTo>
                  <a:pt x="9022" y="8323"/>
                </a:lnTo>
                <a:lnTo>
                  <a:pt x="9024" y="8314"/>
                </a:lnTo>
                <a:lnTo>
                  <a:pt x="9024" y="8304"/>
                </a:lnTo>
                <a:lnTo>
                  <a:pt x="9024" y="8293"/>
                </a:lnTo>
                <a:lnTo>
                  <a:pt x="9022" y="8280"/>
                </a:lnTo>
                <a:lnTo>
                  <a:pt x="9018" y="8249"/>
                </a:lnTo>
                <a:lnTo>
                  <a:pt x="9011" y="8218"/>
                </a:lnTo>
                <a:lnTo>
                  <a:pt x="9002" y="8185"/>
                </a:lnTo>
                <a:lnTo>
                  <a:pt x="8994" y="8153"/>
                </a:lnTo>
                <a:lnTo>
                  <a:pt x="8986" y="8123"/>
                </a:lnTo>
                <a:lnTo>
                  <a:pt x="8978" y="8098"/>
                </a:lnTo>
                <a:lnTo>
                  <a:pt x="8977" y="8090"/>
                </a:lnTo>
                <a:lnTo>
                  <a:pt x="8977" y="8081"/>
                </a:lnTo>
                <a:lnTo>
                  <a:pt x="8978" y="8073"/>
                </a:lnTo>
                <a:lnTo>
                  <a:pt x="8980" y="8064"/>
                </a:lnTo>
                <a:lnTo>
                  <a:pt x="8986" y="8047"/>
                </a:lnTo>
                <a:lnTo>
                  <a:pt x="8995" y="8029"/>
                </a:lnTo>
                <a:lnTo>
                  <a:pt x="9004" y="8010"/>
                </a:lnTo>
                <a:lnTo>
                  <a:pt x="9014" y="7991"/>
                </a:lnTo>
                <a:lnTo>
                  <a:pt x="9017" y="7981"/>
                </a:lnTo>
                <a:lnTo>
                  <a:pt x="9020" y="7972"/>
                </a:lnTo>
                <a:lnTo>
                  <a:pt x="9022" y="7962"/>
                </a:lnTo>
                <a:lnTo>
                  <a:pt x="9022" y="7952"/>
                </a:lnTo>
                <a:lnTo>
                  <a:pt x="9023" y="7901"/>
                </a:lnTo>
                <a:lnTo>
                  <a:pt x="9024" y="7854"/>
                </a:lnTo>
                <a:lnTo>
                  <a:pt x="9026" y="7832"/>
                </a:lnTo>
                <a:lnTo>
                  <a:pt x="9028" y="7811"/>
                </a:lnTo>
                <a:lnTo>
                  <a:pt x="9031" y="7791"/>
                </a:lnTo>
                <a:lnTo>
                  <a:pt x="9034" y="7770"/>
                </a:lnTo>
                <a:lnTo>
                  <a:pt x="9039" y="7748"/>
                </a:lnTo>
                <a:lnTo>
                  <a:pt x="9045" y="7727"/>
                </a:lnTo>
                <a:lnTo>
                  <a:pt x="9052" y="7706"/>
                </a:lnTo>
                <a:lnTo>
                  <a:pt x="9060" y="7683"/>
                </a:lnTo>
                <a:lnTo>
                  <a:pt x="9069" y="7660"/>
                </a:lnTo>
                <a:lnTo>
                  <a:pt x="9080" y="7635"/>
                </a:lnTo>
                <a:lnTo>
                  <a:pt x="9093" y="7608"/>
                </a:lnTo>
                <a:lnTo>
                  <a:pt x="9107" y="7579"/>
                </a:lnTo>
                <a:lnTo>
                  <a:pt x="9117" y="7561"/>
                </a:lnTo>
                <a:lnTo>
                  <a:pt x="9128" y="7543"/>
                </a:lnTo>
                <a:lnTo>
                  <a:pt x="9139" y="7524"/>
                </a:lnTo>
                <a:lnTo>
                  <a:pt x="9150" y="7506"/>
                </a:lnTo>
                <a:lnTo>
                  <a:pt x="9161" y="7485"/>
                </a:lnTo>
                <a:lnTo>
                  <a:pt x="9172" y="7465"/>
                </a:lnTo>
                <a:lnTo>
                  <a:pt x="9182" y="7444"/>
                </a:lnTo>
                <a:lnTo>
                  <a:pt x="9191" y="7422"/>
                </a:lnTo>
                <a:lnTo>
                  <a:pt x="9199" y="7403"/>
                </a:lnTo>
                <a:lnTo>
                  <a:pt x="9206" y="7390"/>
                </a:lnTo>
                <a:lnTo>
                  <a:pt x="9213" y="7380"/>
                </a:lnTo>
                <a:lnTo>
                  <a:pt x="9219" y="7373"/>
                </a:lnTo>
                <a:lnTo>
                  <a:pt x="9226" y="7368"/>
                </a:lnTo>
                <a:lnTo>
                  <a:pt x="9231" y="7366"/>
                </a:lnTo>
                <a:lnTo>
                  <a:pt x="9237" y="7365"/>
                </a:lnTo>
                <a:lnTo>
                  <a:pt x="9243" y="7365"/>
                </a:lnTo>
                <a:lnTo>
                  <a:pt x="9249" y="7365"/>
                </a:lnTo>
                <a:lnTo>
                  <a:pt x="9256" y="7364"/>
                </a:lnTo>
                <a:lnTo>
                  <a:pt x="9264" y="7363"/>
                </a:lnTo>
                <a:lnTo>
                  <a:pt x="9271" y="7359"/>
                </a:lnTo>
                <a:lnTo>
                  <a:pt x="9279" y="7354"/>
                </a:lnTo>
                <a:lnTo>
                  <a:pt x="9288" y="7345"/>
                </a:lnTo>
                <a:lnTo>
                  <a:pt x="9297" y="7334"/>
                </a:lnTo>
                <a:lnTo>
                  <a:pt x="9308" y="7317"/>
                </a:lnTo>
                <a:lnTo>
                  <a:pt x="9318" y="7311"/>
                </a:lnTo>
                <a:lnTo>
                  <a:pt x="9328" y="7304"/>
                </a:lnTo>
                <a:lnTo>
                  <a:pt x="9337" y="7295"/>
                </a:lnTo>
                <a:lnTo>
                  <a:pt x="9346" y="7286"/>
                </a:lnTo>
                <a:lnTo>
                  <a:pt x="9364" y="7264"/>
                </a:lnTo>
                <a:lnTo>
                  <a:pt x="9381" y="7239"/>
                </a:lnTo>
                <a:lnTo>
                  <a:pt x="9399" y="7214"/>
                </a:lnTo>
                <a:lnTo>
                  <a:pt x="9417" y="7190"/>
                </a:lnTo>
                <a:lnTo>
                  <a:pt x="9426" y="7179"/>
                </a:lnTo>
                <a:lnTo>
                  <a:pt x="9435" y="7168"/>
                </a:lnTo>
                <a:lnTo>
                  <a:pt x="9445" y="7158"/>
                </a:lnTo>
                <a:lnTo>
                  <a:pt x="9456" y="7148"/>
                </a:lnTo>
                <a:lnTo>
                  <a:pt x="9464" y="7137"/>
                </a:lnTo>
                <a:lnTo>
                  <a:pt x="9470" y="7126"/>
                </a:lnTo>
                <a:lnTo>
                  <a:pt x="9472" y="7122"/>
                </a:lnTo>
                <a:lnTo>
                  <a:pt x="9474" y="7116"/>
                </a:lnTo>
                <a:lnTo>
                  <a:pt x="9475" y="7112"/>
                </a:lnTo>
                <a:lnTo>
                  <a:pt x="9475" y="7108"/>
                </a:lnTo>
                <a:lnTo>
                  <a:pt x="9475" y="7104"/>
                </a:lnTo>
                <a:lnTo>
                  <a:pt x="9474" y="7100"/>
                </a:lnTo>
                <a:lnTo>
                  <a:pt x="9473" y="7095"/>
                </a:lnTo>
                <a:lnTo>
                  <a:pt x="9471" y="7091"/>
                </a:lnTo>
                <a:lnTo>
                  <a:pt x="9465" y="7083"/>
                </a:lnTo>
                <a:lnTo>
                  <a:pt x="9456" y="7074"/>
                </a:lnTo>
                <a:lnTo>
                  <a:pt x="9459" y="7072"/>
                </a:lnTo>
                <a:lnTo>
                  <a:pt x="9463" y="7067"/>
                </a:lnTo>
                <a:lnTo>
                  <a:pt x="9467" y="7058"/>
                </a:lnTo>
                <a:lnTo>
                  <a:pt x="9472" y="7048"/>
                </a:lnTo>
                <a:lnTo>
                  <a:pt x="9484" y="7021"/>
                </a:lnTo>
                <a:lnTo>
                  <a:pt x="9497" y="6987"/>
                </a:lnTo>
                <a:lnTo>
                  <a:pt x="9509" y="6953"/>
                </a:lnTo>
                <a:lnTo>
                  <a:pt x="9521" y="6920"/>
                </a:lnTo>
                <a:lnTo>
                  <a:pt x="9525" y="6906"/>
                </a:lnTo>
                <a:lnTo>
                  <a:pt x="9528" y="6893"/>
                </a:lnTo>
                <a:lnTo>
                  <a:pt x="9530" y="6882"/>
                </a:lnTo>
                <a:lnTo>
                  <a:pt x="9530" y="6874"/>
                </a:lnTo>
                <a:lnTo>
                  <a:pt x="9555" y="6837"/>
                </a:lnTo>
                <a:lnTo>
                  <a:pt x="9570" y="6815"/>
                </a:lnTo>
                <a:lnTo>
                  <a:pt x="9575" y="6808"/>
                </a:lnTo>
                <a:lnTo>
                  <a:pt x="9578" y="6803"/>
                </a:lnTo>
                <a:lnTo>
                  <a:pt x="9581" y="6801"/>
                </a:lnTo>
                <a:lnTo>
                  <a:pt x="9583" y="6800"/>
                </a:lnTo>
                <a:lnTo>
                  <a:pt x="9588" y="6802"/>
                </a:lnTo>
                <a:lnTo>
                  <a:pt x="9596" y="6808"/>
                </a:lnTo>
                <a:lnTo>
                  <a:pt x="9602" y="6811"/>
                </a:lnTo>
                <a:lnTo>
                  <a:pt x="9611" y="6815"/>
                </a:lnTo>
                <a:lnTo>
                  <a:pt x="9622" y="6818"/>
                </a:lnTo>
                <a:lnTo>
                  <a:pt x="9635" y="6820"/>
                </a:lnTo>
                <a:lnTo>
                  <a:pt x="9662" y="6788"/>
                </a:lnTo>
                <a:lnTo>
                  <a:pt x="9693" y="6750"/>
                </a:lnTo>
                <a:lnTo>
                  <a:pt x="9701" y="6740"/>
                </a:lnTo>
                <a:lnTo>
                  <a:pt x="9709" y="6731"/>
                </a:lnTo>
                <a:lnTo>
                  <a:pt x="9718" y="6724"/>
                </a:lnTo>
                <a:lnTo>
                  <a:pt x="9727" y="6717"/>
                </a:lnTo>
                <a:lnTo>
                  <a:pt x="9736" y="6711"/>
                </a:lnTo>
                <a:lnTo>
                  <a:pt x="9744" y="6707"/>
                </a:lnTo>
                <a:lnTo>
                  <a:pt x="9753" y="6704"/>
                </a:lnTo>
                <a:lnTo>
                  <a:pt x="9762" y="6703"/>
                </a:lnTo>
                <a:lnTo>
                  <a:pt x="9767" y="6696"/>
                </a:lnTo>
                <a:lnTo>
                  <a:pt x="9772" y="6689"/>
                </a:lnTo>
                <a:lnTo>
                  <a:pt x="9778" y="6683"/>
                </a:lnTo>
                <a:lnTo>
                  <a:pt x="9784" y="6676"/>
                </a:lnTo>
                <a:lnTo>
                  <a:pt x="9790" y="6671"/>
                </a:lnTo>
                <a:lnTo>
                  <a:pt x="9797" y="6666"/>
                </a:lnTo>
                <a:lnTo>
                  <a:pt x="9805" y="6661"/>
                </a:lnTo>
                <a:lnTo>
                  <a:pt x="9812" y="6657"/>
                </a:lnTo>
                <a:lnTo>
                  <a:pt x="9820" y="6653"/>
                </a:lnTo>
                <a:lnTo>
                  <a:pt x="9828" y="6650"/>
                </a:lnTo>
                <a:lnTo>
                  <a:pt x="9837" y="6647"/>
                </a:lnTo>
                <a:lnTo>
                  <a:pt x="9845" y="6645"/>
                </a:lnTo>
                <a:lnTo>
                  <a:pt x="9862" y="6642"/>
                </a:lnTo>
                <a:lnTo>
                  <a:pt x="9879" y="6641"/>
                </a:lnTo>
                <a:lnTo>
                  <a:pt x="9879" y="6646"/>
                </a:lnTo>
                <a:lnTo>
                  <a:pt x="9880" y="6651"/>
                </a:lnTo>
                <a:lnTo>
                  <a:pt x="9883" y="6655"/>
                </a:lnTo>
                <a:lnTo>
                  <a:pt x="9886" y="6658"/>
                </a:lnTo>
                <a:lnTo>
                  <a:pt x="9890" y="6660"/>
                </a:lnTo>
                <a:lnTo>
                  <a:pt x="9895" y="6662"/>
                </a:lnTo>
                <a:lnTo>
                  <a:pt x="9901" y="6663"/>
                </a:lnTo>
                <a:lnTo>
                  <a:pt x="9907" y="6664"/>
                </a:lnTo>
                <a:lnTo>
                  <a:pt x="9920" y="6664"/>
                </a:lnTo>
                <a:lnTo>
                  <a:pt x="9935" y="6662"/>
                </a:lnTo>
                <a:lnTo>
                  <a:pt x="9951" y="6658"/>
                </a:lnTo>
                <a:lnTo>
                  <a:pt x="9967" y="6654"/>
                </a:lnTo>
                <a:lnTo>
                  <a:pt x="10001" y="6643"/>
                </a:lnTo>
                <a:lnTo>
                  <a:pt x="10033" y="6632"/>
                </a:lnTo>
                <a:lnTo>
                  <a:pt x="10056" y="6623"/>
                </a:lnTo>
                <a:lnTo>
                  <a:pt x="10070" y="6620"/>
                </a:lnTo>
                <a:lnTo>
                  <a:pt x="10073" y="6613"/>
                </a:lnTo>
                <a:lnTo>
                  <a:pt x="10077" y="6608"/>
                </a:lnTo>
                <a:lnTo>
                  <a:pt x="10082" y="6602"/>
                </a:lnTo>
                <a:lnTo>
                  <a:pt x="10088" y="6596"/>
                </a:lnTo>
                <a:lnTo>
                  <a:pt x="10101" y="6585"/>
                </a:lnTo>
                <a:lnTo>
                  <a:pt x="10117" y="6574"/>
                </a:lnTo>
                <a:lnTo>
                  <a:pt x="10135" y="6563"/>
                </a:lnTo>
                <a:lnTo>
                  <a:pt x="10155" y="6553"/>
                </a:lnTo>
                <a:lnTo>
                  <a:pt x="10175" y="6543"/>
                </a:lnTo>
                <a:lnTo>
                  <a:pt x="10196" y="6533"/>
                </a:lnTo>
                <a:lnTo>
                  <a:pt x="10217" y="6525"/>
                </a:lnTo>
                <a:lnTo>
                  <a:pt x="10238" y="6517"/>
                </a:lnTo>
                <a:lnTo>
                  <a:pt x="10258" y="6510"/>
                </a:lnTo>
                <a:lnTo>
                  <a:pt x="10278" y="6504"/>
                </a:lnTo>
                <a:lnTo>
                  <a:pt x="10296" y="6499"/>
                </a:lnTo>
                <a:lnTo>
                  <a:pt x="10311" y="6496"/>
                </a:lnTo>
                <a:lnTo>
                  <a:pt x="10324" y="6493"/>
                </a:lnTo>
                <a:lnTo>
                  <a:pt x="10334" y="6493"/>
                </a:lnTo>
                <a:lnTo>
                  <a:pt x="10335" y="6485"/>
                </a:lnTo>
                <a:lnTo>
                  <a:pt x="10338" y="6480"/>
                </a:lnTo>
                <a:lnTo>
                  <a:pt x="10343" y="6475"/>
                </a:lnTo>
                <a:lnTo>
                  <a:pt x="10350" y="6472"/>
                </a:lnTo>
                <a:lnTo>
                  <a:pt x="10359" y="6469"/>
                </a:lnTo>
                <a:lnTo>
                  <a:pt x="10369" y="6467"/>
                </a:lnTo>
                <a:lnTo>
                  <a:pt x="10380" y="6465"/>
                </a:lnTo>
                <a:lnTo>
                  <a:pt x="10393" y="6464"/>
                </a:lnTo>
                <a:lnTo>
                  <a:pt x="10423" y="6464"/>
                </a:lnTo>
                <a:lnTo>
                  <a:pt x="10456" y="6466"/>
                </a:lnTo>
                <a:lnTo>
                  <a:pt x="10491" y="6469"/>
                </a:lnTo>
                <a:lnTo>
                  <a:pt x="10529" y="6473"/>
                </a:lnTo>
                <a:lnTo>
                  <a:pt x="10605" y="6484"/>
                </a:lnTo>
                <a:lnTo>
                  <a:pt x="10676" y="6495"/>
                </a:lnTo>
                <a:lnTo>
                  <a:pt x="10706" y="6499"/>
                </a:lnTo>
                <a:lnTo>
                  <a:pt x="10732" y="6502"/>
                </a:lnTo>
                <a:lnTo>
                  <a:pt x="10753" y="6504"/>
                </a:lnTo>
                <a:lnTo>
                  <a:pt x="10768" y="6503"/>
                </a:lnTo>
                <a:close/>
                <a:moveTo>
                  <a:pt x="10938" y="6418"/>
                </a:moveTo>
                <a:lnTo>
                  <a:pt x="10941" y="6408"/>
                </a:lnTo>
                <a:lnTo>
                  <a:pt x="10945" y="6400"/>
                </a:lnTo>
                <a:lnTo>
                  <a:pt x="10949" y="6394"/>
                </a:lnTo>
                <a:lnTo>
                  <a:pt x="10953" y="6390"/>
                </a:lnTo>
                <a:lnTo>
                  <a:pt x="10958" y="6387"/>
                </a:lnTo>
                <a:lnTo>
                  <a:pt x="10963" y="6387"/>
                </a:lnTo>
                <a:lnTo>
                  <a:pt x="10969" y="6387"/>
                </a:lnTo>
                <a:lnTo>
                  <a:pt x="10974" y="6389"/>
                </a:lnTo>
                <a:lnTo>
                  <a:pt x="10999" y="6402"/>
                </a:lnTo>
                <a:lnTo>
                  <a:pt x="11026" y="6415"/>
                </a:lnTo>
                <a:lnTo>
                  <a:pt x="11040" y="6419"/>
                </a:lnTo>
                <a:lnTo>
                  <a:pt x="11052" y="6423"/>
                </a:lnTo>
                <a:lnTo>
                  <a:pt x="11061" y="6425"/>
                </a:lnTo>
                <a:lnTo>
                  <a:pt x="11069" y="6426"/>
                </a:lnTo>
                <a:lnTo>
                  <a:pt x="11076" y="6426"/>
                </a:lnTo>
                <a:lnTo>
                  <a:pt x="11081" y="6425"/>
                </a:lnTo>
                <a:lnTo>
                  <a:pt x="11086" y="6423"/>
                </a:lnTo>
                <a:lnTo>
                  <a:pt x="11090" y="6421"/>
                </a:lnTo>
                <a:lnTo>
                  <a:pt x="11098" y="6415"/>
                </a:lnTo>
                <a:lnTo>
                  <a:pt x="11107" y="6406"/>
                </a:lnTo>
                <a:lnTo>
                  <a:pt x="11113" y="6402"/>
                </a:lnTo>
                <a:lnTo>
                  <a:pt x="11120" y="6397"/>
                </a:lnTo>
                <a:lnTo>
                  <a:pt x="11128" y="6392"/>
                </a:lnTo>
                <a:lnTo>
                  <a:pt x="11138" y="6387"/>
                </a:lnTo>
                <a:lnTo>
                  <a:pt x="11138" y="6402"/>
                </a:lnTo>
                <a:lnTo>
                  <a:pt x="11137" y="6415"/>
                </a:lnTo>
                <a:lnTo>
                  <a:pt x="11136" y="6427"/>
                </a:lnTo>
                <a:lnTo>
                  <a:pt x="11134" y="6437"/>
                </a:lnTo>
                <a:lnTo>
                  <a:pt x="11132" y="6446"/>
                </a:lnTo>
                <a:lnTo>
                  <a:pt x="11129" y="6454"/>
                </a:lnTo>
                <a:lnTo>
                  <a:pt x="11125" y="6460"/>
                </a:lnTo>
                <a:lnTo>
                  <a:pt x="11121" y="6465"/>
                </a:lnTo>
                <a:lnTo>
                  <a:pt x="11117" y="6469"/>
                </a:lnTo>
                <a:lnTo>
                  <a:pt x="11113" y="6472"/>
                </a:lnTo>
                <a:lnTo>
                  <a:pt x="11108" y="6473"/>
                </a:lnTo>
                <a:lnTo>
                  <a:pt x="11102" y="6474"/>
                </a:lnTo>
                <a:lnTo>
                  <a:pt x="11096" y="6474"/>
                </a:lnTo>
                <a:lnTo>
                  <a:pt x="11090" y="6474"/>
                </a:lnTo>
                <a:lnTo>
                  <a:pt x="11084" y="6472"/>
                </a:lnTo>
                <a:lnTo>
                  <a:pt x="11077" y="6470"/>
                </a:lnTo>
                <a:lnTo>
                  <a:pt x="11047" y="6458"/>
                </a:lnTo>
                <a:lnTo>
                  <a:pt x="11012" y="6441"/>
                </a:lnTo>
                <a:lnTo>
                  <a:pt x="10994" y="6433"/>
                </a:lnTo>
                <a:lnTo>
                  <a:pt x="10976" y="6427"/>
                </a:lnTo>
                <a:lnTo>
                  <a:pt x="10966" y="6424"/>
                </a:lnTo>
                <a:lnTo>
                  <a:pt x="10957" y="6421"/>
                </a:lnTo>
                <a:lnTo>
                  <a:pt x="10947" y="6419"/>
                </a:lnTo>
                <a:lnTo>
                  <a:pt x="10938" y="6418"/>
                </a:lnTo>
                <a:close/>
                <a:moveTo>
                  <a:pt x="13446" y="10831"/>
                </a:moveTo>
                <a:lnTo>
                  <a:pt x="13446" y="10819"/>
                </a:lnTo>
                <a:lnTo>
                  <a:pt x="13447" y="10809"/>
                </a:lnTo>
                <a:lnTo>
                  <a:pt x="13449" y="10803"/>
                </a:lnTo>
                <a:lnTo>
                  <a:pt x="13452" y="10798"/>
                </a:lnTo>
                <a:lnTo>
                  <a:pt x="13462" y="10789"/>
                </a:lnTo>
                <a:lnTo>
                  <a:pt x="13477" y="10778"/>
                </a:lnTo>
                <a:lnTo>
                  <a:pt x="13481" y="10797"/>
                </a:lnTo>
                <a:lnTo>
                  <a:pt x="13485" y="10812"/>
                </a:lnTo>
                <a:lnTo>
                  <a:pt x="13486" y="10818"/>
                </a:lnTo>
                <a:lnTo>
                  <a:pt x="13486" y="10824"/>
                </a:lnTo>
                <a:lnTo>
                  <a:pt x="13486" y="10828"/>
                </a:lnTo>
                <a:lnTo>
                  <a:pt x="13485" y="10832"/>
                </a:lnTo>
                <a:lnTo>
                  <a:pt x="13484" y="10834"/>
                </a:lnTo>
                <a:lnTo>
                  <a:pt x="13482" y="10836"/>
                </a:lnTo>
                <a:lnTo>
                  <a:pt x="13479" y="10838"/>
                </a:lnTo>
                <a:lnTo>
                  <a:pt x="13474" y="10838"/>
                </a:lnTo>
                <a:lnTo>
                  <a:pt x="13463" y="10836"/>
                </a:lnTo>
                <a:lnTo>
                  <a:pt x="13446" y="10831"/>
                </a:lnTo>
                <a:close/>
                <a:moveTo>
                  <a:pt x="9520" y="5179"/>
                </a:moveTo>
                <a:lnTo>
                  <a:pt x="9509" y="5169"/>
                </a:lnTo>
                <a:lnTo>
                  <a:pt x="9503" y="5159"/>
                </a:lnTo>
                <a:lnTo>
                  <a:pt x="9498" y="5150"/>
                </a:lnTo>
                <a:lnTo>
                  <a:pt x="9495" y="5141"/>
                </a:lnTo>
                <a:lnTo>
                  <a:pt x="9494" y="5133"/>
                </a:lnTo>
                <a:lnTo>
                  <a:pt x="9494" y="5124"/>
                </a:lnTo>
                <a:lnTo>
                  <a:pt x="9495" y="5116"/>
                </a:lnTo>
                <a:lnTo>
                  <a:pt x="9498" y="5107"/>
                </a:lnTo>
                <a:lnTo>
                  <a:pt x="9505" y="5090"/>
                </a:lnTo>
                <a:lnTo>
                  <a:pt x="9515" y="5072"/>
                </a:lnTo>
                <a:lnTo>
                  <a:pt x="9520" y="5063"/>
                </a:lnTo>
                <a:lnTo>
                  <a:pt x="9524" y="5053"/>
                </a:lnTo>
                <a:lnTo>
                  <a:pt x="9528" y="5043"/>
                </a:lnTo>
                <a:lnTo>
                  <a:pt x="9530" y="5032"/>
                </a:lnTo>
                <a:lnTo>
                  <a:pt x="9522" y="5029"/>
                </a:lnTo>
                <a:lnTo>
                  <a:pt x="9515" y="5026"/>
                </a:lnTo>
                <a:lnTo>
                  <a:pt x="9508" y="5024"/>
                </a:lnTo>
                <a:lnTo>
                  <a:pt x="9504" y="5021"/>
                </a:lnTo>
                <a:lnTo>
                  <a:pt x="9502" y="5019"/>
                </a:lnTo>
                <a:lnTo>
                  <a:pt x="9501" y="5016"/>
                </a:lnTo>
                <a:lnTo>
                  <a:pt x="9501" y="5014"/>
                </a:lnTo>
                <a:lnTo>
                  <a:pt x="9502" y="5011"/>
                </a:lnTo>
                <a:lnTo>
                  <a:pt x="9508" y="5006"/>
                </a:lnTo>
                <a:lnTo>
                  <a:pt x="9519" y="5000"/>
                </a:lnTo>
                <a:lnTo>
                  <a:pt x="9531" y="4995"/>
                </a:lnTo>
                <a:lnTo>
                  <a:pt x="9546" y="4989"/>
                </a:lnTo>
                <a:lnTo>
                  <a:pt x="9578" y="4979"/>
                </a:lnTo>
                <a:lnTo>
                  <a:pt x="9609" y="4967"/>
                </a:lnTo>
                <a:lnTo>
                  <a:pt x="9623" y="4962"/>
                </a:lnTo>
                <a:lnTo>
                  <a:pt x="9634" y="4957"/>
                </a:lnTo>
                <a:lnTo>
                  <a:pt x="9638" y="4954"/>
                </a:lnTo>
                <a:lnTo>
                  <a:pt x="9643" y="4952"/>
                </a:lnTo>
                <a:lnTo>
                  <a:pt x="9645" y="4949"/>
                </a:lnTo>
                <a:lnTo>
                  <a:pt x="9647" y="4947"/>
                </a:lnTo>
                <a:lnTo>
                  <a:pt x="9640" y="4946"/>
                </a:lnTo>
                <a:lnTo>
                  <a:pt x="9633" y="4945"/>
                </a:lnTo>
                <a:lnTo>
                  <a:pt x="9627" y="4943"/>
                </a:lnTo>
                <a:lnTo>
                  <a:pt x="9622" y="4940"/>
                </a:lnTo>
                <a:lnTo>
                  <a:pt x="9617" y="4937"/>
                </a:lnTo>
                <a:lnTo>
                  <a:pt x="9612" y="4933"/>
                </a:lnTo>
                <a:lnTo>
                  <a:pt x="9608" y="4929"/>
                </a:lnTo>
                <a:lnTo>
                  <a:pt x="9605" y="4925"/>
                </a:lnTo>
                <a:lnTo>
                  <a:pt x="9602" y="4920"/>
                </a:lnTo>
                <a:lnTo>
                  <a:pt x="9599" y="4914"/>
                </a:lnTo>
                <a:lnTo>
                  <a:pt x="9597" y="4909"/>
                </a:lnTo>
                <a:lnTo>
                  <a:pt x="9596" y="4903"/>
                </a:lnTo>
                <a:lnTo>
                  <a:pt x="9596" y="4897"/>
                </a:lnTo>
                <a:lnTo>
                  <a:pt x="9597" y="4891"/>
                </a:lnTo>
                <a:lnTo>
                  <a:pt x="9598" y="4885"/>
                </a:lnTo>
                <a:lnTo>
                  <a:pt x="9600" y="4880"/>
                </a:lnTo>
                <a:lnTo>
                  <a:pt x="9603" y="4874"/>
                </a:lnTo>
                <a:lnTo>
                  <a:pt x="9606" y="4871"/>
                </a:lnTo>
                <a:lnTo>
                  <a:pt x="9610" y="4870"/>
                </a:lnTo>
                <a:lnTo>
                  <a:pt x="9613" y="4871"/>
                </a:lnTo>
                <a:lnTo>
                  <a:pt x="9622" y="4876"/>
                </a:lnTo>
                <a:lnTo>
                  <a:pt x="9631" y="4885"/>
                </a:lnTo>
                <a:lnTo>
                  <a:pt x="9642" y="4895"/>
                </a:lnTo>
                <a:lnTo>
                  <a:pt x="9653" y="4903"/>
                </a:lnTo>
                <a:lnTo>
                  <a:pt x="9659" y="4906"/>
                </a:lnTo>
                <a:lnTo>
                  <a:pt x="9665" y="4907"/>
                </a:lnTo>
                <a:lnTo>
                  <a:pt x="9672" y="4907"/>
                </a:lnTo>
                <a:lnTo>
                  <a:pt x="9678" y="4905"/>
                </a:lnTo>
                <a:lnTo>
                  <a:pt x="9696" y="4901"/>
                </a:lnTo>
                <a:lnTo>
                  <a:pt x="9715" y="4894"/>
                </a:lnTo>
                <a:lnTo>
                  <a:pt x="9725" y="4891"/>
                </a:lnTo>
                <a:lnTo>
                  <a:pt x="9734" y="4888"/>
                </a:lnTo>
                <a:lnTo>
                  <a:pt x="9743" y="4885"/>
                </a:lnTo>
                <a:lnTo>
                  <a:pt x="9752" y="4884"/>
                </a:lnTo>
                <a:lnTo>
                  <a:pt x="9755" y="4884"/>
                </a:lnTo>
                <a:lnTo>
                  <a:pt x="9759" y="4885"/>
                </a:lnTo>
                <a:lnTo>
                  <a:pt x="9762" y="4886"/>
                </a:lnTo>
                <a:lnTo>
                  <a:pt x="9766" y="4887"/>
                </a:lnTo>
                <a:lnTo>
                  <a:pt x="9768" y="4889"/>
                </a:lnTo>
                <a:lnTo>
                  <a:pt x="9770" y="4892"/>
                </a:lnTo>
                <a:lnTo>
                  <a:pt x="9772" y="4895"/>
                </a:lnTo>
                <a:lnTo>
                  <a:pt x="9773" y="4899"/>
                </a:lnTo>
                <a:lnTo>
                  <a:pt x="9774" y="4903"/>
                </a:lnTo>
                <a:lnTo>
                  <a:pt x="9774" y="4909"/>
                </a:lnTo>
                <a:lnTo>
                  <a:pt x="9774" y="4915"/>
                </a:lnTo>
                <a:lnTo>
                  <a:pt x="9773" y="4922"/>
                </a:lnTo>
                <a:lnTo>
                  <a:pt x="9769" y="4939"/>
                </a:lnTo>
                <a:lnTo>
                  <a:pt x="9761" y="4960"/>
                </a:lnTo>
                <a:lnTo>
                  <a:pt x="9753" y="4984"/>
                </a:lnTo>
                <a:lnTo>
                  <a:pt x="9745" y="5006"/>
                </a:lnTo>
                <a:lnTo>
                  <a:pt x="9736" y="5027"/>
                </a:lnTo>
                <a:lnTo>
                  <a:pt x="9727" y="5047"/>
                </a:lnTo>
                <a:lnTo>
                  <a:pt x="9718" y="5066"/>
                </a:lnTo>
                <a:lnTo>
                  <a:pt x="9707" y="5084"/>
                </a:lnTo>
                <a:lnTo>
                  <a:pt x="9696" y="5100"/>
                </a:lnTo>
                <a:lnTo>
                  <a:pt x="9684" y="5116"/>
                </a:lnTo>
                <a:lnTo>
                  <a:pt x="9677" y="5123"/>
                </a:lnTo>
                <a:lnTo>
                  <a:pt x="9670" y="5130"/>
                </a:lnTo>
                <a:lnTo>
                  <a:pt x="9662" y="5136"/>
                </a:lnTo>
                <a:lnTo>
                  <a:pt x="9654" y="5142"/>
                </a:lnTo>
                <a:lnTo>
                  <a:pt x="9646" y="5148"/>
                </a:lnTo>
                <a:lnTo>
                  <a:pt x="9636" y="5153"/>
                </a:lnTo>
                <a:lnTo>
                  <a:pt x="9627" y="5158"/>
                </a:lnTo>
                <a:lnTo>
                  <a:pt x="9617" y="5162"/>
                </a:lnTo>
                <a:lnTo>
                  <a:pt x="9607" y="5166"/>
                </a:lnTo>
                <a:lnTo>
                  <a:pt x="9596" y="5169"/>
                </a:lnTo>
                <a:lnTo>
                  <a:pt x="9585" y="5172"/>
                </a:lnTo>
                <a:lnTo>
                  <a:pt x="9573" y="5175"/>
                </a:lnTo>
                <a:lnTo>
                  <a:pt x="9561" y="5177"/>
                </a:lnTo>
                <a:lnTo>
                  <a:pt x="9548" y="5178"/>
                </a:lnTo>
                <a:lnTo>
                  <a:pt x="9534" y="5179"/>
                </a:lnTo>
                <a:lnTo>
                  <a:pt x="9520" y="5179"/>
                </a:lnTo>
                <a:close/>
                <a:moveTo>
                  <a:pt x="8577" y="3974"/>
                </a:moveTo>
                <a:lnTo>
                  <a:pt x="8596" y="3965"/>
                </a:lnTo>
                <a:lnTo>
                  <a:pt x="8640" y="3947"/>
                </a:lnTo>
                <a:lnTo>
                  <a:pt x="8664" y="3937"/>
                </a:lnTo>
                <a:lnTo>
                  <a:pt x="8687" y="3929"/>
                </a:lnTo>
                <a:lnTo>
                  <a:pt x="8704" y="3923"/>
                </a:lnTo>
                <a:lnTo>
                  <a:pt x="8715" y="3920"/>
                </a:lnTo>
                <a:lnTo>
                  <a:pt x="8714" y="3927"/>
                </a:lnTo>
                <a:lnTo>
                  <a:pt x="8712" y="3931"/>
                </a:lnTo>
                <a:lnTo>
                  <a:pt x="8709" y="3934"/>
                </a:lnTo>
                <a:lnTo>
                  <a:pt x="8707" y="3935"/>
                </a:lnTo>
                <a:lnTo>
                  <a:pt x="8707" y="3936"/>
                </a:lnTo>
                <a:lnTo>
                  <a:pt x="8709" y="3937"/>
                </a:lnTo>
                <a:lnTo>
                  <a:pt x="8715" y="3939"/>
                </a:lnTo>
                <a:lnTo>
                  <a:pt x="8725" y="3941"/>
                </a:lnTo>
                <a:lnTo>
                  <a:pt x="8727" y="3950"/>
                </a:lnTo>
                <a:lnTo>
                  <a:pt x="8727" y="3961"/>
                </a:lnTo>
                <a:lnTo>
                  <a:pt x="8727" y="3974"/>
                </a:lnTo>
                <a:lnTo>
                  <a:pt x="8727" y="3986"/>
                </a:lnTo>
                <a:lnTo>
                  <a:pt x="8725" y="4007"/>
                </a:lnTo>
                <a:lnTo>
                  <a:pt x="8725" y="4016"/>
                </a:lnTo>
                <a:lnTo>
                  <a:pt x="8726" y="4018"/>
                </a:lnTo>
                <a:lnTo>
                  <a:pt x="8727" y="4020"/>
                </a:lnTo>
                <a:lnTo>
                  <a:pt x="8729" y="4021"/>
                </a:lnTo>
                <a:lnTo>
                  <a:pt x="8732" y="4022"/>
                </a:lnTo>
                <a:lnTo>
                  <a:pt x="8740" y="4022"/>
                </a:lnTo>
                <a:lnTo>
                  <a:pt x="8751" y="4022"/>
                </a:lnTo>
                <a:lnTo>
                  <a:pt x="8779" y="4017"/>
                </a:lnTo>
                <a:lnTo>
                  <a:pt x="8810" y="4010"/>
                </a:lnTo>
                <a:lnTo>
                  <a:pt x="8842" y="4001"/>
                </a:lnTo>
                <a:lnTo>
                  <a:pt x="8872" y="3993"/>
                </a:lnTo>
                <a:lnTo>
                  <a:pt x="8897" y="3986"/>
                </a:lnTo>
                <a:lnTo>
                  <a:pt x="8912" y="3983"/>
                </a:lnTo>
                <a:lnTo>
                  <a:pt x="8935" y="3979"/>
                </a:lnTo>
                <a:lnTo>
                  <a:pt x="8955" y="3974"/>
                </a:lnTo>
                <a:lnTo>
                  <a:pt x="8974" y="3967"/>
                </a:lnTo>
                <a:lnTo>
                  <a:pt x="8991" y="3961"/>
                </a:lnTo>
                <a:lnTo>
                  <a:pt x="9020" y="3949"/>
                </a:lnTo>
                <a:lnTo>
                  <a:pt x="9041" y="3941"/>
                </a:lnTo>
                <a:lnTo>
                  <a:pt x="9046" y="3940"/>
                </a:lnTo>
                <a:lnTo>
                  <a:pt x="9050" y="3940"/>
                </a:lnTo>
                <a:lnTo>
                  <a:pt x="9054" y="3940"/>
                </a:lnTo>
                <a:lnTo>
                  <a:pt x="9057" y="3940"/>
                </a:lnTo>
                <a:lnTo>
                  <a:pt x="9060" y="3942"/>
                </a:lnTo>
                <a:lnTo>
                  <a:pt x="9063" y="3944"/>
                </a:lnTo>
                <a:lnTo>
                  <a:pt x="9065" y="3947"/>
                </a:lnTo>
                <a:lnTo>
                  <a:pt x="9067" y="3950"/>
                </a:lnTo>
                <a:lnTo>
                  <a:pt x="9071" y="3960"/>
                </a:lnTo>
                <a:lnTo>
                  <a:pt x="9073" y="3975"/>
                </a:lnTo>
                <a:lnTo>
                  <a:pt x="9074" y="3993"/>
                </a:lnTo>
                <a:lnTo>
                  <a:pt x="9075" y="4016"/>
                </a:lnTo>
                <a:lnTo>
                  <a:pt x="9087" y="4020"/>
                </a:lnTo>
                <a:lnTo>
                  <a:pt x="9097" y="4022"/>
                </a:lnTo>
                <a:lnTo>
                  <a:pt x="9106" y="4024"/>
                </a:lnTo>
                <a:lnTo>
                  <a:pt x="9113" y="4024"/>
                </a:lnTo>
                <a:lnTo>
                  <a:pt x="9120" y="4022"/>
                </a:lnTo>
                <a:lnTo>
                  <a:pt x="9125" y="4020"/>
                </a:lnTo>
                <a:lnTo>
                  <a:pt x="9130" y="4017"/>
                </a:lnTo>
                <a:lnTo>
                  <a:pt x="9136" y="4014"/>
                </a:lnTo>
                <a:lnTo>
                  <a:pt x="9144" y="4005"/>
                </a:lnTo>
                <a:lnTo>
                  <a:pt x="9153" y="3994"/>
                </a:lnTo>
                <a:lnTo>
                  <a:pt x="9159" y="3989"/>
                </a:lnTo>
                <a:lnTo>
                  <a:pt x="9165" y="3984"/>
                </a:lnTo>
                <a:lnTo>
                  <a:pt x="9172" y="3979"/>
                </a:lnTo>
                <a:lnTo>
                  <a:pt x="9181" y="3974"/>
                </a:lnTo>
                <a:lnTo>
                  <a:pt x="9182" y="3984"/>
                </a:lnTo>
                <a:lnTo>
                  <a:pt x="9183" y="3992"/>
                </a:lnTo>
                <a:lnTo>
                  <a:pt x="9185" y="3999"/>
                </a:lnTo>
                <a:lnTo>
                  <a:pt x="9188" y="4006"/>
                </a:lnTo>
                <a:lnTo>
                  <a:pt x="9194" y="4017"/>
                </a:lnTo>
                <a:lnTo>
                  <a:pt x="9198" y="4026"/>
                </a:lnTo>
                <a:lnTo>
                  <a:pt x="9199" y="4030"/>
                </a:lnTo>
                <a:lnTo>
                  <a:pt x="9200" y="4034"/>
                </a:lnTo>
                <a:lnTo>
                  <a:pt x="9199" y="4038"/>
                </a:lnTo>
                <a:lnTo>
                  <a:pt x="9196" y="4043"/>
                </a:lnTo>
                <a:lnTo>
                  <a:pt x="9191" y="4048"/>
                </a:lnTo>
                <a:lnTo>
                  <a:pt x="9185" y="4054"/>
                </a:lnTo>
                <a:lnTo>
                  <a:pt x="9176" y="4060"/>
                </a:lnTo>
                <a:lnTo>
                  <a:pt x="9165" y="4068"/>
                </a:lnTo>
                <a:lnTo>
                  <a:pt x="9143" y="4081"/>
                </a:lnTo>
                <a:lnTo>
                  <a:pt x="9120" y="4092"/>
                </a:lnTo>
                <a:lnTo>
                  <a:pt x="9098" y="4103"/>
                </a:lnTo>
                <a:lnTo>
                  <a:pt x="9076" y="4110"/>
                </a:lnTo>
                <a:lnTo>
                  <a:pt x="9053" y="4115"/>
                </a:lnTo>
                <a:lnTo>
                  <a:pt x="9029" y="4119"/>
                </a:lnTo>
                <a:lnTo>
                  <a:pt x="9002" y="4121"/>
                </a:lnTo>
                <a:lnTo>
                  <a:pt x="8974" y="4122"/>
                </a:lnTo>
                <a:lnTo>
                  <a:pt x="8959" y="4123"/>
                </a:lnTo>
                <a:lnTo>
                  <a:pt x="8932" y="4126"/>
                </a:lnTo>
                <a:lnTo>
                  <a:pt x="8899" y="4131"/>
                </a:lnTo>
                <a:lnTo>
                  <a:pt x="8862" y="4135"/>
                </a:lnTo>
                <a:lnTo>
                  <a:pt x="8827" y="4138"/>
                </a:lnTo>
                <a:lnTo>
                  <a:pt x="8797" y="4140"/>
                </a:lnTo>
                <a:lnTo>
                  <a:pt x="8785" y="4139"/>
                </a:lnTo>
                <a:lnTo>
                  <a:pt x="8776" y="4138"/>
                </a:lnTo>
                <a:lnTo>
                  <a:pt x="8773" y="4137"/>
                </a:lnTo>
                <a:lnTo>
                  <a:pt x="8770" y="4135"/>
                </a:lnTo>
                <a:lnTo>
                  <a:pt x="8769" y="4134"/>
                </a:lnTo>
                <a:lnTo>
                  <a:pt x="8768" y="4132"/>
                </a:lnTo>
                <a:lnTo>
                  <a:pt x="8755" y="4132"/>
                </a:lnTo>
                <a:lnTo>
                  <a:pt x="8743" y="4131"/>
                </a:lnTo>
                <a:lnTo>
                  <a:pt x="8731" y="4129"/>
                </a:lnTo>
                <a:lnTo>
                  <a:pt x="8719" y="4127"/>
                </a:lnTo>
                <a:lnTo>
                  <a:pt x="8696" y="4121"/>
                </a:lnTo>
                <a:lnTo>
                  <a:pt x="8672" y="4114"/>
                </a:lnTo>
                <a:lnTo>
                  <a:pt x="8648" y="4107"/>
                </a:lnTo>
                <a:lnTo>
                  <a:pt x="8622" y="4100"/>
                </a:lnTo>
                <a:lnTo>
                  <a:pt x="8595" y="4093"/>
                </a:lnTo>
                <a:lnTo>
                  <a:pt x="8567" y="4089"/>
                </a:lnTo>
                <a:lnTo>
                  <a:pt x="8568" y="4083"/>
                </a:lnTo>
                <a:lnTo>
                  <a:pt x="8571" y="4075"/>
                </a:lnTo>
                <a:lnTo>
                  <a:pt x="8577" y="4067"/>
                </a:lnTo>
                <a:lnTo>
                  <a:pt x="8583" y="4058"/>
                </a:lnTo>
                <a:lnTo>
                  <a:pt x="8597" y="4039"/>
                </a:lnTo>
                <a:lnTo>
                  <a:pt x="8611" y="4020"/>
                </a:lnTo>
                <a:lnTo>
                  <a:pt x="8616" y="4011"/>
                </a:lnTo>
                <a:lnTo>
                  <a:pt x="8619" y="4002"/>
                </a:lnTo>
                <a:lnTo>
                  <a:pt x="8620" y="3998"/>
                </a:lnTo>
                <a:lnTo>
                  <a:pt x="8620" y="3995"/>
                </a:lnTo>
                <a:lnTo>
                  <a:pt x="8620" y="3991"/>
                </a:lnTo>
                <a:lnTo>
                  <a:pt x="8619" y="3988"/>
                </a:lnTo>
                <a:lnTo>
                  <a:pt x="8617" y="3985"/>
                </a:lnTo>
                <a:lnTo>
                  <a:pt x="8615" y="3982"/>
                </a:lnTo>
                <a:lnTo>
                  <a:pt x="8611" y="3980"/>
                </a:lnTo>
                <a:lnTo>
                  <a:pt x="8606" y="3978"/>
                </a:lnTo>
                <a:lnTo>
                  <a:pt x="8601" y="3976"/>
                </a:lnTo>
                <a:lnTo>
                  <a:pt x="8594" y="3975"/>
                </a:lnTo>
                <a:lnTo>
                  <a:pt x="8586" y="3974"/>
                </a:lnTo>
                <a:lnTo>
                  <a:pt x="8577" y="3974"/>
                </a:lnTo>
                <a:close/>
                <a:moveTo>
                  <a:pt x="13139" y="11127"/>
                </a:moveTo>
                <a:lnTo>
                  <a:pt x="13154" y="11140"/>
                </a:lnTo>
                <a:lnTo>
                  <a:pt x="13170" y="11154"/>
                </a:lnTo>
                <a:lnTo>
                  <a:pt x="13177" y="11160"/>
                </a:lnTo>
                <a:lnTo>
                  <a:pt x="13184" y="11166"/>
                </a:lnTo>
                <a:lnTo>
                  <a:pt x="13190" y="11170"/>
                </a:lnTo>
                <a:lnTo>
                  <a:pt x="13197" y="11174"/>
                </a:lnTo>
                <a:lnTo>
                  <a:pt x="13203" y="11176"/>
                </a:lnTo>
                <a:lnTo>
                  <a:pt x="13209" y="11176"/>
                </a:lnTo>
                <a:lnTo>
                  <a:pt x="13212" y="11176"/>
                </a:lnTo>
                <a:lnTo>
                  <a:pt x="13215" y="11175"/>
                </a:lnTo>
                <a:lnTo>
                  <a:pt x="13218" y="11173"/>
                </a:lnTo>
                <a:lnTo>
                  <a:pt x="13221" y="11171"/>
                </a:lnTo>
                <a:lnTo>
                  <a:pt x="13227" y="11164"/>
                </a:lnTo>
                <a:lnTo>
                  <a:pt x="13233" y="11155"/>
                </a:lnTo>
                <a:lnTo>
                  <a:pt x="13239" y="11142"/>
                </a:lnTo>
                <a:lnTo>
                  <a:pt x="13245" y="11127"/>
                </a:lnTo>
                <a:lnTo>
                  <a:pt x="13231" y="11124"/>
                </a:lnTo>
                <a:lnTo>
                  <a:pt x="13220" y="11121"/>
                </a:lnTo>
                <a:lnTo>
                  <a:pt x="13211" y="11117"/>
                </a:lnTo>
                <a:lnTo>
                  <a:pt x="13204" y="11113"/>
                </a:lnTo>
                <a:lnTo>
                  <a:pt x="13199" y="11109"/>
                </a:lnTo>
                <a:lnTo>
                  <a:pt x="13195" y="11104"/>
                </a:lnTo>
                <a:lnTo>
                  <a:pt x="13192" y="11099"/>
                </a:lnTo>
                <a:lnTo>
                  <a:pt x="13191" y="11093"/>
                </a:lnTo>
                <a:lnTo>
                  <a:pt x="13191" y="11086"/>
                </a:lnTo>
                <a:lnTo>
                  <a:pt x="13192" y="11079"/>
                </a:lnTo>
                <a:lnTo>
                  <a:pt x="13194" y="11071"/>
                </a:lnTo>
                <a:lnTo>
                  <a:pt x="13197" y="11063"/>
                </a:lnTo>
                <a:lnTo>
                  <a:pt x="13204" y="11044"/>
                </a:lnTo>
                <a:lnTo>
                  <a:pt x="13213" y="11021"/>
                </a:lnTo>
                <a:lnTo>
                  <a:pt x="13224" y="11028"/>
                </a:lnTo>
                <a:lnTo>
                  <a:pt x="13236" y="11034"/>
                </a:lnTo>
                <a:lnTo>
                  <a:pt x="13251" y="11041"/>
                </a:lnTo>
                <a:lnTo>
                  <a:pt x="13266" y="11047"/>
                </a:lnTo>
                <a:lnTo>
                  <a:pt x="13282" y="11052"/>
                </a:lnTo>
                <a:lnTo>
                  <a:pt x="13300" y="11056"/>
                </a:lnTo>
                <a:lnTo>
                  <a:pt x="13317" y="11059"/>
                </a:lnTo>
                <a:lnTo>
                  <a:pt x="13333" y="11061"/>
                </a:lnTo>
                <a:lnTo>
                  <a:pt x="13341" y="11062"/>
                </a:lnTo>
                <a:lnTo>
                  <a:pt x="13349" y="11061"/>
                </a:lnTo>
                <a:lnTo>
                  <a:pt x="13357" y="11061"/>
                </a:lnTo>
                <a:lnTo>
                  <a:pt x="13364" y="11059"/>
                </a:lnTo>
                <a:lnTo>
                  <a:pt x="13371" y="11058"/>
                </a:lnTo>
                <a:lnTo>
                  <a:pt x="13378" y="11055"/>
                </a:lnTo>
                <a:lnTo>
                  <a:pt x="13384" y="11052"/>
                </a:lnTo>
                <a:lnTo>
                  <a:pt x="13390" y="11048"/>
                </a:lnTo>
                <a:lnTo>
                  <a:pt x="13395" y="11044"/>
                </a:lnTo>
                <a:lnTo>
                  <a:pt x="13400" y="11039"/>
                </a:lnTo>
                <a:lnTo>
                  <a:pt x="13404" y="11033"/>
                </a:lnTo>
                <a:lnTo>
                  <a:pt x="13407" y="11026"/>
                </a:lnTo>
                <a:lnTo>
                  <a:pt x="13410" y="11018"/>
                </a:lnTo>
                <a:lnTo>
                  <a:pt x="13412" y="11009"/>
                </a:lnTo>
                <a:lnTo>
                  <a:pt x="13413" y="11000"/>
                </a:lnTo>
                <a:lnTo>
                  <a:pt x="13414" y="10990"/>
                </a:lnTo>
                <a:lnTo>
                  <a:pt x="13403" y="10989"/>
                </a:lnTo>
                <a:lnTo>
                  <a:pt x="13394" y="10987"/>
                </a:lnTo>
                <a:lnTo>
                  <a:pt x="13386" y="10985"/>
                </a:lnTo>
                <a:lnTo>
                  <a:pt x="13380" y="10981"/>
                </a:lnTo>
                <a:lnTo>
                  <a:pt x="13375" y="10977"/>
                </a:lnTo>
                <a:lnTo>
                  <a:pt x="13371" y="10972"/>
                </a:lnTo>
                <a:lnTo>
                  <a:pt x="13368" y="10966"/>
                </a:lnTo>
                <a:lnTo>
                  <a:pt x="13366" y="10960"/>
                </a:lnTo>
                <a:lnTo>
                  <a:pt x="13365" y="10954"/>
                </a:lnTo>
                <a:lnTo>
                  <a:pt x="13365" y="10947"/>
                </a:lnTo>
                <a:lnTo>
                  <a:pt x="13366" y="10940"/>
                </a:lnTo>
                <a:lnTo>
                  <a:pt x="13367" y="10933"/>
                </a:lnTo>
                <a:lnTo>
                  <a:pt x="13369" y="10926"/>
                </a:lnTo>
                <a:lnTo>
                  <a:pt x="13372" y="10919"/>
                </a:lnTo>
                <a:lnTo>
                  <a:pt x="13375" y="10912"/>
                </a:lnTo>
                <a:lnTo>
                  <a:pt x="13379" y="10905"/>
                </a:lnTo>
                <a:lnTo>
                  <a:pt x="13383" y="10898"/>
                </a:lnTo>
                <a:lnTo>
                  <a:pt x="13387" y="10892"/>
                </a:lnTo>
                <a:lnTo>
                  <a:pt x="13391" y="10887"/>
                </a:lnTo>
                <a:lnTo>
                  <a:pt x="13396" y="10882"/>
                </a:lnTo>
                <a:lnTo>
                  <a:pt x="13401" y="10879"/>
                </a:lnTo>
                <a:lnTo>
                  <a:pt x="13405" y="10876"/>
                </a:lnTo>
                <a:lnTo>
                  <a:pt x="13410" y="10874"/>
                </a:lnTo>
                <a:lnTo>
                  <a:pt x="13414" y="10873"/>
                </a:lnTo>
                <a:lnTo>
                  <a:pt x="13418" y="10873"/>
                </a:lnTo>
                <a:lnTo>
                  <a:pt x="13423" y="10875"/>
                </a:lnTo>
                <a:lnTo>
                  <a:pt x="13427" y="10877"/>
                </a:lnTo>
                <a:lnTo>
                  <a:pt x="13430" y="10882"/>
                </a:lnTo>
                <a:lnTo>
                  <a:pt x="13432" y="10888"/>
                </a:lnTo>
                <a:lnTo>
                  <a:pt x="13434" y="10895"/>
                </a:lnTo>
                <a:lnTo>
                  <a:pt x="13435" y="10905"/>
                </a:lnTo>
                <a:lnTo>
                  <a:pt x="13436" y="10916"/>
                </a:lnTo>
                <a:lnTo>
                  <a:pt x="13445" y="10916"/>
                </a:lnTo>
                <a:lnTo>
                  <a:pt x="13454" y="10915"/>
                </a:lnTo>
                <a:lnTo>
                  <a:pt x="13461" y="10913"/>
                </a:lnTo>
                <a:lnTo>
                  <a:pt x="13468" y="10910"/>
                </a:lnTo>
                <a:lnTo>
                  <a:pt x="13474" y="10907"/>
                </a:lnTo>
                <a:lnTo>
                  <a:pt x="13479" y="10904"/>
                </a:lnTo>
                <a:lnTo>
                  <a:pt x="13484" y="10898"/>
                </a:lnTo>
                <a:lnTo>
                  <a:pt x="13487" y="10894"/>
                </a:lnTo>
                <a:lnTo>
                  <a:pt x="13491" y="10888"/>
                </a:lnTo>
                <a:lnTo>
                  <a:pt x="13493" y="10883"/>
                </a:lnTo>
                <a:lnTo>
                  <a:pt x="13496" y="10877"/>
                </a:lnTo>
                <a:lnTo>
                  <a:pt x="13497" y="10871"/>
                </a:lnTo>
                <a:lnTo>
                  <a:pt x="13500" y="10857"/>
                </a:lnTo>
                <a:lnTo>
                  <a:pt x="13501" y="10843"/>
                </a:lnTo>
                <a:lnTo>
                  <a:pt x="13501" y="10813"/>
                </a:lnTo>
                <a:lnTo>
                  <a:pt x="13502" y="10784"/>
                </a:lnTo>
                <a:lnTo>
                  <a:pt x="13504" y="10769"/>
                </a:lnTo>
                <a:lnTo>
                  <a:pt x="13507" y="10756"/>
                </a:lnTo>
                <a:lnTo>
                  <a:pt x="13509" y="10750"/>
                </a:lnTo>
                <a:lnTo>
                  <a:pt x="13512" y="10745"/>
                </a:lnTo>
                <a:lnTo>
                  <a:pt x="13515" y="10740"/>
                </a:lnTo>
                <a:lnTo>
                  <a:pt x="13519" y="10735"/>
                </a:lnTo>
                <a:lnTo>
                  <a:pt x="13521" y="10760"/>
                </a:lnTo>
                <a:lnTo>
                  <a:pt x="13524" y="10792"/>
                </a:lnTo>
                <a:lnTo>
                  <a:pt x="13530" y="10827"/>
                </a:lnTo>
                <a:lnTo>
                  <a:pt x="13538" y="10863"/>
                </a:lnTo>
                <a:lnTo>
                  <a:pt x="13542" y="10880"/>
                </a:lnTo>
                <a:lnTo>
                  <a:pt x="13548" y="10896"/>
                </a:lnTo>
                <a:lnTo>
                  <a:pt x="13553" y="10913"/>
                </a:lnTo>
                <a:lnTo>
                  <a:pt x="13559" y="10926"/>
                </a:lnTo>
                <a:lnTo>
                  <a:pt x="13565" y="10938"/>
                </a:lnTo>
                <a:lnTo>
                  <a:pt x="13571" y="10947"/>
                </a:lnTo>
                <a:lnTo>
                  <a:pt x="13574" y="10951"/>
                </a:lnTo>
                <a:lnTo>
                  <a:pt x="13577" y="10954"/>
                </a:lnTo>
                <a:lnTo>
                  <a:pt x="13580" y="10957"/>
                </a:lnTo>
                <a:lnTo>
                  <a:pt x="13583" y="10958"/>
                </a:lnTo>
                <a:lnTo>
                  <a:pt x="13591" y="10965"/>
                </a:lnTo>
                <a:lnTo>
                  <a:pt x="13596" y="10972"/>
                </a:lnTo>
                <a:lnTo>
                  <a:pt x="13601" y="10978"/>
                </a:lnTo>
                <a:lnTo>
                  <a:pt x="13604" y="10984"/>
                </a:lnTo>
                <a:lnTo>
                  <a:pt x="13607" y="10990"/>
                </a:lnTo>
                <a:lnTo>
                  <a:pt x="13608" y="10996"/>
                </a:lnTo>
                <a:lnTo>
                  <a:pt x="13609" y="11001"/>
                </a:lnTo>
                <a:lnTo>
                  <a:pt x="13608" y="11007"/>
                </a:lnTo>
                <a:lnTo>
                  <a:pt x="13607" y="11012"/>
                </a:lnTo>
                <a:lnTo>
                  <a:pt x="13605" y="11017"/>
                </a:lnTo>
                <a:lnTo>
                  <a:pt x="13603" y="11022"/>
                </a:lnTo>
                <a:lnTo>
                  <a:pt x="13600" y="11027"/>
                </a:lnTo>
                <a:lnTo>
                  <a:pt x="13592" y="11036"/>
                </a:lnTo>
                <a:lnTo>
                  <a:pt x="13583" y="11045"/>
                </a:lnTo>
                <a:lnTo>
                  <a:pt x="13562" y="11062"/>
                </a:lnTo>
                <a:lnTo>
                  <a:pt x="13541" y="11079"/>
                </a:lnTo>
                <a:lnTo>
                  <a:pt x="13532" y="11088"/>
                </a:lnTo>
                <a:lnTo>
                  <a:pt x="13525" y="11097"/>
                </a:lnTo>
                <a:lnTo>
                  <a:pt x="13523" y="11102"/>
                </a:lnTo>
                <a:lnTo>
                  <a:pt x="13521" y="11106"/>
                </a:lnTo>
                <a:lnTo>
                  <a:pt x="13520" y="11111"/>
                </a:lnTo>
                <a:lnTo>
                  <a:pt x="13519" y="11117"/>
                </a:lnTo>
                <a:lnTo>
                  <a:pt x="13513" y="11121"/>
                </a:lnTo>
                <a:lnTo>
                  <a:pt x="13507" y="11126"/>
                </a:lnTo>
                <a:lnTo>
                  <a:pt x="13503" y="11132"/>
                </a:lnTo>
                <a:lnTo>
                  <a:pt x="13499" y="11139"/>
                </a:lnTo>
                <a:lnTo>
                  <a:pt x="13496" y="11147"/>
                </a:lnTo>
                <a:lnTo>
                  <a:pt x="13493" y="11156"/>
                </a:lnTo>
                <a:lnTo>
                  <a:pt x="13491" y="11165"/>
                </a:lnTo>
                <a:lnTo>
                  <a:pt x="13490" y="11174"/>
                </a:lnTo>
                <a:lnTo>
                  <a:pt x="13488" y="11192"/>
                </a:lnTo>
                <a:lnTo>
                  <a:pt x="13488" y="11208"/>
                </a:lnTo>
                <a:lnTo>
                  <a:pt x="13488" y="11222"/>
                </a:lnTo>
                <a:lnTo>
                  <a:pt x="13488" y="11233"/>
                </a:lnTo>
                <a:lnTo>
                  <a:pt x="13475" y="11233"/>
                </a:lnTo>
                <a:lnTo>
                  <a:pt x="13462" y="11233"/>
                </a:lnTo>
                <a:lnTo>
                  <a:pt x="13449" y="11233"/>
                </a:lnTo>
                <a:lnTo>
                  <a:pt x="13436" y="11233"/>
                </a:lnTo>
                <a:lnTo>
                  <a:pt x="13434" y="11253"/>
                </a:lnTo>
                <a:lnTo>
                  <a:pt x="13432" y="11272"/>
                </a:lnTo>
                <a:lnTo>
                  <a:pt x="13429" y="11293"/>
                </a:lnTo>
                <a:lnTo>
                  <a:pt x="13425" y="11314"/>
                </a:lnTo>
                <a:lnTo>
                  <a:pt x="13415" y="11354"/>
                </a:lnTo>
                <a:lnTo>
                  <a:pt x="13406" y="11393"/>
                </a:lnTo>
                <a:lnTo>
                  <a:pt x="13397" y="11433"/>
                </a:lnTo>
                <a:lnTo>
                  <a:pt x="13389" y="11471"/>
                </a:lnTo>
                <a:lnTo>
                  <a:pt x="13386" y="11489"/>
                </a:lnTo>
                <a:lnTo>
                  <a:pt x="13384" y="11506"/>
                </a:lnTo>
                <a:lnTo>
                  <a:pt x="13383" y="11523"/>
                </a:lnTo>
                <a:lnTo>
                  <a:pt x="13382" y="11540"/>
                </a:lnTo>
                <a:lnTo>
                  <a:pt x="13378" y="11541"/>
                </a:lnTo>
                <a:lnTo>
                  <a:pt x="13374" y="11542"/>
                </a:lnTo>
                <a:lnTo>
                  <a:pt x="13370" y="11545"/>
                </a:lnTo>
                <a:lnTo>
                  <a:pt x="13367" y="11548"/>
                </a:lnTo>
                <a:lnTo>
                  <a:pt x="13364" y="11552"/>
                </a:lnTo>
                <a:lnTo>
                  <a:pt x="13361" y="11557"/>
                </a:lnTo>
                <a:lnTo>
                  <a:pt x="13359" y="11562"/>
                </a:lnTo>
                <a:lnTo>
                  <a:pt x="13357" y="11569"/>
                </a:lnTo>
                <a:lnTo>
                  <a:pt x="13353" y="11583"/>
                </a:lnTo>
                <a:lnTo>
                  <a:pt x="13350" y="11600"/>
                </a:lnTo>
                <a:lnTo>
                  <a:pt x="13348" y="11619"/>
                </a:lnTo>
                <a:lnTo>
                  <a:pt x="13347" y="11639"/>
                </a:lnTo>
                <a:lnTo>
                  <a:pt x="13345" y="11684"/>
                </a:lnTo>
                <a:lnTo>
                  <a:pt x="13345" y="11731"/>
                </a:lnTo>
                <a:lnTo>
                  <a:pt x="13344" y="11778"/>
                </a:lnTo>
                <a:lnTo>
                  <a:pt x="13343" y="11824"/>
                </a:lnTo>
                <a:lnTo>
                  <a:pt x="13324" y="11850"/>
                </a:lnTo>
                <a:lnTo>
                  <a:pt x="13305" y="11877"/>
                </a:lnTo>
                <a:lnTo>
                  <a:pt x="13285" y="11904"/>
                </a:lnTo>
                <a:lnTo>
                  <a:pt x="13266" y="11931"/>
                </a:lnTo>
                <a:lnTo>
                  <a:pt x="13242" y="11932"/>
                </a:lnTo>
                <a:lnTo>
                  <a:pt x="13221" y="11929"/>
                </a:lnTo>
                <a:lnTo>
                  <a:pt x="13202" y="11922"/>
                </a:lnTo>
                <a:lnTo>
                  <a:pt x="13184" y="11911"/>
                </a:lnTo>
                <a:lnTo>
                  <a:pt x="13168" y="11896"/>
                </a:lnTo>
                <a:lnTo>
                  <a:pt x="13153" y="11879"/>
                </a:lnTo>
                <a:lnTo>
                  <a:pt x="13140" y="11859"/>
                </a:lnTo>
                <a:lnTo>
                  <a:pt x="13130" y="11837"/>
                </a:lnTo>
                <a:lnTo>
                  <a:pt x="13120" y="11812"/>
                </a:lnTo>
                <a:lnTo>
                  <a:pt x="13112" y="11784"/>
                </a:lnTo>
                <a:lnTo>
                  <a:pt x="13105" y="11754"/>
                </a:lnTo>
                <a:lnTo>
                  <a:pt x="13100" y="11724"/>
                </a:lnTo>
                <a:lnTo>
                  <a:pt x="13095" y="11692"/>
                </a:lnTo>
                <a:lnTo>
                  <a:pt x="13092" y="11658"/>
                </a:lnTo>
                <a:lnTo>
                  <a:pt x="13090" y="11623"/>
                </a:lnTo>
                <a:lnTo>
                  <a:pt x="13089" y="11588"/>
                </a:lnTo>
                <a:lnTo>
                  <a:pt x="13088" y="11553"/>
                </a:lnTo>
                <a:lnTo>
                  <a:pt x="13089" y="11516"/>
                </a:lnTo>
                <a:lnTo>
                  <a:pt x="13090" y="11480"/>
                </a:lnTo>
                <a:lnTo>
                  <a:pt x="13092" y="11445"/>
                </a:lnTo>
                <a:lnTo>
                  <a:pt x="13094" y="11410"/>
                </a:lnTo>
                <a:lnTo>
                  <a:pt x="13097" y="11375"/>
                </a:lnTo>
                <a:lnTo>
                  <a:pt x="13101" y="11342"/>
                </a:lnTo>
                <a:lnTo>
                  <a:pt x="13104" y="11310"/>
                </a:lnTo>
                <a:lnTo>
                  <a:pt x="13113" y="11250"/>
                </a:lnTo>
                <a:lnTo>
                  <a:pt x="13122" y="11199"/>
                </a:lnTo>
                <a:lnTo>
                  <a:pt x="13126" y="11177"/>
                </a:lnTo>
                <a:lnTo>
                  <a:pt x="13130" y="11158"/>
                </a:lnTo>
                <a:lnTo>
                  <a:pt x="13135" y="11140"/>
                </a:lnTo>
                <a:lnTo>
                  <a:pt x="13139" y="11127"/>
                </a:lnTo>
                <a:close/>
                <a:moveTo>
                  <a:pt x="14524" y="7522"/>
                </a:moveTo>
                <a:lnTo>
                  <a:pt x="14491" y="7522"/>
                </a:lnTo>
                <a:lnTo>
                  <a:pt x="14457" y="7520"/>
                </a:lnTo>
                <a:lnTo>
                  <a:pt x="14422" y="7516"/>
                </a:lnTo>
                <a:lnTo>
                  <a:pt x="14389" y="7511"/>
                </a:lnTo>
                <a:lnTo>
                  <a:pt x="14359" y="7506"/>
                </a:lnTo>
                <a:lnTo>
                  <a:pt x="14332" y="7500"/>
                </a:lnTo>
                <a:lnTo>
                  <a:pt x="14310" y="7492"/>
                </a:lnTo>
                <a:lnTo>
                  <a:pt x="14292" y="7487"/>
                </a:lnTo>
                <a:lnTo>
                  <a:pt x="14272" y="7486"/>
                </a:lnTo>
                <a:lnTo>
                  <a:pt x="14253" y="7484"/>
                </a:lnTo>
                <a:lnTo>
                  <a:pt x="14233" y="7482"/>
                </a:lnTo>
                <a:lnTo>
                  <a:pt x="14214" y="7478"/>
                </a:lnTo>
                <a:lnTo>
                  <a:pt x="14195" y="7474"/>
                </a:lnTo>
                <a:lnTo>
                  <a:pt x="14176" y="7469"/>
                </a:lnTo>
                <a:lnTo>
                  <a:pt x="14157" y="7463"/>
                </a:lnTo>
                <a:lnTo>
                  <a:pt x="14138" y="7456"/>
                </a:lnTo>
                <a:lnTo>
                  <a:pt x="14101" y="7442"/>
                </a:lnTo>
                <a:lnTo>
                  <a:pt x="14064" y="7427"/>
                </a:lnTo>
                <a:lnTo>
                  <a:pt x="14027" y="7410"/>
                </a:lnTo>
                <a:lnTo>
                  <a:pt x="13990" y="7394"/>
                </a:lnTo>
                <a:lnTo>
                  <a:pt x="13954" y="7379"/>
                </a:lnTo>
                <a:lnTo>
                  <a:pt x="13917" y="7364"/>
                </a:lnTo>
                <a:lnTo>
                  <a:pt x="13898" y="7358"/>
                </a:lnTo>
                <a:lnTo>
                  <a:pt x="13880" y="7352"/>
                </a:lnTo>
                <a:lnTo>
                  <a:pt x="13861" y="7347"/>
                </a:lnTo>
                <a:lnTo>
                  <a:pt x="13843" y="7343"/>
                </a:lnTo>
                <a:lnTo>
                  <a:pt x="13824" y="7340"/>
                </a:lnTo>
                <a:lnTo>
                  <a:pt x="13806" y="7338"/>
                </a:lnTo>
                <a:lnTo>
                  <a:pt x="13786" y="7336"/>
                </a:lnTo>
                <a:lnTo>
                  <a:pt x="13767" y="7336"/>
                </a:lnTo>
                <a:lnTo>
                  <a:pt x="13748" y="7337"/>
                </a:lnTo>
                <a:lnTo>
                  <a:pt x="13729" y="7340"/>
                </a:lnTo>
                <a:lnTo>
                  <a:pt x="13709" y="7343"/>
                </a:lnTo>
                <a:lnTo>
                  <a:pt x="13690" y="7349"/>
                </a:lnTo>
                <a:lnTo>
                  <a:pt x="13690" y="7345"/>
                </a:lnTo>
                <a:lnTo>
                  <a:pt x="13691" y="7342"/>
                </a:lnTo>
                <a:lnTo>
                  <a:pt x="13690" y="7340"/>
                </a:lnTo>
                <a:lnTo>
                  <a:pt x="13689" y="7338"/>
                </a:lnTo>
                <a:lnTo>
                  <a:pt x="13688" y="7337"/>
                </a:lnTo>
                <a:lnTo>
                  <a:pt x="13685" y="7337"/>
                </a:lnTo>
                <a:lnTo>
                  <a:pt x="13682" y="7337"/>
                </a:lnTo>
                <a:lnTo>
                  <a:pt x="13679" y="7338"/>
                </a:lnTo>
                <a:lnTo>
                  <a:pt x="13680" y="7333"/>
                </a:lnTo>
                <a:lnTo>
                  <a:pt x="13680" y="7326"/>
                </a:lnTo>
                <a:lnTo>
                  <a:pt x="13679" y="7318"/>
                </a:lnTo>
                <a:lnTo>
                  <a:pt x="13677" y="7309"/>
                </a:lnTo>
                <a:lnTo>
                  <a:pt x="13674" y="7298"/>
                </a:lnTo>
                <a:lnTo>
                  <a:pt x="13669" y="7287"/>
                </a:lnTo>
                <a:lnTo>
                  <a:pt x="13665" y="7275"/>
                </a:lnTo>
                <a:lnTo>
                  <a:pt x="13659" y="7263"/>
                </a:lnTo>
                <a:lnTo>
                  <a:pt x="13647" y="7236"/>
                </a:lnTo>
                <a:lnTo>
                  <a:pt x="13632" y="7209"/>
                </a:lnTo>
                <a:lnTo>
                  <a:pt x="13615" y="7182"/>
                </a:lnTo>
                <a:lnTo>
                  <a:pt x="13596" y="7156"/>
                </a:lnTo>
                <a:lnTo>
                  <a:pt x="13587" y="7144"/>
                </a:lnTo>
                <a:lnTo>
                  <a:pt x="13577" y="7133"/>
                </a:lnTo>
                <a:lnTo>
                  <a:pt x="13567" y="7122"/>
                </a:lnTo>
                <a:lnTo>
                  <a:pt x="13557" y="7111"/>
                </a:lnTo>
                <a:lnTo>
                  <a:pt x="13546" y="7102"/>
                </a:lnTo>
                <a:lnTo>
                  <a:pt x="13535" y="7095"/>
                </a:lnTo>
                <a:lnTo>
                  <a:pt x="13525" y="7089"/>
                </a:lnTo>
                <a:lnTo>
                  <a:pt x="13515" y="7084"/>
                </a:lnTo>
                <a:lnTo>
                  <a:pt x="13505" y="7081"/>
                </a:lnTo>
                <a:lnTo>
                  <a:pt x="13495" y="7079"/>
                </a:lnTo>
                <a:lnTo>
                  <a:pt x="13486" y="7080"/>
                </a:lnTo>
                <a:lnTo>
                  <a:pt x="13477" y="7082"/>
                </a:lnTo>
                <a:lnTo>
                  <a:pt x="13468" y="7087"/>
                </a:lnTo>
                <a:lnTo>
                  <a:pt x="13460" y="7093"/>
                </a:lnTo>
                <a:lnTo>
                  <a:pt x="13452" y="7102"/>
                </a:lnTo>
                <a:lnTo>
                  <a:pt x="13445" y="7113"/>
                </a:lnTo>
                <a:lnTo>
                  <a:pt x="13443" y="7117"/>
                </a:lnTo>
                <a:lnTo>
                  <a:pt x="13442" y="7122"/>
                </a:lnTo>
                <a:lnTo>
                  <a:pt x="13442" y="7127"/>
                </a:lnTo>
                <a:lnTo>
                  <a:pt x="13442" y="7132"/>
                </a:lnTo>
                <a:lnTo>
                  <a:pt x="13443" y="7144"/>
                </a:lnTo>
                <a:lnTo>
                  <a:pt x="13447" y="7156"/>
                </a:lnTo>
                <a:lnTo>
                  <a:pt x="13451" y="7170"/>
                </a:lnTo>
                <a:lnTo>
                  <a:pt x="13457" y="7185"/>
                </a:lnTo>
                <a:lnTo>
                  <a:pt x="13464" y="7200"/>
                </a:lnTo>
                <a:lnTo>
                  <a:pt x="13472" y="7215"/>
                </a:lnTo>
                <a:lnTo>
                  <a:pt x="13481" y="7230"/>
                </a:lnTo>
                <a:lnTo>
                  <a:pt x="13490" y="7246"/>
                </a:lnTo>
                <a:lnTo>
                  <a:pt x="13499" y="7260"/>
                </a:lnTo>
                <a:lnTo>
                  <a:pt x="13508" y="7273"/>
                </a:lnTo>
                <a:lnTo>
                  <a:pt x="13517" y="7284"/>
                </a:lnTo>
                <a:lnTo>
                  <a:pt x="13526" y="7294"/>
                </a:lnTo>
                <a:lnTo>
                  <a:pt x="13534" y="7301"/>
                </a:lnTo>
                <a:lnTo>
                  <a:pt x="13541" y="7307"/>
                </a:lnTo>
                <a:lnTo>
                  <a:pt x="13541" y="7319"/>
                </a:lnTo>
                <a:lnTo>
                  <a:pt x="13544" y="7334"/>
                </a:lnTo>
                <a:lnTo>
                  <a:pt x="13549" y="7349"/>
                </a:lnTo>
                <a:lnTo>
                  <a:pt x="13554" y="7366"/>
                </a:lnTo>
                <a:lnTo>
                  <a:pt x="13560" y="7383"/>
                </a:lnTo>
                <a:lnTo>
                  <a:pt x="13567" y="7399"/>
                </a:lnTo>
                <a:lnTo>
                  <a:pt x="13571" y="7405"/>
                </a:lnTo>
                <a:lnTo>
                  <a:pt x="13575" y="7412"/>
                </a:lnTo>
                <a:lnTo>
                  <a:pt x="13579" y="7417"/>
                </a:lnTo>
                <a:lnTo>
                  <a:pt x="13584" y="7422"/>
                </a:lnTo>
                <a:lnTo>
                  <a:pt x="13594" y="7433"/>
                </a:lnTo>
                <a:lnTo>
                  <a:pt x="13601" y="7443"/>
                </a:lnTo>
                <a:lnTo>
                  <a:pt x="13605" y="7452"/>
                </a:lnTo>
                <a:lnTo>
                  <a:pt x="13607" y="7460"/>
                </a:lnTo>
                <a:lnTo>
                  <a:pt x="13608" y="7468"/>
                </a:lnTo>
                <a:lnTo>
                  <a:pt x="13607" y="7475"/>
                </a:lnTo>
                <a:lnTo>
                  <a:pt x="13604" y="7482"/>
                </a:lnTo>
                <a:lnTo>
                  <a:pt x="13601" y="7489"/>
                </a:lnTo>
                <a:lnTo>
                  <a:pt x="13594" y="7502"/>
                </a:lnTo>
                <a:lnTo>
                  <a:pt x="13586" y="7514"/>
                </a:lnTo>
                <a:lnTo>
                  <a:pt x="13584" y="7520"/>
                </a:lnTo>
                <a:lnTo>
                  <a:pt x="13582" y="7526"/>
                </a:lnTo>
                <a:lnTo>
                  <a:pt x="13582" y="7533"/>
                </a:lnTo>
                <a:lnTo>
                  <a:pt x="13583" y="7540"/>
                </a:lnTo>
                <a:lnTo>
                  <a:pt x="13597" y="7540"/>
                </a:lnTo>
                <a:lnTo>
                  <a:pt x="13609" y="7539"/>
                </a:lnTo>
                <a:lnTo>
                  <a:pt x="13618" y="7538"/>
                </a:lnTo>
                <a:lnTo>
                  <a:pt x="13627" y="7536"/>
                </a:lnTo>
                <a:lnTo>
                  <a:pt x="13633" y="7533"/>
                </a:lnTo>
                <a:lnTo>
                  <a:pt x="13639" y="7529"/>
                </a:lnTo>
                <a:lnTo>
                  <a:pt x="13644" y="7525"/>
                </a:lnTo>
                <a:lnTo>
                  <a:pt x="13648" y="7519"/>
                </a:lnTo>
                <a:lnTo>
                  <a:pt x="13651" y="7511"/>
                </a:lnTo>
                <a:lnTo>
                  <a:pt x="13653" y="7503"/>
                </a:lnTo>
                <a:lnTo>
                  <a:pt x="13655" y="7491"/>
                </a:lnTo>
                <a:lnTo>
                  <a:pt x="13658" y="7480"/>
                </a:lnTo>
                <a:lnTo>
                  <a:pt x="13662" y="7450"/>
                </a:lnTo>
                <a:lnTo>
                  <a:pt x="13668" y="7413"/>
                </a:lnTo>
                <a:lnTo>
                  <a:pt x="13674" y="7417"/>
                </a:lnTo>
                <a:lnTo>
                  <a:pt x="13678" y="7421"/>
                </a:lnTo>
                <a:lnTo>
                  <a:pt x="13682" y="7423"/>
                </a:lnTo>
                <a:lnTo>
                  <a:pt x="13690" y="7423"/>
                </a:lnTo>
                <a:lnTo>
                  <a:pt x="13686" y="7439"/>
                </a:lnTo>
                <a:lnTo>
                  <a:pt x="13685" y="7454"/>
                </a:lnTo>
                <a:lnTo>
                  <a:pt x="13685" y="7469"/>
                </a:lnTo>
                <a:lnTo>
                  <a:pt x="13687" y="7484"/>
                </a:lnTo>
                <a:lnTo>
                  <a:pt x="13690" y="7499"/>
                </a:lnTo>
                <a:lnTo>
                  <a:pt x="13695" y="7513"/>
                </a:lnTo>
                <a:lnTo>
                  <a:pt x="13701" y="7527"/>
                </a:lnTo>
                <a:lnTo>
                  <a:pt x="13709" y="7540"/>
                </a:lnTo>
                <a:lnTo>
                  <a:pt x="13721" y="7560"/>
                </a:lnTo>
                <a:lnTo>
                  <a:pt x="13730" y="7575"/>
                </a:lnTo>
                <a:lnTo>
                  <a:pt x="13736" y="7586"/>
                </a:lnTo>
                <a:lnTo>
                  <a:pt x="13739" y="7593"/>
                </a:lnTo>
                <a:lnTo>
                  <a:pt x="13740" y="7597"/>
                </a:lnTo>
                <a:lnTo>
                  <a:pt x="13739" y="7600"/>
                </a:lnTo>
                <a:lnTo>
                  <a:pt x="13736" y="7600"/>
                </a:lnTo>
                <a:lnTo>
                  <a:pt x="13733" y="7599"/>
                </a:lnTo>
                <a:lnTo>
                  <a:pt x="13729" y="7599"/>
                </a:lnTo>
                <a:lnTo>
                  <a:pt x="13724" y="7598"/>
                </a:lnTo>
                <a:lnTo>
                  <a:pt x="13720" y="7598"/>
                </a:lnTo>
                <a:lnTo>
                  <a:pt x="13717" y="7600"/>
                </a:lnTo>
                <a:lnTo>
                  <a:pt x="13716" y="7601"/>
                </a:lnTo>
                <a:lnTo>
                  <a:pt x="13715" y="7604"/>
                </a:lnTo>
                <a:lnTo>
                  <a:pt x="13715" y="7607"/>
                </a:lnTo>
                <a:lnTo>
                  <a:pt x="13715" y="7610"/>
                </a:lnTo>
                <a:lnTo>
                  <a:pt x="13717" y="7620"/>
                </a:lnTo>
                <a:lnTo>
                  <a:pt x="13721" y="7635"/>
                </a:lnTo>
                <a:lnTo>
                  <a:pt x="13741" y="7635"/>
                </a:lnTo>
                <a:lnTo>
                  <a:pt x="13761" y="7633"/>
                </a:lnTo>
                <a:lnTo>
                  <a:pt x="13781" y="7629"/>
                </a:lnTo>
                <a:lnTo>
                  <a:pt x="13801" y="7624"/>
                </a:lnTo>
                <a:lnTo>
                  <a:pt x="13820" y="7617"/>
                </a:lnTo>
                <a:lnTo>
                  <a:pt x="13838" y="7609"/>
                </a:lnTo>
                <a:lnTo>
                  <a:pt x="13856" y="7600"/>
                </a:lnTo>
                <a:lnTo>
                  <a:pt x="13874" y="7589"/>
                </a:lnTo>
                <a:lnTo>
                  <a:pt x="13890" y="7577"/>
                </a:lnTo>
                <a:lnTo>
                  <a:pt x="13907" y="7563"/>
                </a:lnTo>
                <a:lnTo>
                  <a:pt x="13922" y="7547"/>
                </a:lnTo>
                <a:lnTo>
                  <a:pt x="13937" y="7530"/>
                </a:lnTo>
                <a:lnTo>
                  <a:pt x="13951" y="7512"/>
                </a:lnTo>
                <a:lnTo>
                  <a:pt x="13963" y="7490"/>
                </a:lnTo>
                <a:lnTo>
                  <a:pt x="13975" y="7468"/>
                </a:lnTo>
                <a:lnTo>
                  <a:pt x="13986" y="7444"/>
                </a:lnTo>
                <a:lnTo>
                  <a:pt x="13992" y="7450"/>
                </a:lnTo>
                <a:lnTo>
                  <a:pt x="13997" y="7456"/>
                </a:lnTo>
                <a:lnTo>
                  <a:pt x="14000" y="7463"/>
                </a:lnTo>
                <a:lnTo>
                  <a:pt x="14002" y="7469"/>
                </a:lnTo>
                <a:lnTo>
                  <a:pt x="14003" y="7476"/>
                </a:lnTo>
                <a:lnTo>
                  <a:pt x="14003" y="7482"/>
                </a:lnTo>
                <a:lnTo>
                  <a:pt x="14002" y="7489"/>
                </a:lnTo>
                <a:lnTo>
                  <a:pt x="14001" y="7495"/>
                </a:lnTo>
                <a:lnTo>
                  <a:pt x="14001" y="7503"/>
                </a:lnTo>
                <a:lnTo>
                  <a:pt x="14000" y="7509"/>
                </a:lnTo>
                <a:lnTo>
                  <a:pt x="14000" y="7515"/>
                </a:lnTo>
                <a:lnTo>
                  <a:pt x="14001" y="7521"/>
                </a:lnTo>
                <a:lnTo>
                  <a:pt x="14003" y="7526"/>
                </a:lnTo>
                <a:lnTo>
                  <a:pt x="14006" y="7531"/>
                </a:lnTo>
                <a:lnTo>
                  <a:pt x="14010" y="7536"/>
                </a:lnTo>
                <a:lnTo>
                  <a:pt x="14017" y="7540"/>
                </a:lnTo>
                <a:lnTo>
                  <a:pt x="14042" y="7567"/>
                </a:lnTo>
                <a:lnTo>
                  <a:pt x="14063" y="7591"/>
                </a:lnTo>
                <a:lnTo>
                  <a:pt x="14066" y="7598"/>
                </a:lnTo>
                <a:lnTo>
                  <a:pt x="14069" y="7604"/>
                </a:lnTo>
                <a:lnTo>
                  <a:pt x="14071" y="7610"/>
                </a:lnTo>
                <a:lnTo>
                  <a:pt x="14071" y="7617"/>
                </a:lnTo>
                <a:lnTo>
                  <a:pt x="14071" y="7625"/>
                </a:lnTo>
                <a:lnTo>
                  <a:pt x="14070" y="7633"/>
                </a:lnTo>
                <a:lnTo>
                  <a:pt x="14068" y="7641"/>
                </a:lnTo>
                <a:lnTo>
                  <a:pt x="14064" y="7650"/>
                </a:lnTo>
                <a:lnTo>
                  <a:pt x="14063" y="7653"/>
                </a:lnTo>
                <a:lnTo>
                  <a:pt x="14063" y="7656"/>
                </a:lnTo>
                <a:lnTo>
                  <a:pt x="14063" y="7659"/>
                </a:lnTo>
                <a:lnTo>
                  <a:pt x="14064" y="7663"/>
                </a:lnTo>
                <a:lnTo>
                  <a:pt x="14067" y="7670"/>
                </a:lnTo>
                <a:lnTo>
                  <a:pt x="14072" y="7676"/>
                </a:lnTo>
                <a:lnTo>
                  <a:pt x="14078" y="7683"/>
                </a:lnTo>
                <a:lnTo>
                  <a:pt x="14085" y="7688"/>
                </a:lnTo>
                <a:lnTo>
                  <a:pt x="14093" y="7692"/>
                </a:lnTo>
                <a:lnTo>
                  <a:pt x="14101" y="7695"/>
                </a:lnTo>
                <a:lnTo>
                  <a:pt x="14105" y="7695"/>
                </a:lnTo>
                <a:lnTo>
                  <a:pt x="14109" y="7696"/>
                </a:lnTo>
                <a:lnTo>
                  <a:pt x="14113" y="7695"/>
                </a:lnTo>
                <a:lnTo>
                  <a:pt x="14116" y="7694"/>
                </a:lnTo>
                <a:lnTo>
                  <a:pt x="14120" y="7693"/>
                </a:lnTo>
                <a:lnTo>
                  <a:pt x="14123" y="7691"/>
                </a:lnTo>
                <a:lnTo>
                  <a:pt x="14126" y="7688"/>
                </a:lnTo>
                <a:lnTo>
                  <a:pt x="14129" y="7684"/>
                </a:lnTo>
                <a:lnTo>
                  <a:pt x="14131" y="7680"/>
                </a:lnTo>
                <a:lnTo>
                  <a:pt x="14133" y="7675"/>
                </a:lnTo>
                <a:lnTo>
                  <a:pt x="14135" y="7669"/>
                </a:lnTo>
                <a:lnTo>
                  <a:pt x="14135" y="7662"/>
                </a:lnTo>
                <a:lnTo>
                  <a:pt x="14136" y="7654"/>
                </a:lnTo>
                <a:lnTo>
                  <a:pt x="14136" y="7646"/>
                </a:lnTo>
                <a:lnTo>
                  <a:pt x="14135" y="7636"/>
                </a:lnTo>
                <a:lnTo>
                  <a:pt x="14133" y="7625"/>
                </a:lnTo>
                <a:lnTo>
                  <a:pt x="14144" y="7628"/>
                </a:lnTo>
                <a:lnTo>
                  <a:pt x="14153" y="7632"/>
                </a:lnTo>
                <a:lnTo>
                  <a:pt x="14162" y="7637"/>
                </a:lnTo>
                <a:lnTo>
                  <a:pt x="14170" y="7642"/>
                </a:lnTo>
                <a:lnTo>
                  <a:pt x="14179" y="7648"/>
                </a:lnTo>
                <a:lnTo>
                  <a:pt x="14185" y="7654"/>
                </a:lnTo>
                <a:lnTo>
                  <a:pt x="14191" y="7660"/>
                </a:lnTo>
                <a:lnTo>
                  <a:pt x="14196" y="7667"/>
                </a:lnTo>
                <a:lnTo>
                  <a:pt x="14201" y="7674"/>
                </a:lnTo>
                <a:lnTo>
                  <a:pt x="14205" y="7682"/>
                </a:lnTo>
                <a:lnTo>
                  <a:pt x="14208" y="7689"/>
                </a:lnTo>
                <a:lnTo>
                  <a:pt x="14210" y="7698"/>
                </a:lnTo>
                <a:lnTo>
                  <a:pt x="14212" y="7706"/>
                </a:lnTo>
                <a:lnTo>
                  <a:pt x="14213" y="7714"/>
                </a:lnTo>
                <a:lnTo>
                  <a:pt x="14214" y="7723"/>
                </a:lnTo>
                <a:lnTo>
                  <a:pt x="14214" y="7732"/>
                </a:lnTo>
                <a:lnTo>
                  <a:pt x="14214" y="7740"/>
                </a:lnTo>
                <a:lnTo>
                  <a:pt x="14213" y="7750"/>
                </a:lnTo>
                <a:lnTo>
                  <a:pt x="14211" y="7759"/>
                </a:lnTo>
                <a:lnTo>
                  <a:pt x="14209" y="7768"/>
                </a:lnTo>
                <a:lnTo>
                  <a:pt x="14206" y="7777"/>
                </a:lnTo>
                <a:lnTo>
                  <a:pt x="14203" y="7785"/>
                </a:lnTo>
                <a:lnTo>
                  <a:pt x="14199" y="7794"/>
                </a:lnTo>
                <a:lnTo>
                  <a:pt x="14195" y="7802"/>
                </a:lnTo>
                <a:lnTo>
                  <a:pt x="14190" y="7810"/>
                </a:lnTo>
                <a:lnTo>
                  <a:pt x="14185" y="7818"/>
                </a:lnTo>
                <a:lnTo>
                  <a:pt x="14180" y="7825"/>
                </a:lnTo>
                <a:lnTo>
                  <a:pt x="14172" y="7832"/>
                </a:lnTo>
                <a:lnTo>
                  <a:pt x="14166" y="7839"/>
                </a:lnTo>
                <a:lnTo>
                  <a:pt x="14159" y="7845"/>
                </a:lnTo>
                <a:lnTo>
                  <a:pt x="14152" y="7851"/>
                </a:lnTo>
                <a:lnTo>
                  <a:pt x="14144" y="7857"/>
                </a:lnTo>
                <a:lnTo>
                  <a:pt x="14144" y="7867"/>
                </a:lnTo>
                <a:lnTo>
                  <a:pt x="14142" y="7876"/>
                </a:lnTo>
                <a:lnTo>
                  <a:pt x="14139" y="7884"/>
                </a:lnTo>
                <a:lnTo>
                  <a:pt x="14136" y="7892"/>
                </a:lnTo>
                <a:lnTo>
                  <a:pt x="14127" y="7905"/>
                </a:lnTo>
                <a:lnTo>
                  <a:pt x="14118" y="7917"/>
                </a:lnTo>
                <a:lnTo>
                  <a:pt x="14113" y="7924"/>
                </a:lnTo>
                <a:lnTo>
                  <a:pt x="14108" y="7931"/>
                </a:lnTo>
                <a:lnTo>
                  <a:pt x="14104" y="7938"/>
                </a:lnTo>
                <a:lnTo>
                  <a:pt x="14100" y="7946"/>
                </a:lnTo>
                <a:lnTo>
                  <a:pt x="14096" y="7955"/>
                </a:lnTo>
                <a:lnTo>
                  <a:pt x="14094" y="7965"/>
                </a:lnTo>
                <a:lnTo>
                  <a:pt x="14092" y="7977"/>
                </a:lnTo>
                <a:lnTo>
                  <a:pt x="14091" y="7989"/>
                </a:lnTo>
                <a:lnTo>
                  <a:pt x="14091" y="7998"/>
                </a:lnTo>
                <a:lnTo>
                  <a:pt x="14090" y="8009"/>
                </a:lnTo>
                <a:lnTo>
                  <a:pt x="14088" y="8019"/>
                </a:lnTo>
                <a:lnTo>
                  <a:pt x="14085" y="8030"/>
                </a:lnTo>
                <a:lnTo>
                  <a:pt x="14082" y="8041"/>
                </a:lnTo>
                <a:lnTo>
                  <a:pt x="14079" y="8051"/>
                </a:lnTo>
                <a:lnTo>
                  <a:pt x="14074" y="8062"/>
                </a:lnTo>
                <a:lnTo>
                  <a:pt x="14069" y="8073"/>
                </a:lnTo>
                <a:lnTo>
                  <a:pt x="14064" y="8083"/>
                </a:lnTo>
                <a:lnTo>
                  <a:pt x="14058" y="8093"/>
                </a:lnTo>
                <a:lnTo>
                  <a:pt x="14052" y="8102"/>
                </a:lnTo>
                <a:lnTo>
                  <a:pt x="14045" y="8110"/>
                </a:lnTo>
                <a:lnTo>
                  <a:pt x="14038" y="8117"/>
                </a:lnTo>
                <a:lnTo>
                  <a:pt x="14031" y="8123"/>
                </a:lnTo>
                <a:lnTo>
                  <a:pt x="14024" y="8129"/>
                </a:lnTo>
                <a:lnTo>
                  <a:pt x="14017" y="8133"/>
                </a:lnTo>
                <a:lnTo>
                  <a:pt x="14016" y="8136"/>
                </a:lnTo>
                <a:lnTo>
                  <a:pt x="14013" y="8139"/>
                </a:lnTo>
                <a:lnTo>
                  <a:pt x="14009" y="8143"/>
                </a:lnTo>
                <a:lnTo>
                  <a:pt x="14003" y="8148"/>
                </a:lnTo>
                <a:lnTo>
                  <a:pt x="13988" y="8159"/>
                </a:lnTo>
                <a:lnTo>
                  <a:pt x="13968" y="8171"/>
                </a:lnTo>
                <a:lnTo>
                  <a:pt x="13918" y="8200"/>
                </a:lnTo>
                <a:lnTo>
                  <a:pt x="13862" y="8232"/>
                </a:lnTo>
                <a:lnTo>
                  <a:pt x="13834" y="8249"/>
                </a:lnTo>
                <a:lnTo>
                  <a:pt x="13807" y="8267"/>
                </a:lnTo>
                <a:lnTo>
                  <a:pt x="13781" y="8283"/>
                </a:lnTo>
                <a:lnTo>
                  <a:pt x="13759" y="8300"/>
                </a:lnTo>
                <a:lnTo>
                  <a:pt x="13749" y="8307"/>
                </a:lnTo>
                <a:lnTo>
                  <a:pt x="13741" y="8315"/>
                </a:lnTo>
                <a:lnTo>
                  <a:pt x="13734" y="8322"/>
                </a:lnTo>
                <a:lnTo>
                  <a:pt x="13728" y="8329"/>
                </a:lnTo>
                <a:lnTo>
                  <a:pt x="13724" y="8336"/>
                </a:lnTo>
                <a:lnTo>
                  <a:pt x="13721" y="8343"/>
                </a:lnTo>
                <a:lnTo>
                  <a:pt x="13720" y="8349"/>
                </a:lnTo>
                <a:lnTo>
                  <a:pt x="13721" y="8354"/>
                </a:lnTo>
                <a:lnTo>
                  <a:pt x="13709" y="8355"/>
                </a:lnTo>
                <a:lnTo>
                  <a:pt x="13695" y="8357"/>
                </a:lnTo>
                <a:lnTo>
                  <a:pt x="13677" y="8360"/>
                </a:lnTo>
                <a:lnTo>
                  <a:pt x="13657" y="8364"/>
                </a:lnTo>
                <a:lnTo>
                  <a:pt x="13637" y="8369"/>
                </a:lnTo>
                <a:lnTo>
                  <a:pt x="13616" y="8375"/>
                </a:lnTo>
                <a:lnTo>
                  <a:pt x="13593" y="8384"/>
                </a:lnTo>
                <a:lnTo>
                  <a:pt x="13571" y="8392"/>
                </a:lnTo>
                <a:lnTo>
                  <a:pt x="13549" y="8401"/>
                </a:lnTo>
                <a:lnTo>
                  <a:pt x="13526" y="8410"/>
                </a:lnTo>
                <a:lnTo>
                  <a:pt x="13506" y="8421"/>
                </a:lnTo>
                <a:lnTo>
                  <a:pt x="13487" y="8432"/>
                </a:lnTo>
                <a:lnTo>
                  <a:pt x="13470" y="8443"/>
                </a:lnTo>
                <a:lnTo>
                  <a:pt x="13456" y="8455"/>
                </a:lnTo>
                <a:lnTo>
                  <a:pt x="13449" y="8462"/>
                </a:lnTo>
                <a:lnTo>
                  <a:pt x="13444" y="8468"/>
                </a:lnTo>
                <a:lnTo>
                  <a:pt x="13439" y="8475"/>
                </a:lnTo>
                <a:lnTo>
                  <a:pt x="13436" y="8481"/>
                </a:lnTo>
                <a:lnTo>
                  <a:pt x="13427" y="8482"/>
                </a:lnTo>
                <a:lnTo>
                  <a:pt x="13415" y="8484"/>
                </a:lnTo>
                <a:lnTo>
                  <a:pt x="13402" y="8487"/>
                </a:lnTo>
                <a:lnTo>
                  <a:pt x="13387" y="8490"/>
                </a:lnTo>
                <a:lnTo>
                  <a:pt x="13355" y="8500"/>
                </a:lnTo>
                <a:lnTo>
                  <a:pt x="13320" y="8514"/>
                </a:lnTo>
                <a:lnTo>
                  <a:pt x="13303" y="8520"/>
                </a:lnTo>
                <a:lnTo>
                  <a:pt x="13286" y="8527"/>
                </a:lnTo>
                <a:lnTo>
                  <a:pt x="13271" y="8534"/>
                </a:lnTo>
                <a:lnTo>
                  <a:pt x="13257" y="8541"/>
                </a:lnTo>
                <a:lnTo>
                  <a:pt x="13245" y="8548"/>
                </a:lnTo>
                <a:lnTo>
                  <a:pt x="13235" y="8554"/>
                </a:lnTo>
                <a:lnTo>
                  <a:pt x="13228" y="8561"/>
                </a:lnTo>
                <a:lnTo>
                  <a:pt x="13223" y="8566"/>
                </a:lnTo>
                <a:lnTo>
                  <a:pt x="13206" y="8566"/>
                </a:lnTo>
                <a:lnTo>
                  <a:pt x="13190" y="8564"/>
                </a:lnTo>
                <a:lnTo>
                  <a:pt x="13174" y="8560"/>
                </a:lnTo>
                <a:lnTo>
                  <a:pt x="13159" y="8556"/>
                </a:lnTo>
                <a:lnTo>
                  <a:pt x="13147" y="8551"/>
                </a:lnTo>
                <a:lnTo>
                  <a:pt x="13135" y="8545"/>
                </a:lnTo>
                <a:lnTo>
                  <a:pt x="13124" y="8538"/>
                </a:lnTo>
                <a:lnTo>
                  <a:pt x="13114" y="8530"/>
                </a:lnTo>
                <a:lnTo>
                  <a:pt x="13105" y="8522"/>
                </a:lnTo>
                <a:lnTo>
                  <a:pt x="13096" y="8513"/>
                </a:lnTo>
                <a:lnTo>
                  <a:pt x="13089" y="8502"/>
                </a:lnTo>
                <a:lnTo>
                  <a:pt x="13082" y="8492"/>
                </a:lnTo>
                <a:lnTo>
                  <a:pt x="13069" y="8471"/>
                </a:lnTo>
                <a:lnTo>
                  <a:pt x="13059" y="8450"/>
                </a:lnTo>
                <a:lnTo>
                  <a:pt x="13039" y="8407"/>
                </a:lnTo>
                <a:lnTo>
                  <a:pt x="13021" y="8369"/>
                </a:lnTo>
                <a:lnTo>
                  <a:pt x="13016" y="8362"/>
                </a:lnTo>
                <a:lnTo>
                  <a:pt x="13011" y="8355"/>
                </a:lnTo>
                <a:lnTo>
                  <a:pt x="13005" y="8348"/>
                </a:lnTo>
                <a:lnTo>
                  <a:pt x="12999" y="8343"/>
                </a:lnTo>
                <a:lnTo>
                  <a:pt x="12993" y="8339"/>
                </a:lnTo>
                <a:lnTo>
                  <a:pt x="12986" y="8336"/>
                </a:lnTo>
                <a:lnTo>
                  <a:pt x="12978" y="8334"/>
                </a:lnTo>
                <a:lnTo>
                  <a:pt x="12970" y="8333"/>
                </a:lnTo>
                <a:lnTo>
                  <a:pt x="12971" y="8326"/>
                </a:lnTo>
                <a:lnTo>
                  <a:pt x="12971" y="8320"/>
                </a:lnTo>
                <a:lnTo>
                  <a:pt x="12970" y="8313"/>
                </a:lnTo>
                <a:lnTo>
                  <a:pt x="12969" y="8308"/>
                </a:lnTo>
                <a:lnTo>
                  <a:pt x="12966" y="8296"/>
                </a:lnTo>
                <a:lnTo>
                  <a:pt x="12960" y="8286"/>
                </a:lnTo>
                <a:lnTo>
                  <a:pt x="12945" y="8264"/>
                </a:lnTo>
                <a:lnTo>
                  <a:pt x="12928" y="8238"/>
                </a:lnTo>
                <a:lnTo>
                  <a:pt x="12932" y="8236"/>
                </a:lnTo>
                <a:lnTo>
                  <a:pt x="12935" y="8232"/>
                </a:lnTo>
                <a:lnTo>
                  <a:pt x="12937" y="8226"/>
                </a:lnTo>
                <a:lnTo>
                  <a:pt x="12937" y="8218"/>
                </a:lnTo>
                <a:lnTo>
                  <a:pt x="12935" y="8207"/>
                </a:lnTo>
                <a:lnTo>
                  <a:pt x="12932" y="8194"/>
                </a:lnTo>
                <a:lnTo>
                  <a:pt x="12928" y="8180"/>
                </a:lnTo>
                <a:lnTo>
                  <a:pt x="12923" y="8164"/>
                </a:lnTo>
                <a:lnTo>
                  <a:pt x="12909" y="8128"/>
                </a:lnTo>
                <a:lnTo>
                  <a:pt x="12893" y="8086"/>
                </a:lnTo>
                <a:lnTo>
                  <a:pt x="12875" y="8042"/>
                </a:lnTo>
                <a:lnTo>
                  <a:pt x="12855" y="7995"/>
                </a:lnTo>
                <a:lnTo>
                  <a:pt x="12813" y="7901"/>
                </a:lnTo>
                <a:lnTo>
                  <a:pt x="12775" y="7813"/>
                </a:lnTo>
                <a:lnTo>
                  <a:pt x="12759" y="7776"/>
                </a:lnTo>
                <a:lnTo>
                  <a:pt x="12747" y="7742"/>
                </a:lnTo>
                <a:lnTo>
                  <a:pt x="12743" y="7728"/>
                </a:lnTo>
                <a:lnTo>
                  <a:pt x="12740" y="7716"/>
                </a:lnTo>
                <a:lnTo>
                  <a:pt x="12738" y="7706"/>
                </a:lnTo>
                <a:lnTo>
                  <a:pt x="12737" y="7698"/>
                </a:lnTo>
                <a:lnTo>
                  <a:pt x="12730" y="7693"/>
                </a:lnTo>
                <a:lnTo>
                  <a:pt x="12722" y="7686"/>
                </a:lnTo>
                <a:lnTo>
                  <a:pt x="12715" y="7677"/>
                </a:lnTo>
                <a:lnTo>
                  <a:pt x="12707" y="7666"/>
                </a:lnTo>
                <a:lnTo>
                  <a:pt x="12700" y="7653"/>
                </a:lnTo>
                <a:lnTo>
                  <a:pt x="12692" y="7640"/>
                </a:lnTo>
                <a:lnTo>
                  <a:pt x="12685" y="7625"/>
                </a:lnTo>
                <a:lnTo>
                  <a:pt x="12678" y="7609"/>
                </a:lnTo>
                <a:lnTo>
                  <a:pt x="12666" y="7577"/>
                </a:lnTo>
                <a:lnTo>
                  <a:pt x="12654" y="7547"/>
                </a:lnTo>
                <a:lnTo>
                  <a:pt x="12646" y="7520"/>
                </a:lnTo>
                <a:lnTo>
                  <a:pt x="12641" y="7498"/>
                </a:lnTo>
                <a:lnTo>
                  <a:pt x="12631" y="7490"/>
                </a:lnTo>
                <a:lnTo>
                  <a:pt x="12622" y="7481"/>
                </a:lnTo>
                <a:lnTo>
                  <a:pt x="12612" y="7470"/>
                </a:lnTo>
                <a:lnTo>
                  <a:pt x="12603" y="7459"/>
                </a:lnTo>
                <a:lnTo>
                  <a:pt x="12593" y="7446"/>
                </a:lnTo>
                <a:lnTo>
                  <a:pt x="12584" y="7432"/>
                </a:lnTo>
                <a:lnTo>
                  <a:pt x="12575" y="7418"/>
                </a:lnTo>
                <a:lnTo>
                  <a:pt x="12567" y="7403"/>
                </a:lnTo>
                <a:lnTo>
                  <a:pt x="12551" y="7372"/>
                </a:lnTo>
                <a:lnTo>
                  <a:pt x="12535" y="7341"/>
                </a:lnTo>
                <a:lnTo>
                  <a:pt x="12523" y="7312"/>
                </a:lnTo>
                <a:lnTo>
                  <a:pt x="12514" y="7286"/>
                </a:lnTo>
                <a:lnTo>
                  <a:pt x="12503" y="7278"/>
                </a:lnTo>
                <a:lnTo>
                  <a:pt x="12491" y="7268"/>
                </a:lnTo>
                <a:lnTo>
                  <a:pt x="12478" y="7255"/>
                </a:lnTo>
                <a:lnTo>
                  <a:pt x="12464" y="7239"/>
                </a:lnTo>
                <a:lnTo>
                  <a:pt x="12449" y="7223"/>
                </a:lnTo>
                <a:lnTo>
                  <a:pt x="12433" y="7206"/>
                </a:lnTo>
                <a:lnTo>
                  <a:pt x="12418" y="7187"/>
                </a:lnTo>
                <a:lnTo>
                  <a:pt x="12401" y="7168"/>
                </a:lnTo>
                <a:lnTo>
                  <a:pt x="12386" y="7148"/>
                </a:lnTo>
                <a:lnTo>
                  <a:pt x="12372" y="7128"/>
                </a:lnTo>
                <a:lnTo>
                  <a:pt x="12358" y="7108"/>
                </a:lnTo>
                <a:lnTo>
                  <a:pt x="12346" y="7088"/>
                </a:lnTo>
                <a:lnTo>
                  <a:pt x="12335" y="7070"/>
                </a:lnTo>
                <a:lnTo>
                  <a:pt x="12326" y="7052"/>
                </a:lnTo>
                <a:lnTo>
                  <a:pt x="12319" y="7036"/>
                </a:lnTo>
                <a:lnTo>
                  <a:pt x="12313" y="7021"/>
                </a:lnTo>
                <a:lnTo>
                  <a:pt x="12343" y="7025"/>
                </a:lnTo>
                <a:lnTo>
                  <a:pt x="12375" y="7027"/>
                </a:lnTo>
                <a:lnTo>
                  <a:pt x="12391" y="7028"/>
                </a:lnTo>
                <a:lnTo>
                  <a:pt x="12406" y="7027"/>
                </a:lnTo>
                <a:lnTo>
                  <a:pt x="12423" y="7026"/>
                </a:lnTo>
                <a:lnTo>
                  <a:pt x="12437" y="7024"/>
                </a:lnTo>
                <a:lnTo>
                  <a:pt x="12451" y="7021"/>
                </a:lnTo>
                <a:lnTo>
                  <a:pt x="12464" y="7016"/>
                </a:lnTo>
                <a:lnTo>
                  <a:pt x="12469" y="7013"/>
                </a:lnTo>
                <a:lnTo>
                  <a:pt x="12475" y="7010"/>
                </a:lnTo>
                <a:lnTo>
                  <a:pt x="12480" y="7006"/>
                </a:lnTo>
                <a:lnTo>
                  <a:pt x="12485" y="7001"/>
                </a:lnTo>
                <a:lnTo>
                  <a:pt x="12489" y="6997"/>
                </a:lnTo>
                <a:lnTo>
                  <a:pt x="12492" y="6990"/>
                </a:lnTo>
                <a:lnTo>
                  <a:pt x="12496" y="6985"/>
                </a:lnTo>
                <a:lnTo>
                  <a:pt x="12498" y="6978"/>
                </a:lnTo>
                <a:lnTo>
                  <a:pt x="12501" y="6971"/>
                </a:lnTo>
                <a:lnTo>
                  <a:pt x="12502" y="6964"/>
                </a:lnTo>
                <a:lnTo>
                  <a:pt x="12503" y="6956"/>
                </a:lnTo>
                <a:lnTo>
                  <a:pt x="12504" y="6947"/>
                </a:lnTo>
                <a:lnTo>
                  <a:pt x="12494" y="6946"/>
                </a:lnTo>
                <a:lnTo>
                  <a:pt x="12486" y="6944"/>
                </a:lnTo>
                <a:lnTo>
                  <a:pt x="12480" y="6941"/>
                </a:lnTo>
                <a:lnTo>
                  <a:pt x="12474" y="6937"/>
                </a:lnTo>
                <a:lnTo>
                  <a:pt x="12469" y="6932"/>
                </a:lnTo>
                <a:lnTo>
                  <a:pt x="12465" y="6927"/>
                </a:lnTo>
                <a:lnTo>
                  <a:pt x="12463" y="6921"/>
                </a:lnTo>
                <a:lnTo>
                  <a:pt x="12461" y="6915"/>
                </a:lnTo>
                <a:lnTo>
                  <a:pt x="12461" y="6910"/>
                </a:lnTo>
                <a:lnTo>
                  <a:pt x="12462" y="6904"/>
                </a:lnTo>
                <a:lnTo>
                  <a:pt x="12464" y="6899"/>
                </a:lnTo>
                <a:lnTo>
                  <a:pt x="12467" y="6894"/>
                </a:lnTo>
                <a:lnTo>
                  <a:pt x="12472" y="6890"/>
                </a:lnTo>
                <a:lnTo>
                  <a:pt x="12478" y="6887"/>
                </a:lnTo>
                <a:lnTo>
                  <a:pt x="12485" y="6885"/>
                </a:lnTo>
                <a:lnTo>
                  <a:pt x="12493" y="6884"/>
                </a:lnTo>
                <a:lnTo>
                  <a:pt x="12491" y="6872"/>
                </a:lnTo>
                <a:lnTo>
                  <a:pt x="12490" y="6860"/>
                </a:lnTo>
                <a:lnTo>
                  <a:pt x="12490" y="6849"/>
                </a:lnTo>
                <a:lnTo>
                  <a:pt x="12492" y="6838"/>
                </a:lnTo>
                <a:lnTo>
                  <a:pt x="12494" y="6827"/>
                </a:lnTo>
                <a:lnTo>
                  <a:pt x="12498" y="6817"/>
                </a:lnTo>
                <a:lnTo>
                  <a:pt x="12501" y="6807"/>
                </a:lnTo>
                <a:lnTo>
                  <a:pt x="12506" y="6797"/>
                </a:lnTo>
                <a:lnTo>
                  <a:pt x="12515" y="6778"/>
                </a:lnTo>
                <a:lnTo>
                  <a:pt x="12524" y="6759"/>
                </a:lnTo>
                <a:lnTo>
                  <a:pt x="12528" y="6750"/>
                </a:lnTo>
                <a:lnTo>
                  <a:pt x="12532" y="6740"/>
                </a:lnTo>
                <a:lnTo>
                  <a:pt x="12535" y="6730"/>
                </a:lnTo>
                <a:lnTo>
                  <a:pt x="12539" y="6721"/>
                </a:lnTo>
                <a:lnTo>
                  <a:pt x="12544" y="6697"/>
                </a:lnTo>
                <a:lnTo>
                  <a:pt x="12550" y="6670"/>
                </a:lnTo>
                <a:lnTo>
                  <a:pt x="12557" y="6641"/>
                </a:lnTo>
                <a:lnTo>
                  <a:pt x="12563" y="6611"/>
                </a:lnTo>
                <a:lnTo>
                  <a:pt x="12569" y="6580"/>
                </a:lnTo>
                <a:lnTo>
                  <a:pt x="12574" y="6550"/>
                </a:lnTo>
                <a:lnTo>
                  <a:pt x="12577" y="6521"/>
                </a:lnTo>
                <a:lnTo>
                  <a:pt x="12578" y="6493"/>
                </a:lnTo>
                <a:lnTo>
                  <a:pt x="12553" y="6493"/>
                </a:lnTo>
                <a:lnTo>
                  <a:pt x="12531" y="6495"/>
                </a:lnTo>
                <a:lnTo>
                  <a:pt x="12514" y="6497"/>
                </a:lnTo>
                <a:lnTo>
                  <a:pt x="12498" y="6501"/>
                </a:lnTo>
                <a:lnTo>
                  <a:pt x="12467" y="6511"/>
                </a:lnTo>
                <a:lnTo>
                  <a:pt x="12430" y="6524"/>
                </a:lnTo>
                <a:lnTo>
                  <a:pt x="12430" y="6528"/>
                </a:lnTo>
                <a:lnTo>
                  <a:pt x="12428" y="6531"/>
                </a:lnTo>
                <a:lnTo>
                  <a:pt x="12427" y="6534"/>
                </a:lnTo>
                <a:lnTo>
                  <a:pt x="12424" y="6536"/>
                </a:lnTo>
                <a:lnTo>
                  <a:pt x="12421" y="6538"/>
                </a:lnTo>
                <a:lnTo>
                  <a:pt x="12418" y="6539"/>
                </a:lnTo>
                <a:lnTo>
                  <a:pt x="12414" y="6540"/>
                </a:lnTo>
                <a:lnTo>
                  <a:pt x="12409" y="6540"/>
                </a:lnTo>
                <a:lnTo>
                  <a:pt x="12399" y="6540"/>
                </a:lnTo>
                <a:lnTo>
                  <a:pt x="12387" y="6539"/>
                </a:lnTo>
                <a:lnTo>
                  <a:pt x="12375" y="6537"/>
                </a:lnTo>
                <a:lnTo>
                  <a:pt x="12363" y="6535"/>
                </a:lnTo>
                <a:lnTo>
                  <a:pt x="12313" y="6521"/>
                </a:lnTo>
                <a:lnTo>
                  <a:pt x="12281" y="6513"/>
                </a:lnTo>
                <a:lnTo>
                  <a:pt x="12278" y="6509"/>
                </a:lnTo>
                <a:lnTo>
                  <a:pt x="12274" y="6505"/>
                </a:lnTo>
                <a:lnTo>
                  <a:pt x="12269" y="6502"/>
                </a:lnTo>
                <a:lnTo>
                  <a:pt x="12263" y="6500"/>
                </a:lnTo>
                <a:lnTo>
                  <a:pt x="12257" y="6499"/>
                </a:lnTo>
                <a:lnTo>
                  <a:pt x="12249" y="6499"/>
                </a:lnTo>
                <a:lnTo>
                  <a:pt x="12241" y="6499"/>
                </a:lnTo>
                <a:lnTo>
                  <a:pt x="12233" y="6500"/>
                </a:lnTo>
                <a:lnTo>
                  <a:pt x="12194" y="6506"/>
                </a:lnTo>
                <a:lnTo>
                  <a:pt x="12149" y="6514"/>
                </a:lnTo>
                <a:lnTo>
                  <a:pt x="12127" y="6518"/>
                </a:lnTo>
                <a:lnTo>
                  <a:pt x="12104" y="6520"/>
                </a:lnTo>
                <a:lnTo>
                  <a:pt x="12093" y="6521"/>
                </a:lnTo>
                <a:lnTo>
                  <a:pt x="12082" y="6520"/>
                </a:lnTo>
                <a:lnTo>
                  <a:pt x="12071" y="6520"/>
                </a:lnTo>
                <a:lnTo>
                  <a:pt x="12061" y="6518"/>
                </a:lnTo>
                <a:lnTo>
                  <a:pt x="12051" y="6516"/>
                </a:lnTo>
                <a:lnTo>
                  <a:pt x="12042" y="6513"/>
                </a:lnTo>
                <a:lnTo>
                  <a:pt x="12032" y="6509"/>
                </a:lnTo>
                <a:lnTo>
                  <a:pt x="12023" y="6504"/>
                </a:lnTo>
                <a:lnTo>
                  <a:pt x="12015" y="6497"/>
                </a:lnTo>
                <a:lnTo>
                  <a:pt x="12008" y="6490"/>
                </a:lnTo>
                <a:lnTo>
                  <a:pt x="12002" y="6480"/>
                </a:lnTo>
                <a:lnTo>
                  <a:pt x="11996" y="6470"/>
                </a:lnTo>
                <a:lnTo>
                  <a:pt x="11980" y="6455"/>
                </a:lnTo>
                <a:lnTo>
                  <a:pt x="11967" y="6440"/>
                </a:lnTo>
                <a:lnTo>
                  <a:pt x="11956" y="6426"/>
                </a:lnTo>
                <a:lnTo>
                  <a:pt x="11947" y="6411"/>
                </a:lnTo>
                <a:lnTo>
                  <a:pt x="11940" y="6397"/>
                </a:lnTo>
                <a:lnTo>
                  <a:pt x="11934" y="6382"/>
                </a:lnTo>
                <a:lnTo>
                  <a:pt x="11929" y="6368"/>
                </a:lnTo>
                <a:lnTo>
                  <a:pt x="11925" y="6352"/>
                </a:lnTo>
                <a:lnTo>
                  <a:pt x="11920" y="6320"/>
                </a:lnTo>
                <a:lnTo>
                  <a:pt x="11915" y="6287"/>
                </a:lnTo>
                <a:lnTo>
                  <a:pt x="11913" y="6269"/>
                </a:lnTo>
                <a:lnTo>
                  <a:pt x="11909" y="6250"/>
                </a:lnTo>
                <a:lnTo>
                  <a:pt x="11905" y="6229"/>
                </a:lnTo>
                <a:lnTo>
                  <a:pt x="11900" y="6207"/>
                </a:lnTo>
                <a:lnTo>
                  <a:pt x="11896" y="6197"/>
                </a:lnTo>
                <a:lnTo>
                  <a:pt x="11891" y="6188"/>
                </a:lnTo>
                <a:lnTo>
                  <a:pt x="11885" y="6180"/>
                </a:lnTo>
                <a:lnTo>
                  <a:pt x="11878" y="6173"/>
                </a:lnTo>
                <a:lnTo>
                  <a:pt x="11870" y="6167"/>
                </a:lnTo>
                <a:lnTo>
                  <a:pt x="11861" y="6162"/>
                </a:lnTo>
                <a:lnTo>
                  <a:pt x="11851" y="6157"/>
                </a:lnTo>
                <a:lnTo>
                  <a:pt x="11841" y="6153"/>
                </a:lnTo>
                <a:lnTo>
                  <a:pt x="11819" y="6147"/>
                </a:lnTo>
                <a:lnTo>
                  <a:pt x="11797" y="6143"/>
                </a:lnTo>
                <a:lnTo>
                  <a:pt x="11775" y="6139"/>
                </a:lnTo>
                <a:lnTo>
                  <a:pt x="11756" y="6136"/>
                </a:lnTo>
                <a:lnTo>
                  <a:pt x="11743" y="6134"/>
                </a:lnTo>
                <a:lnTo>
                  <a:pt x="11733" y="6133"/>
                </a:lnTo>
                <a:lnTo>
                  <a:pt x="11723" y="6134"/>
                </a:lnTo>
                <a:lnTo>
                  <a:pt x="11715" y="6135"/>
                </a:lnTo>
                <a:lnTo>
                  <a:pt x="11707" y="6138"/>
                </a:lnTo>
                <a:lnTo>
                  <a:pt x="11701" y="6141"/>
                </a:lnTo>
                <a:lnTo>
                  <a:pt x="11696" y="6145"/>
                </a:lnTo>
                <a:lnTo>
                  <a:pt x="11692" y="6151"/>
                </a:lnTo>
                <a:lnTo>
                  <a:pt x="11688" y="6156"/>
                </a:lnTo>
                <a:lnTo>
                  <a:pt x="11686" y="6163"/>
                </a:lnTo>
                <a:lnTo>
                  <a:pt x="11684" y="6170"/>
                </a:lnTo>
                <a:lnTo>
                  <a:pt x="11683" y="6178"/>
                </a:lnTo>
                <a:lnTo>
                  <a:pt x="11683" y="6195"/>
                </a:lnTo>
                <a:lnTo>
                  <a:pt x="11684" y="6213"/>
                </a:lnTo>
                <a:lnTo>
                  <a:pt x="11687" y="6232"/>
                </a:lnTo>
                <a:lnTo>
                  <a:pt x="11692" y="6252"/>
                </a:lnTo>
                <a:lnTo>
                  <a:pt x="11696" y="6271"/>
                </a:lnTo>
                <a:lnTo>
                  <a:pt x="11701" y="6289"/>
                </a:lnTo>
                <a:lnTo>
                  <a:pt x="11705" y="6306"/>
                </a:lnTo>
                <a:lnTo>
                  <a:pt x="11709" y="6321"/>
                </a:lnTo>
                <a:lnTo>
                  <a:pt x="11710" y="6334"/>
                </a:lnTo>
                <a:lnTo>
                  <a:pt x="11710" y="6343"/>
                </a:lnTo>
                <a:lnTo>
                  <a:pt x="11717" y="6344"/>
                </a:lnTo>
                <a:lnTo>
                  <a:pt x="11723" y="6345"/>
                </a:lnTo>
                <a:lnTo>
                  <a:pt x="11728" y="6346"/>
                </a:lnTo>
                <a:lnTo>
                  <a:pt x="11732" y="6348"/>
                </a:lnTo>
                <a:lnTo>
                  <a:pt x="11735" y="6351"/>
                </a:lnTo>
                <a:lnTo>
                  <a:pt x="11737" y="6353"/>
                </a:lnTo>
                <a:lnTo>
                  <a:pt x="11737" y="6357"/>
                </a:lnTo>
                <a:lnTo>
                  <a:pt x="11737" y="6361"/>
                </a:lnTo>
                <a:lnTo>
                  <a:pt x="11735" y="6370"/>
                </a:lnTo>
                <a:lnTo>
                  <a:pt x="11730" y="6380"/>
                </a:lnTo>
                <a:lnTo>
                  <a:pt x="11724" y="6391"/>
                </a:lnTo>
                <a:lnTo>
                  <a:pt x="11715" y="6403"/>
                </a:lnTo>
                <a:lnTo>
                  <a:pt x="11696" y="6429"/>
                </a:lnTo>
                <a:lnTo>
                  <a:pt x="11677" y="6455"/>
                </a:lnTo>
                <a:lnTo>
                  <a:pt x="11669" y="6468"/>
                </a:lnTo>
                <a:lnTo>
                  <a:pt x="11663" y="6480"/>
                </a:lnTo>
                <a:lnTo>
                  <a:pt x="11661" y="6486"/>
                </a:lnTo>
                <a:lnTo>
                  <a:pt x="11659" y="6492"/>
                </a:lnTo>
                <a:lnTo>
                  <a:pt x="11658" y="6498"/>
                </a:lnTo>
                <a:lnTo>
                  <a:pt x="11657" y="6503"/>
                </a:lnTo>
                <a:lnTo>
                  <a:pt x="11644" y="6500"/>
                </a:lnTo>
                <a:lnTo>
                  <a:pt x="11632" y="6496"/>
                </a:lnTo>
                <a:lnTo>
                  <a:pt x="11621" y="6491"/>
                </a:lnTo>
                <a:lnTo>
                  <a:pt x="11612" y="6485"/>
                </a:lnTo>
                <a:lnTo>
                  <a:pt x="11603" y="6479"/>
                </a:lnTo>
                <a:lnTo>
                  <a:pt x="11595" y="6473"/>
                </a:lnTo>
                <a:lnTo>
                  <a:pt x="11587" y="6466"/>
                </a:lnTo>
                <a:lnTo>
                  <a:pt x="11581" y="6459"/>
                </a:lnTo>
                <a:lnTo>
                  <a:pt x="11575" y="6451"/>
                </a:lnTo>
                <a:lnTo>
                  <a:pt x="11569" y="6443"/>
                </a:lnTo>
                <a:lnTo>
                  <a:pt x="11564" y="6435"/>
                </a:lnTo>
                <a:lnTo>
                  <a:pt x="11560" y="6427"/>
                </a:lnTo>
                <a:lnTo>
                  <a:pt x="11552" y="6409"/>
                </a:lnTo>
                <a:lnTo>
                  <a:pt x="11546" y="6391"/>
                </a:lnTo>
                <a:lnTo>
                  <a:pt x="11534" y="6353"/>
                </a:lnTo>
                <a:lnTo>
                  <a:pt x="11521" y="6320"/>
                </a:lnTo>
                <a:lnTo>
                  <a:pt x="11517" y="6312"/>
                </a:lnTo>
                <a:lnTo>
                  <a:pt x="11513" y="6304"/>
                </a:lnTo>
                <a:lnTo>
                  <a:pt x="11508" y="6297"/>
                </a:lnTo>
                <a:lnTo>
                  <a:pt x="11503" y="6291"/>
                </a:lnTo>
                <a:lnTo>
                  <a:pt x="11498" y="6285"/>
                </a:lnTo>
                <a:lnTo>
                  <a:pt x="11491" y="6279"/>
                </a:lnTo>
                <a:lnTo>
                  <a:pt x="11485" y="6274"/>
                </a:lnTo>
                <a:lnTo>
                  <a:pt x="11477" y="6270"/>
                </a:lnTo>
                <a:lnTo>
                  <a:pt x="11473" y="6262"/>
                </a:lnTo>
                <a:lnTo>
                  <a:pt x="11470" y="6255"/>
                </a:lnTo>
                <a:lnTo>
                  <a:pt x="11467" y="6248"/>
                </a:lnTo>
                <a:lnTo>
                  <a:pt x="11465" y="6241"/>
                </a:lnTo>
                <a:lnTo>
                  <a:pt x="11462" y="6227"/>
                </a:lnTo>
                <a:lnTo>
                  <a:pt x="11458" y="6217"/>
                </a:lnTo>
                <a:lnTo>
                  <a:pt x="11456" y="6212"/>
                </a:lnTo>
                <a:lnTo>
                  <a:pt x="11453" y="6208"/>
                </a:lnTo>
                <a:lnTo>
                  <a:pt x="11450" y="6204"/>
                </a:lnTo>
                <a:lnTo>
                  <a:pt x="11445" y="6201"/>
                </a:lnTo>
                <a:lnTo>
                  <a:pt x="11440" y="6199"/>
                </a:lnTo>
                <a:lnTo>
                  <a:pt x="11433" y="6197"/>
                </a:lnTo>
                <a:lnTo>
                  <a:pt x="11424" y="6196"/>
                </a:lnTo>
                <a:lnTo>
                  <a:pt x="11414" y="6196"/>
                </a:lnTo>
                <a:lnTo>
                  <a:pt x="11415" y="6173"/>
                </a:lnTo>
                <a:lnTo>
                  <a:pt x="11418" y="6147"/>
                </a:lnTo>
                <a:lnTo>
                  <a:pt x="11420" y="6120"/>
                </a:lnTo>
                <a:lnTo>
                  <a:pt x="11422" y="6092"/>
                </a:lnTo>
                <a:lnTo>
                  <a:pt x="11421" y="6079"/>
                </a:lnTo>
                <a:lnTo>
                  <a:pt x="11420" y="6067"/>
                </a:lnTo>
                <a:lnTo>
                  <a:pt x="11417" y="6055"/>
                </a:lnTo>
                <a:lnTo>
                  <a:pt x="11414" y="6045"/>
                </a:lnTo>
                <a:lnTo>
                  <a:pt x="11411" y="6040"/>
                </a:lnTo>
                <a:lnTo>
                  <a:pt x="11409" y="6035"/>
                </a:lnTo>
                <a:lnTo>
                  <a:pt x="11405" y="6031"/>
                </a:lnTo>
                <a:lnTo>
                  <a:pt x="11401" y="6027"/>
                </a:lnTo>
                <a:lnTo>
                  <a:pt x="11397" y="6024"/>
                </a:lnTo>
                <a:lnTo>
                  <a:pt x="11392" y="6021"/>
                </a:lnTo>
                <a:lnTo>
                  <a:pt x="11387" y="6018"/>
                </a:lnTo>
                <a:lnTo>
                  <a:pt x="11382" y="6016"/>
                </a:lnTo>
                <a:lnTo>
                  <a:pt x="11381" y="6013"/>
                </a:lnTo>
                <a:lnTo>
                  <a:pt x="11380" y="6011"/>
                </a:lnTo>
                <a:lnTo>
                  <a:pt x="11379" y="6009"/>
                </a:lnTo>
                <a:lnTo>
                  <a:pt x="11377" y="6006"/>
                </a:lnTo>
                <a:lnTo>
                  <a:pt x="11371" y="6002"/>
                </a:lnTo>
                <a:lnTo>
                  <a:pt x="11363" y="5998"/>
                </a:lnTo>
                <a:lnTo>
                  <a:pt x="11343" y="5990"/>
                </a:lnTo>
                <a:lnTo>
                  <a:pt x="11320" y="5981"/>
                </a:lnTo>
                <a:lnTo>
                  <a:pt x="11296" y="5973"/>
                </a:lnTo>
                <a:lnTo>
                  <a:pt x="11273" y="5964"/>
                </a:lnTo>
                <a:lnTo>
                  <a:pt x="11263" y="5959"/>
                </a:lnTo>
                <a:lnTo>
                  <a:pt x="11255" y="5954"/>
                </a:lnTo>
                <a:lnTo>
                  <a:pt x="11249" y="5948"/>
                </a:lnTo>
                <a:lnTo>
                  <a:pt x="11244" y="5941"/>
                </a:lnTo>
                <a:lnTo>
                  <a:pt x="11237" y="5941"/>
                </a:lnTo>
                <a:lnTo>
                  <a:pt x="11229" y="5938"/>
                </a:lnTo>
                <a:lnTo>
                  <a:pt x="11221" y="5934"/>
                </a:lnTo>
                <a:lnTo>
                  <a:pt x="11212" y="5929"/>
                </a:lnTo>
                <a:lnTo>
                  <a:pt x="11203" y="5923"/>
                </a:lnTo>
                <a:lnTo>
                  <a:pt x="11193" y="5916"/>
                </a:lnTo>
                <a:lnTo>
                  <a:pt x="11183" y="5907"/>
                </a:lnTo>
                <a:lnTo>
                  <a:pt x="11173" y="5898"/>
                </a:lnTo>
                <a:lnTo>
                  <a:pt x="11128" y="5855"/>
                </a:lnTo>
                <a:lnTo>
                  <a:pt x="11083" y="5810"/>
                </a:lnTo>
                <a:lnTo>
                  <a:pt x="11061" y="5789"/>
                </a:lnTo>
                <a:lnTo>
                  <a:pt x="11040" y="5769"/>
                </a:lnTo>
                <a:lnTo>
                  <a:pt x="11029" y="5761"/>
                </a:lnTo>
                <a:lnTo>
                  <a:pt x="11018" y="5753"/>
                </a:lnTo>
                <a:lnTo>
                  <a:pt x="11008" y="5746"/>
                </a:lnTo>
                <a:lnTo>
                  <a:pt x="10998" y="5741"/>
                </a:lnTo>
                <a:lnTo>
                  <a:pt x="10989" y="5736"/>
                </a:lnTo>
                <a:lnTo>
                  <a:pt x="10980" y="5732"/>
                </a:lnTo>
                <a:lnTo>
                  <a:pt x="10972" y="5731"/>
                </a:lnTo>
                <a:lnTo>
                  <a:pt x="10964" y="5731"/>
                </a:lnTo>
                <a:lnTo>
                  <a:pt x="10957" y="5734"/>
                </a:lnTo>
                <a:lnTo>
                  <a:pt x="10950" y="5738"/>
                </a:lnTo>
                <a:lnTo>
                  <a:pt x="10944" y="5744"/>
                </a:lnTo>
                <a:lnTo>
                  <a:pt x="10939" y="5752"/>
                </a:lnTo>
                <a:lnTo>
                  <a:pt x="10934" y="5763"/>
                </a:lnTo>
                <a:lnTo>
                  <a:pt x="10930" y="5773"/>
                </a:lnTo>
                <a:lnTo>
                  <a:pt x="10929" y="5782"/>
                </a:lnTo>
                <a:lnTo>
                  <a:pt x="10929" y="5790"/>
                </a:lnTo>
                <a:lnTo>
                  <a:pt x="10931" y="5798"/>
                </a:lnTo>
                <a:lnTo>
                  <a:pt x="10934" y="5805"/>
                </a:lnTo>
                <a:lnTo>
                  <a:pt x="10937" y="5812"/>
                </a:lnTo>
                <a:lnTo>
                  <a:pt x="10942" y="5819"/>
                </a:lnTo>
                <a:lnTo>
                  <a:pt x="10952" y="5832"/>
                </a:lnTo>
                <a:lnTo>
                  <a:pt x="10963" y="5846"/>
                </a:lnTo>
                <a:lnTo>
                  <a:pt x="10968" y="5853"/>
                </a:lnTo>
                <a:lnTo>
                  <a:pt x="10973" y="5861"/>
                </a:lnTo>
                <a:lnTo>
                  <a:pt x="10977" y="5870"/>
                </a:lnTo>
                <a:lnTo>
                  <a:pt x="10980" y="5879"/>
                </a:lnTo>
                <a:lnTo>
                  <a:pt x="10990" y="5877"/>
                </a:lnTo>
                <a:lnTo>
                  <a:pt x="10999" y="5877"/>
                </a:lnTo>
                <a:lnTo>
                  <a:pt x="11007" y="5878"/>
                </a:lnTo>
                <a:lnTo>
                  <a:pt x="11015" y="5880"/>
                </a:lnTo>
                <a:lnTo>
                  <a:pt x="11023" y="5883"/>
                </a:lnTo>
                <a:lnTo>
                  <a:pt x="11031" y="5887"/>
                </a:lnTo>
                <a:lnTo>
                  <a:pt x="11038" y="5892"/>
                </a:lnTo>
                <a:lnTo>
                  <a:pt x="11044" y="5897"/>
                </a:lnTo>
                <a:lnTo>
                  <a:pt x="11056" y="5910"/>
                </a:lnTo>
                <a:lnTo>
                  <a:pt x="11066" y="5925"/>
                </a:lnTo>
                <a:lnTo>
                  <a:pt x="11077" y="5941"/>
                </a:lnTo>
                <a:lnTo>
                  <a:pt x="11087" y="5958"/>
                </a:lnTo>
                <a:lnTo>
                  <a:pt x="11098" y="5974"/>
                </a:lnTo>
                <a:lnTo>
                  <a:pt x="11109" y="5991"/>
                </a:lnTo>
                <a:lnTo>
                  <a:pt x="11115" y="5999"/>
                </a:lnTo>
                <a:lnTo>
                  <a:pt x="11121" y="6006"/>
                </a:lnTo>
                <a:lnTo>
                  <a:pt x="11128" y="6013"/>
                </a:lnTo>
                <a:lnTo>
                  <a:pt x="11135" y="6019"/>
                </a:lnTo>
                <a:lnTo>
                  <a:pt x="11142" y="6024"/>
                </a:lnTo>
                <a:lnTo>
                  <a:pt x="11150" y="6029"/>
                </a:lnTo>
                <a:lnTo>
                  <a:pt x="11160" y="6033"/>
                </a:lnTo>
                <a:lnTo>
                  <a:pt x="11169" y="6036"/>
                </a:lnTo>
                <a:lnTo>
                  <a:pt x="11179" y="6038"/>
                </a:lnTo>
                <a:lnTo>
                  <a:pt x="11189" y="6039"/>
                </a:lnTo>
                <a:lnTo>
                  <a:pt x="11201" y="6038"/>
                </a:lnTo>
                <a:lnTo>
                  <a:pt x="11213" y="6037"/>
                </a:lnTo>
                <a:lnTo>
                  <a:pt x="11213" y="6058"/>
                </a:lnTo>
                <a:lnTo>
                  <a:pt x="11215" y="6079"/>
                </a:lnTo>
                <a:lnTo>
                  <a:pt x="11219" y="6100"/>
                </a:lnTo>
                <a:lnTo>
                  <a:pt x="11223" y="6122"/>
                </a:lnTo>
                <a:lnTo>
                  <a:pt x="11232" y="6120"/>
                </a:lnTo>
                <a:lnTo>
                  <a:pt x="11240" y="6119"/>
                </a:lnTo>
                <a:lnTo>
                  <a:pt x="11248" y="6119"/>
                </a:lnTo>
                <a:lnTo>
                  <a:pt x="11255" y="6119"/>
                </a:lnTo>
                <a:lnTo>
                  <a:pt x="11262" y="6119"/>
                </a:lnTo>
                <a:lnTo>
                  <a:pt x="11268" y="6120"/>
                </a:lnTo>
                <a:lnTo>
                  <a:pt x="11274" y="6122"/>
                </a:lnTo>
                <a:lnTo>
                  <a:pt x="11280" y="6124"/>
                </a:lnTo>
                <a:lnTo>
                  <a:pt x="11289" y="6129"/>
                </a:lnTo>
                <a:lnTo>
                  <a:pt x="11297" y="6135"/>
                </a:lnTo>
                <a:lnTo>
                  <a:pt x="11304" y="6142"/>
                </a:lnTo>
                <a:lnTo>
                  <a:pt x="11311" y="6150"/>
                </a:lnTo>
                <a:lnTo>
                  <a:pt x="11322" y="6166"/>
                </a:lnTo>
                <a:lnTo>
                  <a:pt x="11332" y="6181"/>
                </a:lnTo>
                <a:lnTo>
                  <a:pt x="11338" y="6187"/>
                </a:lnTo>
                <a:lnTo>
                  <a:pt x="11345" y="6191"/>
                </a:lnTo>
                <a:lnTo>
                  <a:pt x="11348" y="6193"/>
                </a:lnTo>
                <a:lnTo>
                  <a:pt x="11352" y="6194"/>
                </a:lnTo>
                <a:lnTo>
                  <a:pt x="11356" y="6195"/>
                </a:lnTo>
                <a:lnTo>
                  <a:pt x="11361" y="6196"/>
                </a:lnTo>
                <a:lnTo>
                  <a:pt x="11357" y="6200"/>
                </a:lnTo>
                <a:lnTo>
                  <a:pt x="11353" y="6203"/>
                </a:lnTo>
                <a:lnTo>
                  <a:pt x="11349" y="6205"/>
                </a:lnTo>
                <a:lnTo>
                  <a:pt x="11344" y="6206"/>
                </a:lnTo>
                <a:lnTo>
                  <a:pt x="11339" y="6207"/>
                </a:lnTo>
                <a:lnTo>
                  <a:pt x="11334" y="6207"/>
                </a:lnTo>
                <a:lnTo>
                  <a:pt x="11328" y="6206"/>
                </a:lnTo>
                <a:lnTo>
                  <a:pt x="11323" y="6205"/>
                </a:lnTo>
                <a:lnTo>
                  <a:pt x="11311" y="6202"/>
                </a:lnTo>
                <a:lnTo>
                  <a:pt x="11299" y="6198"/>
                </a:lnTo>
                <a:lnTo>
                  <a:pt x="11287" y="6193"/>
                </a:lnTo>
                <a:lnTo>
                  <a:pt x="11275" y="6188"/>
                </a:lnTo>
                <a:lnTo>
                  <a:pt x="11265" y="6184"/>
                </a:lnTo>
                <a:lnTo>
                  <a:pt x="11255" y="6182"/>
                </a:lnTo>
                <a:lnTo>
                  <a:pt x="11251" y="6181"/>
                </a:lnTo>
                <a:lnTo>
                  <a:pt x="11248" y="6181"/>
                </a:lnTo>
                <a:lnTo>
                  <a:pt x="11244" y="6181"/>
                </a:lnTo>
                <a:lnTo>
                  <a:pt x="11241" y="6182"/>
                </a:lnTo>
                <a:lnTo>
                  <a:pt x="11239" y="6184"/>
                </a:lnTo>
                <a:lnTo>
                  <a:pt x="11237" y="6186"/>
                </a:lnTo>
                <a:lnTo>
                  <a:pt x="11236" y="6190"/>
                </a:lnTo>
                <a:lnTo>
                  <a:pt x="11236" y="6194"/>
                </a:lnTo>
                <a:lnTo>
                  <a:pt x="11236" y="6200"/>
                </a:lnTo>
                <a:lnTo>
                  <a:pt x="11237" y="6207"/>
                </a:lnTo>
                <a:lnTo>
                  <a:pt x="11238" y="6214"/>
                </a:lnTo>
                <a:lnTo>
                  <a:pt x="11241" y="6224"/>
                </a:lnTo>
                <a:lnTo>
                  <a:pt x="11244" y="6235"/>
                </a:lnTo>
                <a:lnTo>
                  <a:pt x="11246" y="6247"/>
                </a:lnTo>
                <a:lnTo>
                  <a:pt x="11248" y="6258"/>
                </a:lnTo>
                <a:lnTo>
                  <a:pt x="11249" y="6269"/>
                </a:lnTo>
                <a:lnTo>
                  <a:pt x="11248" y="6279"/>
                </a:lnTo>
                <a:lnTo>
                  <a:pt x="11247" y="6290"/>
                </a:lnTo>
                <a:lnTo>
                  <a:pt x="11245" y="6300"/>
                </a:lnTo>
                <a:lnTo>
                  <a:pt x="11242" y="6311"/>
                </a:lnTo>
                <a:lnTo>
                  <a:pt x="11238" y="6321"/>
                </a:lnTo>
                <a:lnTo>
                  <a:pt x="11232" y="6332"/>
                </a:lnTo>
                <a:lnTo>
                  <a:pt x="11225" y="6342"/>
                </a:lnTo>
                <a:lnTo>
                  <a:pt x="11217" y="6353"/>
                </a:lnTo>
                <a:lnTo>
                  <a:pt x="11208" y="6364"/>
                </a:lnTo>
                <a:lnTo>
                  <a:pt x="11197" y="6375"/>
                </a:lnTo>
                <a:lnTo>
                  <a:pt x="11184" y="6386"/>
                </a:lnTo>
                <a:lnTo>
                  <a:pt x="11171" y="6397"/>
                </a:lnTo>
                <a:lnTo>
                  <a:pt x="11170" y="6368"/>
                </a:lnTo>
                <a:lnTo>
                  <a:pt x="11169" y="6331"/>
                </a:lnTo>
                <a:lnTo>
                  <a:pt x="11167" y="6311"/>
                </a:lnTo>
                <a:lnTo>
                  <a:pt x="11165" y="6291"/>
                </a:lnTo>
                <a:lnTo>
                  <a:pt x="11163" y="6271"/>
                </a:lnTo>
                <a:lnTo>
                  <a:pt x="11159" y="6251"/>
                </a:lnTo>
                <a:lnTo>
                  <a:pt x="11155" y="6231"/>
                </a:lnTo>
                <a:lnTo>
                  <a:pt x="11149" y="6213"/>
                </a:lnTo>
                <a:lnTo>
                  <a:pt x="11143" y="6196"/>
                </a:lnTo>
                <a:lnTo>
                  <a:pt x="11136" y="6182"/>
                </a:lnTo>
                <a:lnTo>
                  <a:pt x="11133" y="6176"/>
                </a:lnTo>
                <a:lnTo>
                  <a:pt x="11128" y="6170"/>
                </a:lnTo>
                <a:lnTo>
                  <a:pt x="11124" y="6165"/>
                </a:lnTo>
                <a:lnTo>
                  <a:pt x="11119" y="6161"/>
                </a:lnTo>
                <a:lnTo>
                  <a:pt x="11114" y="6158"/>
                </a:lnTo>
                <a:lnTo>
                  <a:pt x="11108" y="6155"/>
                </a:lnTo>
                <a:lnTo>
                  <a:pt x="11102" y="6154"/>
                </a:lnTo>
                <a:lnTo>
                  <a:pt x="11096" y="6153"/>
                </a:lnTo>
                <a:lnTo>
                  <a:pt x="11092" y="6145"/>
                </a:lnTo>
                <a:lnTo>
                  <a:pt x="11087" y="6137"/>
                </a:lnTo>
                <a:lnTo>
                  <a:pt x="11081" y="6130"/>
                </a:lnTo>
                <a:lnTo>
                  <a:pt x="11075" y="6124"/>
                </a:lnTo>
                <a:lnTo>
                  <a:pt x="11068" y="6117"/>
                </a:lnTo>
                <a:lnTo>
                  <a:pt x="11062" y="6112"/>
                </a:lnTo>
                <a:lnTo>
                  <a:pt x="11054" y="6106"/>
                </a:lnTo>
                <a:lnTo>
                  <a:pt x="11047" y="6101"/>
                </a:lnTo>
                <a:lnTo>
                  <a:pt x="11031" y="6092"/>
                </a:lnTo>
                <a:lnTo>
                  <a:pt x="11014" y="6085"/>
                </a:lnTo>
                <a:lnTo>
                  <a:pt x="10996" y="6078"/>
                </a:lnTo>
                <a:lnTo>
                  <a:pt x="10979" y="6071"/>
                </a:lnTo>
                <a:lnTo>
                  <a:pt x="10961" y="6065"/>
                </a:lnTo>
                <a:lnTo>
                  <a:pt x="10943" y="6058"/>
                </a:lnTo>
                <a:lnTo>
                  <a:pt x="10926" y="6051"/>
                </a:lnTo>
                <a:lnTo>
                  <a:pt x="10909" y="6043"/>
                </a:lnTo>
                <a:lnTo>
                  <a:pt x="10892" y="6034"/>
                </a:lnTo>
                <a:lnTo>
                  <a:pt x="10878" y="6023"/>
                </a:lnTo>
                <a:lnTo>
                  <a:pt x="10871" y="6017"/>
                </a:lnTo>
                <a:lnTo>
                  <a:pt x="10864" y="6010"/>
                </a:lnTo>
                <a:lnTo>
                  <a:pt x="10858" y="6003"/>
                </a:lnTo>
                <a:lnTo>
                  <a:pt x="10852" y="5995"/>
                </a:lnTo>
                <a:lnTo>
                  <a:pt x="10848" y="5995"/>
                </a:lnTo>
                <a:lnTo>
                  <a:pt x="10844" y="5993"/>
                </a:lnTo>
                <a:lnTo>
                  <a:pt x="10840" y="5991"/>
                </a:lnTo>
                <a:lnTo>
                  <a:pt x="10836" y="5989"/>
                </a:lnTo>
                <a:lnTo>
                  <a:pt x="10828" y="5980"/>
                </a:lnTo>
                <a:lnTo>
                  <a:pt x="10821" y="5971"/>
                </a:lnTo>
                <a:lnTo>
                  <a:pt x="10806" y="5947"/>
                </a:lnTo>
                <a:lnTo>
                  <a:pt x="10792" y="5919"/>
                </a:lnTo>
                <a:lnTo>
                  <a:pt x="10784" y="5905"/>
                </a:lnTo>
                <a:lnTo>
                  <a:pt x="10775" y="5891"/>
                </a:lnTo>
                <a:lnTo>
                  <a:pt x="10765" y="5878"/>
                </a:lnTo>
                <a:lnTo>
                  <a:pt x="10755" y="5866"/>
                </a:lnTo>
                <a:lnTo>
                  <a:pt x="10750" y="5860"/>
                </a:lnTo>
                <a:lnTo>
                  <a:pt x="10744" y="5854"/>
                </a:lnTo>
                <a:lnTo>
                  <a:pt x="10738" y="5849"/>
                </a:lnTo>
                <a:lnTo>
                  <a:pt x="10732" y="5845"/>
                </a:lnTo>
                <a:lnTo>
                  <a:pt x="10726" y="5842"/>
                </a:lnTo>
                <a:lnTo>
                  <a:pt x="10719" y="5839"/>
                </a:lnTo>
                <a:lnTo>
                  <a:pt x="10712" y="5837"/>
                </a:lnTo>
                <a:lnTo>
                  <a:pt x="10705" y="5836"/>
                </a:lnTo>
                <a:lnTo>
                  <a:pt x="10701" y="5840"/>
                </a:lnTo>
                <a:lnTo>
                  <a:pt x="10697" y="5844"/>
                </a:lnTo>
                <a:lnTo>
                  <a:pt x="10692" y="5847"/>
                </a:lnTo>
                <a:lnTo>
                  <a:pt x="10687" y="5851"/>
                </a:lnTo>
                <a:lnTo>
                  <a:pt x="10674" y="5858"/>
                </a:lnTo>
                <a:lnTo>
                  <a:pt x="10660" y="5866"/>
                </a:lnTo>
                <a:lnTo>
                  <a:pt x="10645" y="5871"/>
                </a:lnTo>
                <a:lnTo>
                  <a:pt x="10631" y="5875"/>
                </a:lnTo>
                <a:lnTo>
                  <a:pt x="10619" y="5878"/>
                </a:lnTo>
                <a:lnTo>
                  <a:pt x="10609" y="5879"/>
                </a:lnTo>
                <a:lnTo>
                  <a:pt x="10604" y="5886"/>
                </a:lnTo>
                <a:lnTo>
                  <a:pt x="10599" y="5893"/>
                </a:lnTo>
                <a:lnTo>
                  <a:pt x="10592" y="5899"/>
                </a:lnTo>
                <a:lnTo>
                  <a:pt x="10584" y="5905"/>
                </a:lnTo>
                <a:lnTo>
                  <a:pt x="10575" y="5909"/>
                </a:lnTo>
                <a:lnTo>
                  <a:pt x="10566" y="5912"/>
                </a:lnTo>
                <a:lnTo>
                  <a:pt x="10555" y="5915"/>
                </a:lnTo>
                <a:lnTo>
                  <a:pt x="10545" y="5918"/>
                </a:lnTo>
                <a:lnTo>
                  <a:pt x="10533" y="5919"/>
                </a:lnTo>
                <a:lnTo>
                  <a:pt x="10522" y="5920"/>
                </a:lnTo>
                <a:lnTo>
                  <a:pt x="10508" y="5921"/>
                </a:lnTo>
                <a:lnTo>
                  <a:pt x="10496" y="5921"/>
                </a:lnTo>
                <a:lnTo>
                  <a:pt x="10470" y="5920"/>
                </a:lnTo>
                <a:lnTo>
                  <a:pt x="10445" y="5918"/>
                </a:lnTo>
                <a:lnTo>
                  <a:pt x="10396" y="5911"/>
                </a:lnTo>
                <a:lnTo>
                  <a:pt x="10353" y="5904"/>
                </a:lnTo>
                <a:lnTo>
                  <a:pt x="10337" y="5901"/>
                </a:lnTo>
                <a:lnTo>
                  <a:pt x="10324" y="5899"/>
                </a:lnTo>
                <a:lnTo>
                  <a:pt x="10320" y="5898"/>
                </a:lnTo>
                <a:lnTo>
                  <a:pt x="10316" y="5898"/>
                </a:lnTo>
                <a:lnTo>
                  <a:pt x="10314" y="5899"/>
                </a:lnTo>
                <a:lnTo>
                  <a:pt x="10306" y="5914"/>
                </a:lnTo>
                <a:lnTo>
                  <a:pt x="10290" y="5953"/>
                </a:lnTo>
                <a:lnTo>
                  <a:pt x="10266" y="6009"/>
                </a:lnTo>
                <a:lnTo>
                  <a:pt x="10240" y="6073"/>
                </a:lnTo>
                <a:lnTo>
                  <a:pt x="10214" y="6141"/>
                </a:lnTo>
                <a:lnTo>
                  <a:pt x="10191" y="6202"/>
                </a:lnTo>
                <a:lnTo>
                  <a:pt x="10181" y="6228"/>
                </a:lnTo>
                <a:lnTo>
                  <a:pt x="10174" y="6251"/>
                </a:lnTo>
                <a:lnTo>
                  <a:pt x="10168" y="6269"/>
                </a:lnTo>
                <a:lnTo>
                  <a:pt x="10165" y="6280"/>
                </a:lnTo>
                <a:lnTo>
                  <a:pt x="10162" y="6297"/>
                </a:lnTo>
                <a:lnTo>
                  <a:pt x="10157" y="6312"/>
                </a:lnTo>
                <a:lnTo>
                  <a:pt x="10151" y="6325"/>
                </a:lnTo>
                <a:lnTo>
                  <a:pt x="10144" y="6336"/>
                </a:lnTo>
                <a:lnTo>
                  <a:pt x="10135" y="6347"/>
                </a:lnTo>
                <a:lnTo>
                  <a:pt x="10127" y="6357"/>
                </a:lnTo>
                <a:lnTo>
                  <a:pt x="10119" y="6367"/>
                </a:lnTo>
                <a:lnTo>
                  <a:pt x="10110" y="6376"/>
                </a:lnTo>
                <a:lnTo>
                  <a:pt x="10092" y="6394"/>
                </a:lnTo>
                <a:lnTo>
                  <a:pt x="10075" y="6413"/>
                </a:lnTo>
                <a:lnTo>
                  <a:pt x="10068" y="6424"/>
                </a:lnTo>
                <a:lnTo>
                  <a:pt x="10061" y="6437"/>
                </a:lnTo>
                <a:lnTo>
                  <a:pt x="10055" y="6451"/>
                </a:lnTo>
                <a:lnTo>
                  <a:pt x="10050" y="6467"/>
                </a:lnTo>
                <a:lnTo>
                  <a:pt x="10048" y="6471"/>
                </a:lnTo>
                <a:lnTo>
                  <a:pt x="10045" y="6474"/>
                </a:lnTo>
                <a:lnTo>
                  <a:pt x="10041" y="6478"/>
                </a:lnTo>
                <a:lnTo>
                  <a:pt x="10035" y="6481"/>
                </a:lnTo>
                <a:lnTo>
                  <a:pt x="10020" y="6486"/>
                </a:lnTo>
                <a:lnTo>
                  <a:pt x="10000" y="6491"/>
                </a:lnTo>
                <a:lnTo>
                  <a:pt x="9978" y="6494"/>
                </a:lnTo>
                <a:lnTo>
                  <a:pt x="9954" y="6496"/>
                </a:lnTo>
                <a:lnTo>
                  <a:pt x="9929" y="6499"/>
                </a:lnTo>
                <a:lnTo>
                  <a:pt x="9902" y="6500"/>
                </a:lnTo>
                <a:lnTo>
                  <a:pt x="9850" y="6504"/>
                </a:lnTo>
                <a:lnTo>
                  <a:pt x="9806" y="6508"/>
                </a:lnTo>
                <a:lnTo>
                  <a:pt x="9788" y="6511"/>
                </a:lnTo>
                <a:lnTo>
                  <a:pt x="9775" y="6514"/>
                </a:lnTo>
                <a:lnTo>
                  <a:pt x="9770" y="6516"/>
                </a:lnTo>
                <a:lnTo>
                  <a:pt x="9766" y="6519"/>
                </a:lnTo>
                <a:lnTo>
                  <a:pt x="9763" y="6521"/>
                </a:lnTo>
                <a:lnTo>
                  <a:pt x="9762" y="6524"/>
                </a:lnTo>
                <a:lnTo>
                  <a:pt x="9740" y="6516"/>
                </a:lnTo>
                <a:lnTo>
                  <a:pt x="9719" y="6507"/>
                </a:lnTo>
                <a:lnTo>
                  <a:pt x="9698" y="6497"/>
                </a:lnTo>
                <a:lnTo>
                  <a:pt x="9678" y="6485"/>
                </a:lnTo>
                <a:lnTo>
                  <a:pt x="9659" y="6473"/>
                </a:lnTo>
                <a:lnTo>
                  <a:pt x="9641" y="6460"/>
                </a:lnTo>
                <a:lnTo>
                  <a:pt x="9623" y="6446"/>
                </a:lnTo>
                <a:lnTo>
                  <a:pt x="9607" y="6431"/>
                </a:lnTo>
                <a:lnTo>
                  <a:pt x="9592" y="6415"/>
                </a:lnTo>
                <a:lnTo>
                  <a:pt x="9579" y="6397"/>
                </a:lnTo>
                <a:lnTo>
                  <a:pt x="9574" y="6388"/>
                </a:lnTo>
                <a:lnTo>
                  <a:pt x="9568" y="6379"/>
                </a:lnTo>
                <a:lnTo>
                  <a:pt x="9563" y="6369"/>
                </a:lnTo>
                <a:lnTo>
                  <a:pt x="9559" y="6359"/>
                </a:lnTo>
                <a:lnTo>
                  <a:pt x="9555" y="6348"/>
                </a:lnTo>
                <a:lnTo>
                  <a:pt x="9551" y="6338"/>
                </a:lnTo>
                <a:lnTo>
                  <a:pt x="9548" y="6327"/>
                </a:lnTo>
                <a:lnTo>
                  <a:pt x="9545" y="6317"/>
                </a:lnTo>
                <a:lnTo>
                  <a:pt x="9543" y="6305"/>
                </a:lnTo>
                <a:lnTo>
                  <a:pt x="9542" y="6294"/>
                </a:lnTo>
                <a:lnTo>
                  <a:pt x="9541" y="6282"/>
                </a:lnTo>
                <a:lnTo>
                  <a:pt x="9541" y="6270"/>
                </a:lnTo>
                <a:lnTo>
                  <a:pt x="9539" y="6266"/>
                </a:lnTo>
                <a:lnTo>
                  <a:pt x="9539" y="6256"/>
                </a:lnTo>
                <a:lnTo>
                  <a:pt x="9539" y="6239"/>
                </a:lnTo>
                <a:lnTo>
                  <a:pt x="9540" y="6217"/>
                </a:lnTo>
                <a:lnTo>
                  <a:pt x="9545" y="6162"/>
                </a:lnTo>
                <a:lnTo>
                  <a:pt x="9551" y="6097"/>
                </a:lnTo>
                <a:lnTo>
                  <a:pt x="9558" y="6031"/>
                </a:lnTo>
                <a:lnTo>
                  <a:pt x="9567" y="5968"/>
                </a:lnTo>
                <a:lnTo>
                  <a:pt x="9571" y="5942"/>
                </a:lnTo>
                <a:lnTo>
                  <a:pt x="9575" y="5919"/>
                </a:lnTo>
                <a:lnTo>
                  <a:pt x="9579" y="5901"/>
                </a:lnTo>
                <a:lnTo>
                  <a:pt x="9583" y="5889"/>
                </a:lnTo>
                <a:lnTo>
                  <a:pt x="9591" y="5892"/>
                </a:lnTo>
                <a:lnTo>
                  <a:pt x="9598" y="5895"/>
                </a:lnTo>
                <a:lnTo>
                  <a:pt x="9603" y="5898"/>
                </a:lnTo>
                <a:lnTo>
                  <a:pt x="9608" y="5902"/>
                </a:lnTo>
                <a:lnTo>
                  <a:pt x="9612" y="5908"/>
                </a:lnTo>
                <a:lnTo>
                  <a:pt x="9616" y="5914"/>
                </a:lnTo>
                <a:lnTo>
                  <a:pt x="9620" y="5922"/>
                </a:lnTo>
                <a:lnTo>
                  <a:pt x="9625" y="5931"/>
                </a:lnTo>
                <a:lnTo>
                  <a:pt x="9641" y="5927"/>
                </a:lnTo>
                <a:lnTo>
                  <a:pt x="9657" y="5924"/>
                </a:lnTo>
                <a:lnTo>
                  <a:pt x="9675" y="5922"/>
                </a:lnTo>
                <a:lnTo>
                  <a:pt x="9694" y="5921"/>
                </a:lnTo>
                <a:lnTo>
                  <a:pt x="9734" y="5921"/>
                </a:lnTo>
                <a:lnTo>
                  <a:pt x="9775" y="5920"/>
                </a:lnTo>
                <a:lnTo>
                  <a:pt x="9794" y="5919"/>
                </a:lnTo>
                <a:lnTo>
                  <a:pt x="9811" y="5916"/>
                </a:lnTo>
                <a:lnTo>
                  <a:pt x="9827" y="5913"/>
                </a:lnTo>
                <a:lnTo>
                  <a:pt x="9841" y="5908"/>
                </a:lnTo>
                <a:lnTo>
                  <a:pt x="9847" y="5905"/>
                </a:lnTo>
                <a:lnTo>
                  <a:pt x="9852" y="5902"/>
                </a:lnTo>
                <a:lnTo>
                  <a:pt x="9857" y="5898"/>
                </a:lnTo>
                <a:lnTo>
                  <a:pt x="9861" y="5893"/>
                </a:lnTo>
                <a:lnTo>
                  <a:pt x="9864" y="5888"/>
                </a:lnTo>
                <a:lnTo>
                  <a:pt x="9866" y="5882"/>
                </a:lnTo>
                <a:lnTo>
                  <a:pt x="9868" y="5875"/>
                </a:lnTo>
                <a:lnTo>
                  <a:pt x="9868" y="5868"/>
                </a:lnTo>
                <a:lnTo>
                  <a:pt x="9881" y="5869"/>
                </a:lnTo>
                <a:lnTo>
                  <a:pt x="9893" y="5870"/>
                </a:lnTo>
                <a:lnTo>
                  <a:pt x="9904" y="5872"/>
                </a:lnTo>
                <a:lnTo>
                  <a:pt x="9913" y="5874"/>
                </a:lnTo>
                <a:lnTo>
                  <a:pt x="9921" y="5877"/>
                </a:lnTo>
                <a:lnTo>
                  <a:pt x="9928" y="5881"/>
                </a:lnTo>
                <a:lnTo>
                  <a:pt x="9933" y="5886"/>
                </a:lnTo>
                <a:lnTo>
                  <a:pt x="9938" y="5891"/>
                </a:lnTo>
                <a:lnTo>
                  <a:pt x="9941" y="5896"/>
                </a:lnTo>
                <a:lnTo>
                  <a:pt x="9943" y="5902"/>
                </a:lnTo>
                <a:lnTo>
                  <a:pt x="9944" y="5909"/>
                </a:lnTo>
                <a:lnTo>
                  <a:pt x="9944" y="5916"/>
                </a:lnTo>
                <a:lnTo>
                  <a:pt x="9943" y="5924"/>
                </a:lnTo>
                <a:lnTo>
                  <a:pt x="9941" y="5933"/>
                </a:lnTo>
                <a:lnTo>
                  <a:pt x="9937" y="5942"/>
                </a:lnTo>
                <a:lnTo>
                  <a:pt x="9932" y="5952"/>
                </a:lnTo>
                <a:lnTo>
                  <a:pt x="9959" y="5957"/>
                </a:lnTo>
                <a:lnTo>
                  <a:pt x="9988" y="5960"/>
                </a:lnTo>
                <a:lnTo>
                  <a:pt x="10003" y="5962"/>
                </a:lnTo>
                <a:lnTo>
                  <a:pt x="10019" y="5962"/>
                </a:lnTo>
                <a:lnTo>
                  <a:pt x="10033" y="5961"/>
                </a:lnTo>
                <a:lnTo>
                  <a:pt x="10047" y="5960"/>
                </a:lnTo>
                <a:lnTo>
                  <a:pt x="10060" y="5957"/>
                </a:lnTo>
                <a:lnTo>
                  <a:pt x="10073" y="5953"/>
                </a:lnTo>
                <a:lnTo>
                  <a:pt x="10078" y="5950"/>
                </a:lnTo>
                <a:lnTo>
                  <a:pt x="10084" y="5947"/>
                </a:lnTo>
                <a:lnTo>
                  <a:pt x="10089" y="5944"/>
                </a:lnTo>
                <a:lnTo>
                  <a:pt x="10093" y="5940"/>
                </a:lnTo>
                <a:lnTo>
                  <a:pt x="10097" y="5935"/>
                </a:lnTo>
                <a:lnTo>
                  <a:pt x="10101" y="5930"/>
                </a:lnTo>
                <a:lnTo>
                  <a:pt x="10104" y="5925"/>
                </a:lnTo>
                <a:lnTo>
                  <a:pt x="10107" y="5919"/>
                </a:lnTo>
                <a:lnTo>
                  <a:pt x="10109" y="5912"/>
                </a:lnTo>
                <a:lnTo>
                  <a:pt x="10111" y="5905"/>
                </a:lnTo>
                <a:lnTo>
                  <a:pt x="10112" y="5897"/>
                </a:lnTo>
                <a:lnTo>
                  <a:pt x="10112" y="5889"/>
                </a:lnTo>
                <a:lnTo>
                  <a:pt x="10099" y="5889"/>
                </a:lnTo>
                <a:lnTo>
                  <a:pt x="10089" y="5888"/>
                </a:lnTo>
                <a:lnTo>
                  <a:pt x="10085" y="5887"/>
                </a:lnTo>
                <a:lnTo>
                  <a:pt x="10082" y="5886"/>
                </a:lnTo>
                <a:lnTo>
                  <a:pt x="10079" y="5884"/>
                </a:lnTo>
                <a:lnTo>
                  <a:pt x="10076" y="5882"/>
                </a:lnTo>
                <a:lnTo>
                  <a:pt x="10074" y="5880"/>
                </a:lnTo>
                <a:lnTo>
                  <a:pt x="10073" y="5877"/>
                </a:lnTo>
                <a:lnTo>
                  <a:pt x="10072" y="5874"/>
                </a:lnTo>
                <a:lnTo>
                  <a:pt x="10071" y="5870"/>
                </a:lnTo>
                <a:lnTo>
                  <a:pt x="10070" y="5860"/>
                </a:lnTo>
                <a:lnTo>
                  <a:pt x="10070" y="5846"/>
                </a:lnTo>
                <a:lnTo>
                  <a:pt x="10081" y="5834"/>
                </a:lnTo>
                <a:lnTo>
                  <a:pt x="10089" y="5822"/>
                </a:lnTo>
                <a:lnTo>
                  <a:pt x="10096" y="5809"/>
                </a:lnTo>
                <a:lnTo>
                  <a:pt x="10102" y="5797"/>
                </a:lnTo>
                <a:lnTo>
                  <a:pt x="10105" y="5786"/>
                </a:lnTo>
                <a:lnTo>
                  <a:pt x="10108" y="5774"/>
                </a:lnTo>
                <a:lnTo>
                  <a:pt x="10108" y="5762"/>
                </a:lnTo>
                <a:lnTo>
                  <a:pt x="10108" y="5751"/>
                </a:lnTo>
                <a:lnTo>
                  <a:pt x="10106" y="5739"/>
                </a:lnTo>
                <a:lnTo>
                  <a:pt x="10103" y="5727"/>
                </a:lnTo>
                <a:lnTo>
                  <a:pt x="10100" y="5716"/>
                </a:lnTo>
                <a:lnTo>
                  <a:pt x="10095" y="5705"/>
                </a:lnTo>
                <a:lnTo>
                  <a:pt x="10089" y="5694"/>
                </a:lnTo>
                <a:lnTo>
                  <a:pt x="10083" y="5684"/>
                </a:lnTo>
                <a:lnTo>
                  <a:pt x="10077" y="5673"/>
                </a:lnTo>
                <a:lnTo>
                  <a:pt x="10070" y="5663"/>
                </a:lnTo>
                <a:lnTo>
                  <a:pt x="10038" y="5624"/>
                </a:lnTo>
                <a:lnTo>
                  <a:pt x="10007" y="5587"/>
                </a:lnTo>
                <a:lnTo>
                  <a:pt x="9994" y="5571"/>
                </a:lnTo>
                <a:lnTo>
                  <a:pt x="9983" y="5556"/>
                </a:lnTo>
                <a:lnTo>
                  <a:pt x="9980" y="5549"/>
                </a:lnTo>
                <a:lnTo>
                  <a:pt x="9977" y="5542"/>
                </a:lnTo>
                <a:lnTo>
                  <a:pt x="9975" y="5535"/>
                </a:lnTo>
                <a:lnTo>
                  <a:pt x="9974" y="5529"/>
                </a:lnTo>
                <a:lnTo>
                  <a:pt x="9965" y="5525"/>
                </a:lnTo>
                <a:lnTo>
                  <a:pt x="9956" y="5520"/>
                </a:lnTo>
                <a:lnTo>
                  <a:pt x="9946" y="5514"/>
                </a:lnTo>
                <a:lnTo>
                  <a:pt x="9936" y="5506"/>
                </a:lnTo>
                <a:lnTo>
                  <a:pt x="9916" y="5489"/>
                </a:lnTo>
                <a:lnTo>
                  <a:pt x="9898" y="5471"/>
                </a:lnTo>
                <a:lnTo>
                  <a:pt x="9890" y="5463"/>
                </a:lnTo>
                <a:lnTo>
                  <a:pt x="9885" y="5457"/>
                </a:lnTo>
                <a:lnTo>
                  <a:pt x="9882" y="5451"/>
                </a:lnTo>
                <a:lnTo>
                  <a:pt x="9880" y="5447"/>
                </a:lnTo>
                <a:lnTo>
                  <a:pt x="9881" y="5446"/>
                </a:lnTo>
                <a:lnTo>
                  <a:pt x="9881" y="5445"/>
                </a:lnTo>
                <a:lnTo>
                  <a:pt x="9883" y="5445"/>
                </a:lnTo>
                <a:lnTo>
                  <a:pt x="9885" y="5445"/>
                </a:lnTo>
                <a:lnTo>
                  <a:pt x="9893" y="5447"/>
                </a:lnTo>
                <a:lnTo>
                  <a:pt x="9904" y="5453"/>
                </a:lnTo>
                <a:lnTo>
                  <a:pt x="9915" y="5459"/>
                </a:lnTo>
                <a:lnTo>
                  <a:pt x="9930" y="5465"/>
                </a:lnTo>
                <a:lnTo>
                  <a:pt x="9947" y="5472"/>
                </a:lnTo>
                <a:lnTo>
                  <a:pt x="9965" y="5478"/>
                </a:lnTo>
                <a:lnTo>
                  <a:pt x="9984" y="5485"/>
                </a:lnTo>
                <a:lnTo>
                  <a:pt x="10004" y="5490"/>
                </a:lnTo>
                <a:lnTo>
                  <a:pt x="10024" y="5493"/>
                </a:lnTo>
                <a:lnTo>
                  <a:pt x="10042" y="5495"/>
                </a:lnTo>
                <a:lnTo>
                  <a:pt x="10051" y="5495"/>
                </a:lnTo>
                <a:lnTo>
                  <a:pt x="10059" y="5495"/>
                </a:lnTo>
                <a:lnTo>
                  <a:pt x="10067" y="5494"/>
                </a:lnTo>
                <a:lnTo>
                  <a:pt x="10074" y="5493"/>
                </a:lnTo>
                <a:lnTo>
                  <a:pt x="10080" y="5491"/>
                </a:lnTo>
                <a:lnTo>
                  <a:pt x="10085" y="5488"/>
                </a:lnTo>
                <a:lnTo>
                  <a:pt x="10090" y="5485"/>
                </a:lnTo>
                <a:lnTo>
                  <a:pt x="10094" y="5479"/>
                </a:lnTo>
                <a:lnTo>
                  <a:pt x="10096" y="5474"/>
                </a:lnTo>
                <a:lnTo>
                  <a:pt x="10098" y="5468"/>
                </a:lnTo>
                <a:lnTo>
                  <a:pt x="10098" y="5461"/>
                </a:lnTo>
                <a:lnTo>
                  <a:pt x="10097" y="5454"/>
                </a:lnTo>
                <a:lnTo>
                  <a:pt x="10095" y="5445"/>
                </a:lnTo>
                <a:lnTo>
                  <a:pt x="10092" y="5435"/>
                </a:lnTo>
                <a:lnTo>
                  <a:pt x="10087" y="5424"/>
                </a:lnTo>
                <a:lnTo>
                  <a:pt x="10080" y="5412"/>
                </a:lnTo>
                <a:lnTo>
                  <a:pt x="10084" y="5411"/>
                </a:lnTo>
                <a:lnTo>
                  <a:pt x="10087" y="5409"/>
                </a:lnTo>
                <a:lnTo>
                  <a:pt x="10089" y="5406"/>
                </a:lnTo>
                <a:lnTo>
                  <a:pt x="10091" y="5402"/>
                </a:lnTo>
                <a:lnTo>
                  <a:pt x="10102" y="5411"/>
                </a:lnTo>
                <a:lnTo>
                  <a:pt x="10118" y="5425"/>
                </a:lnTo>
                <a:lnTo>
                  <a:pt x="10127" y="5433"/>
                </a:lnTo>
                <a:lnTo>
                  <a:pt x="10137" y="5440"/>
                </a:lnTo>
                <a:lnTo>
                  <a:pt x="10148" y="5447"/>
                </a:lnTo>
                <a:lnTo>
                  <a:pt x="10158" y="5453"/>
                </a:lnTo>
                <a:lnTo>
                  <a:pt x="10167" y="5458"/>
                </a:lnTo>
                <a:lnTo>
                  <a:pt x="10176" y="5461"/>
                </a:lnTo>
                <a:lnTo>
                  <a:pt x="10181" y="5462"/>
                </a:lnTo>
                <a:lnTo>
                  <a:pt x="10185" y="5462"/>
                </a:lnTo>
                <a:lnTo>
                  <a:pt x="10189" y="5462"/>
                </a:lnTo>
                <a:lnTo>
                  <a:pt x="10192" y="5461"/>
                </a:lnTo>
                <a:lnTo>
                  <a:pt x="10196" y="5459"/>
                </a:lnTo>
                <a:lnTo>
                  <a:pt x="10198" y="5457"/>
                </a:lnTo>
                <a:lnTo>
                  <a:pt x="10201" y="5453"/>
                </a:lnTo>
                <a:lnTo>
                  <a:pt x="10203" y="5449"/>
                </a:lnTo>
                <a:lnTo>
                  <a:pt x="10205" y="5444"/>
                </a:lnTo>
                <a:lnTo>
                  <a:pt x="10206" y="5438"/>
                </a:lnTo>
                <a:lnTo>
                  <a:pt x="10207" y="5431"/>
                </a:lnTo>
                <a:lnTo>
                  <a:pt x="10207" y="5423"/>
                </a:lnTo>
                <a:lnTo>
                  <a:pt x="10213" y="5422"/>
                </a:lnTo>
                <a:lnTo>
                  <a:pt x="10220" y="5420"/>
                </a:lnTo>
                <a:lnTo>
                  <a:pt x="10228" y="5417"/>
                </a:lnTo>
                <a:lnTo>
                  <a:pt x="10237" y="5413"/>
                </a:lnTo>
                <a:lnTo>
                  <a:pt x="10245" y="5408"/>
                </a:lnTo>
                <a:lnTo>
                  <a:pt x="10254" y="5403"/>
                </a:lnTo>
                <a:lnTo>
                  <a:pt x="10262" y="5397"/>
                </a:lnTo>
                <a:lnTo>
                  <a:pt x="10270" y="5392"/>
                </a:lnTo>
                <a:lnTo>
                  <a:pt x="10276" y="5386"/>
                </a:lnTo>
                <a:lnTo>
                  <a:pt x="10281" y="5380"/>
                </a:lnTo>
                <a:lnTo>
                  <a:pt x="10282" y="5377"/>
                </a:lnTo>
                <a:lnTo>
                  <a:pt x="10283" y="5375"/>
                </a:lnTo>
                <a:lnTo>
                  <a:pt x="10283" y="5372"/>
                </a:lnTo>
                <a:lnTo>
                  <a:pt x="10283" y="5370"/>
                </a:lnTo>
                <a:lnTo>
                  <a:pt x="10282" y="5368"/>
                </a:lnTo>
                <a:lnTo>
                  <a:pt x="10280" y="5366"/>
                </a:lnTo>
                <a:lnTo>
                  <a:pt x="10277" y="5364"/>
                </a:lnTo>
                <a:lnTo>
                  <a:pt x="10274" y="5363"/>
                </a:lnTo>
                <a:lnTo>
                  <a:pt x="10263" y="5361"/>
                </a:lnTo>
                <a:lnTo>
                  <a:pt x="10249" y="5360"/>
                </a:lnTo>
                <a:lnTo>
                  <a:pt x="10254" y="5325"/>
                </a:lnTo>
                <a:lnTo>
                  <a:pt x="10256" y="5295"/>
                </a:lnTo>
                <a:lnTo>
                  <a:pt x="10257" y="5267"/>
                </a:lnTo>
                <a:lnTo>
                  <a:pt x="10260" y="5243"/>
                </a:lnTo>
                <a:lnTo>
                  <a:pt x="10283" y="5255"/>
                </a:lnTo>
                <a:lnTo>
                  <a:pt x="10302" y="5262"/>
                </a:lnTo>
                <a:lnTo>
                  <a:pt x="10309" y="5264"/>
                </a:lnTo>
                <a:lnTo>
                  <a:pt x="10316" y="5265"/>
                </a:lnTo>
                <a:lnTo>
                  <a:pt x="10322" y="5266"/>
                </a:lnTo>
                <a:lnTo>
                  <a:pt x="10327" y="5265"/>
                </a:lnTo>
                <a:lnTo>
                  <a:pt x="10331" y="5264"/>
                </a:lnTo>
                <a:lnTo>
                  <a:pt x="10335" y="5263"/>
                </a:lnTo>
                <a:lnTo>
                  <a:pt x="10338" y="5260"/>
                </a:lnTo>
                <a:lnTo>
                  <a:pt x="10341" y="5257"/>
                </a:lnTo>
                <a:lnTo>
                  <a:pt x="10345" y="5250"/>
                </a:lnTo>
                <a:lnTo>
                  <a:pt x="10348" y="5240"/>
                </a:lnTo>
                <a:lnTo>
                  <a:pt x="10352" y="5217"/>
                </a:lnTo>
                <a:lnTo>
                  <a:pt x="10357" y="5192"/>
                </a:lnTo>
                <a:lnTo>
                  <a:pt x="10361" y="5180"/>
                </a:lnTo>
                <a:lnTo>
                  <a:pt x="10367" y="5168"/>
                </a:lnTo>
                <a:lnTo>
                  <a:pt x="10371" y="5163"/>
                </a:lnTo>
                <a:lnTo>
                  <a:pt x="10376" y="5158"/>
                </a:lnTo>
                <a:lnTo>
                  <a:pt x="10381" y="5153"/>
                </a:lnTo>
                <a:lnTo>
                  <a:pt x="10387" y="5148"/>
                </a:lnTo>
                <a:lnTo>
                  <a:pt x="10387" y="5156"/>
                </a:lnTo>
                <a:lnTo>
                  <a:pt x="10388" y="5162"/>
                </a:lnTo>
                <a:lnTo>
                  <a:pt x="10389" y="5167"/>
                </a:lnTo>
                <a:lnTo>
                  <a:pt x="10390" y="5171"/>
                </a:lnTo>
                <a:lnTo>
                  <a:pt x="10392" y="5175"/>
                </a:lnTo>
                <a:lnTo>
                  <a:pt x="10394" y="5177"/>
                </a:lnTo>
                <a:lnTo>
                  <a:pt x="10397" y="5178"/>
                </a:lnTo>
                <a:lnTo>
                  <a:pt x="10400" y="5178"/>
                </a:lnTo>
                <a:lnTo>
                  <a:pt x="10406" y="5177"/>
                </a:lnTo>
                <a:lnTo>
                  <a:pt x="10413" y="5173"/>
                </a:lnTo>
                <a:lnTo>
                  <a:pt x="10421" y="5167"/>
                </a:lnTo>
                <a:lnTo>
                  <a:pt x="10429" y="5160"/>
                </a:lnTo>
                <a:lnTo>
                  <a:pt x="10448" y="5143"/>
                </a:lnTo>
                <a:lnTo>
                  <a:pt x="10467" y="5125"/>
                </a:lnTo>
                <a:lnTo>
                  <a:pt x="10476" y="5118"/>
                </a:lnTo>
                <a:lnTo>
                  <a:pt x="10486" y="5112"/>
                </a:lnTo>
                <a:lnTo>
                  <a:pt x="10490" y="5109"/>
                </a:lnTo>
                <a:lnTo>
                  <a:pt x="10495" y="5108"/>
                </a:lnTo>
                <a:lnTo>
                  <a:pt x="10499" y="5107"/>
                </a:lnTo>
                <a:lnTo>
                  <a:pt x="10503" y="5106"/>
                </a:lnTo>
                <a:lnTo>
                  <a:pt x="10508" y="5098"/>
                </a:lnTo>
                <a:lnTo>
                  <a:pt x="10514" y="5092"/>
                </a:lnTo>
                <a:lnTo>
                  <a:pt x="10520" y="5087"/>
                </a:lnTo>
                <a:lnTo>
                  <a:pt x="10526" y="5082"/>
                </a:lnTo>
                <a:lnTo>
                  <a:pt x="10533" y="5078"/>
                </a:lnTo>
                <a:lnTo>
                  <a:pt x="10539" y="5074"/>
                </a:lnTo>
                <a:lnTo>
                  <a:pt x="10546" y="5071"/>
                </a:lnTo>
                <a:lnTo>
                  <a:pt x="10553" y="5068"/>
                </a:lnTo>
                <a:lnTo>
                  <a:pt x="10568" y="5064"/>
                </a:lnTo>
                <a:lnTo>
                  <a:pt x="10582" y="5061"/>
                </a:lnTo>
                <a:lnTo>
                  <a:pt x="10597" y="5058"/>
                </a:lnTo>
                <a:lnTo>
                  <a:pt x="10612" y="5056"/>
                </a:lnTo>
                <a:lnTo>
                  <a:pt x="10627" y="5054"/>
                </a:lnTo>
                <a:lnTo>
                  <a:pt x="10641" y="5051"/>
                </a:lnTo>
                <a:lnTo>
                  <a:pt x="10656" y="5048"/>
                </a:lnTo>
                <a:lnTo>
                  <a:pt x="10668" y="5042"/>
                </a:lnTo>
                <a:lnTo>
                  <a:pt x="10674" y="5039"/>
                </a:lnTo>
                <a:lnTo>
                  <a:pt x="10680" y="5036"/>
                </a:lnTo>
                <a:lnTo>
                  <a:pt x="10685" y="5031"/>
                </a:lnTo>
                <a:lnTo>
                  <a:pt x="10690" y="5026"/>
                </a:lnTo>
                <a:lnTo>
                  <a:pt x="10694" y="5021"/>
                </a:lnTo>
                <a:lnTo>
                  <a:pt x="10698" y="5015"/>
                </a:lnTo>
                <a:lnTo>
                  <a:pt x="10702" y="5008"/>
                </a:lnTo>
                <a:lnTo>
                  <a:pt x="10705" y="5000"/>
                </a:lnTo>
                <a:lnTo>
                  <a:pt x="10699" y="4997"/>
                </a:lnTo>
                <a:lnTo>
                  <a:pt x="10693" y="4994"/>
                </a:lnTo>
                <a:lnTo>
                  <a:pt x="10688" y="4990"/>
                </a:lnTo>
                <a:lnTo>
                  <a:pt x="10684" y="4986"/>
                </a:lnTo>
                <a:lnTo>
                  <a:pt x="10680" y="4981"/>
                </a:lnTo>
                <a:lnTo>
                  <a:pt x="10676" y="4974"/>
                </a:lnTo>
                <a:lnTo>
                  <a:pt x="10672" y="4967"/>
                </a:lnTo>
                <a:lnTo>
                  <a:pt x="10669" y="4960"/>
                </a:lnTo>
                <a:lnTo>
                  <a:pt x="10664" y="4945"/>
                </a:lnTo>
                <a:lnTo>
                  <a:pt x="10660" y="4929"/>
                </a:lnTo>
                <a:lnTo>
                  <a:pt x="10657" y="4911"/>
                </a:lnTo>
                <a:lnTo>
                  <a:pt x="10654" y="4892"/>
                </a:lnTo>
                <a:lnTo>
                  <a:pt x="10652" y="4854"/>
                </a:lnTo>
                <a:lnTo>
                  <a:pt x="10651" y="4816"/>
                </a:lnTo>
                <a:lnTo>
                  <a:pt x="10652" y="4783"/>
                </a:lnTo>
                <a:lnTo>
                  <a:pt x="10652" y="4757"/>
                </a:lnTo>
                <a:lnTo>
                  <a:pt x="10660" y="4758"/>
                </a:lnTo>
                <a:lnTo>
                  <a:pt x="10667" y="4758"/>
                </a:lnTo>
                <a:lnTo>
                  <a:pt x="10674" y="4757"/>
                </a:lnTo>
                <a:lnTo>
                  <a:pt x="10681" y="4756"/>
                </a:lnTo>
                <a:lnTo>
                  <a:pt x="10696" y="4752"/>
                </a:lnTo>
                <a:lnTo>
                  <a:pt x="10710" y="4747"/>
                </a:lnTo>
                <a:lnTo>
                  <a:pt x="10738" y="4733"/>
                </a:lnTo>
                <a:lnTo>
                  <a:pt x="10764" y="4718"/>
                </a:lnTo>
                <a:lnTo>
                  <a:pt x="10777" y="4712"/>
                </a:lnTo>
                <a:lnTo>
                  <a:pt x="10788" y="4707"/>
                </a:lnTo>
                <a:lnTo>
                  <a:pt x="10798" y="4704"/>
                </a:lnTo>
                <a:lnTo>
                  <a:pt x="10807" y="4703"/>
                </a:lnTo>
                <a:lnTo>
                  <a:pt x="10811" y="4704"/>
                </a:lnTo>
                <a:lnTo>
                  <a:pt x="10814" y="4705"/>
                </a:lnTo>
                <a:lnTo>
                  <a:pt x="10818" y="4707"/>
                </a:lnTo>
                <a:lnTo>
                  <a:pt x="10821" y="4710"/>
                </a:lnTo>
                <a:lnTo>
                  <a:pt x="10823" y="4714"/>
                </a:lnTo>
                <a:lnTo>
                  <a:pt x="10825" y="4719"/>
                </a:lnTo>
                <a:lnTo>
                  <a:pt x="10827" y="4726"/>
                </a:lnTo>
                <a:lnTo>
                  <a:pt x="10828" y="4733"/>
                </a:lnTo>
                <a:lnTo>
                  <a:pt x="10832" y="4764"/>
                </a:lnTo>
                <a:lnTo>
                  <a:pt x="10836" y="4804"/>
                </a:lnTo>
                <a:lnTo>
                  <a:pt x="10839" y="4824"/>
                </a:lnTo>
                <a:lnTo>
                  <a:pt x="10843" y="4841"/>
                </a:lnTo>
                <a:lnTo>
                  <a:pt x="10845" y="4848"/>
                </a:lnTo>
                <a:lnTo>
                  <a:pt x="10847" y="4855"/>
                </a:lnTo>
                <a:lnTo>
                  <a:pt x="10850" y="4860"/>
                </a:lnTo>
                <a:lnTo>
                  <a:pt x="10852" y="4863"/>
                </a:lnTo>
                <a:lnTo>
                  <a:pt x="10872" y="4872"/>
                </a:lnTo>
                <a:lnTo>
                  <a:pt x="10889" y="4878"/>
                </a:lnTo>
                <a:lnTo>
                  <a:pt x="10896" y="4880"/>
                </a:lnTo>
                <a:lnTo>
                  <a:pt x="10904" y="4881"/>
                </a:lnTo>
                <a:lnTo>
                  <a:pt x="10910" y="4882"/>
                </a:lnTo>
                <a:lnTo>
                  <a:pt x="10915" y="4882"/>
                </a:lnTo>
                <a:lnTo>
                  <a:pt x="10920" y="4881"/>
                </a:lnTo>
                <a:lnTo>
                  <a:pt x="10924" y="4879"/>
                </a:lnTo>
                <a:lnTo>
                  <a:pt x="10927" y="4877"/>
                </a:lnTo>
                <a:lnTo>
                  <a:pt x="10931" y="4875"/>
                </a:lnTo>
                <a:lnTo>
                  <a:pt x="10933" y="4872"/>
                </a:lnTo>
                <a:lnTo>
                  <a:pt x="10935" y="4869"/>
                </a:lnTo>
                <a:lnTo>
                  <a:pt x="10937" y="4865"/>
                </a:lnTo>
                <a:lnTo>
                  <a:pt x="10939" y="4860"/>
                </a:lnTo>
                <a:lnTo>
                  <a:pt x="10941" y="4850"/>
                </a:lnTo>
                <a:lnTo>
                  <a:pt x="10941" y="4839"/>
                </a:lnTo>
                <a:lnTo>
                  <a:pt x="10941" y="4828"/>
                </a:lnTo>
                <a:lnTo>
                  <a:pt x="10941" y="4816"/>
                </a:lnTo>
                <a:lnTo>
                  <a:pt x="10939" y="4791"/>
                </a:lnTo>
                <a:lnTo>
                  <a:pt x="10938" y="4767"/>
                </a:lnTo>
                <a:lnTo>
                  <a:pt x="10934" y="4767"/>
                </a:lnTo>
                <a:lnTo>
                  <a:pt x="10931" y="4766"/>
                </a:lnTo>
                <a:lnTo>
                  <a:pt x="10927" y="4764"/>
                </a:lnTo>
                <a:lnTo>
                  <a:pt x="10923" y="4761"/>
                </a:lnTo>
                <a:lnTo>
                  <a:pt x="10915" y="4754"/>
                </a:lnTo>
                <a:lnTo>
                  <a:pt x="10908" y="4745"/>
                </a:lnTo>
                <a:lnTo>
                  <a:pt x="10900" y="4734"/>
                </a:lnTo>
                <a:lnTo>
                  <a:pt x="10891" y="4720"/>
                </a:lnTo>
                <a:lnTo>
                  <a:pt x="10884" y="4706"/>
                </a:lnTo>
                <a:lnTo>
                  <a:pt x="10877" y="4691"/>
                </a:lnTo>
                <a:lnTo>
                  <a:pt x="10870" y="4675"/>
                </a:lnTo>
                <a:lnTo>
                  <a:pt x="10864" y="4658"/>
                </a:lnTo>
                <a:lnTo>
                  <a:pt x="10859" y="4642"/>
                </a:lnTo>
                <a:lnTo>
                  <a:pt x="10854" y="4625"/>
                </a:lnTo>
                <a:lnTo>
                  <a:pt x="10850" y="4609"/>
                </a:lnTo>
                <a:lnTo>
                  <a:pt x="10846" y="4593"/>
                </a:lnTo>
                <a:lnTo>
                  <a:pt x="10844" y="4578"/>
                </a:lnTo>
                <a:lnTo>
                  <a:pt x="10842" y="4566"/>
                </a:lnTo>
                <a:lnTo>
                  <a:pt x="10829" y="4568"/>
                </a:lnTo>
                <a:lnTo>
                  <a:pt x="10816" y="4571"/>
                </a:lnTo>
                <a:lnTo>
                  <a:pt x="10802" y="4574"/>
                </a:lnTo>
                <a:lnTo>
                  <a:pt x="10788" y="4579"/>
                </a:lnTo>
                <a:lnTo>
                  <a:pt x="10775" y="4585"/>
                </a:lnTo>
                <a:lnTo>
                  <a:pt x="10762" y="4591"/>
                </a:lnTo>
                <a:lnTo>
                  <a:pt x="10757" y="4595"/>
                </a:lnTo>
                <a:lnTo>
                  <a:pt x="10753" y="4600"/>
                </a:lnTo>
                <a:lnTo>
                  <a:pt x="10749" y="4604"/>
                </a:lnTo>
                <a:lnTo>
                  <a:pt x="10746" y="4608"/>
                </a:lnTo>
                <a:lnTo>
                  <a:pt x="10725" y="4608"/>
                </a:lnTo>
                <a:lnTo>
                  <a:pt x="10705" y="4607"/>
                </a:lnTo>
                <a:lnTo>
                  <a:pt x="10686" y="4605"/>
                </a:lnTo>
                <a:lnTo>
                  <a:pt x="10667" y="4602"/>
                </a:lnTo>
                <a:lnTo>
                  <a:pt x="10629" y="4594"/>
                </a:lnTo>
                <a:lnTo>
                  <a:pt x="10595" y="4587"/>
                </a:lnTo>
                <a:lnTo>
                  <a:pt x="10562" y="4579"/>
                </a:lnTo>
                <a:lnTo>
                  <a:pt x="10529" y="4572"/>
                </a:lnTo>
                <a:lnTo>
                  <a:pt x="10511" y="4569"/>
                </a:lnTo>
                <a:lnTo>
                  <a:pt x="10495" y="4567"/>
                </a:lnTo>
                <a:lnTo>
                  <a:pt x="10478" y="4566"/>
                </a:lnTo>
                <a:lnTo>
                  <a:pt x="10461" y="4566"/>
                </a:lnTo>
                <a:lnTo>
                  <a:pt x="10440" y="4538"/>
                </a:lnTo>
                <a:lnTo>
                  <a:pt x="10402" y="4492"/>
                </a:lnTo>
                <a:lnTo>
                  <a:pt x="10382" y="4467"/>
                </a:lnTo>
                <a:lnTo>
                  <a:pt x="10366" y="4447"/>
                </a:lnTo>
                <a:lnTo>
                  <a:pt x="10360" y="4439"/>
                </a:lnTo>
                <a:lnTo>
                  <a:pt x="10356" y="4433"/>
                </a:lnTo>
                <a:lnTo>
                  <a:pt x="10354" y="4429"/>
                </a:lnTo>
                <a:lnTo>
                  <a:pt x="10355" y="4428"/>
                </a:lnTo>
                <a:lnTo>
                  <a:pt x="10350" y="4418"/>
                </a:lnTo>
                <a:lnTo>
                  <a:pt x="10345" y="4409"/>
                </a:lnTo>
                <a:lnTo>
                  <a:pt x="10342" y="4400"/>
                </a:lnTo>
                <a:lnTo>
                  <a:pt x="10340" y="4393"/>
                </a:lnTo>
                <a:lnTo>
                  <a:pt x="10338" y="4386"/>
                </a:lnTo>
                <a:lnTo>
                  <a:pt x="10338" y="4380"/>
                </a:lnTo>
                <a:lnTo>
                  <a:pt x="10338" y="4374"/>
                </a:lnTo>
                <a:lnTo>
                  <a:pt x="10339" y="4369"/>
                </a:lnTo>
                <a:lnTo>
                  <a:pt x="10340" y="4365"/>
                </a:lnTo>
                <a:lnTo>
                  <a:pt x="10342" y="4361"/>
                </a:lnTo>
                <a:lnTo>
                  <a:pt x="10345" y="4357"/>
                </a:lnTo>
                <a:lnTo>
                  <a:pt x="10349" y="4354"/>
                </a:lnTo>
                <a:lnTo>
                  <a:pt x="10356" y="4350"/>
                </a:lnTo>
                <a:lnTo>
                  <a:pt x="10366" y="4346"/>
                </a:lnTo>
                <a:lnTo>
                  <a:pt x="10376" y="4344"/>
                </a:lnTo>
                <a:lnTo>
                  <a:pt x="10387" y="4343"/>
                </a:lnTo>
                <a:lnTo>
                  <a:pt x="10399" y="4343"/>
                </a:lnTo>
                <a:lnTo>
                  <a:pt x="10410" y="4343"/>
                </a:lnTo>
                <a:lnTo>
                  <a:pt x="10428" y="4344"/>
                </a:lnTo>
                <a:lnTo>
                  <a:pt x="10440" y="4344"/>
                </a:lnTo>
                <a:lnTo>
                  <a:pt x="10442" y="4334"/>
                </a:lnTo>
                <a:lnTo>
                  <a:pt x="10445" y="4325"/>
                </a:lnTo>
                <a:lnTo>
                  <a:pt x="10451" y="4317"/>
                </a:lnTo>
                <a:lnTo>
                  <a:pt x="10459" y="4309"/>
                </a:lnTo>
                <a:lnTo>
                  <a:pt x="10469" y="4302"/>
                </a:lnTo>
                <a:lnTo>
                  <a:pt x="10480" y="4296"/>
                </a:lnTo>
                <a:lnTo>
                  <a:pt x="10494" y="4289"/>
                </a:lnTo>
                <a:lnTo>
                  <a:pt x="10508" y="4283"/>
                </a:lnTo>
                <a:lnTo>
                  <a:pt x="10542" y="4272"/>
                </a:lnTo>
                <a:lnTo>
                  <a:pt x="10579" y="4261"/>
                </a:lnTo>
                <a:lnTo>
                  <a:pt x="10619" y="4251"/>
                </a:lnTo>
                <a:lnTo>
                  <a:pt x="10661" y="4240"/>
                </a:lnTo>
                <a:lnTo>
                  <a:pt x="10703" y="4229"/>
                </a:lnTo>
                <a:lnTo>
                  <a:pt x="10743" y="4215"/>
                </a:lnTo>
                <a:lnTo>
                  <a:pt x="10762" y="4209"/>
                </a:lnTo>
                <a:lnTo>
                  <a:pt x="10782" y="4201"/>
                </a:lnTo>
                <a:lnTo>
                  <a:pt x="10800" y="4193"/>
                </a:lnTo>
                <a:lnTo>
                  <a:pt x="10816" y="4185"/>
                </a:lnTo>
                <a:lnTo>
                  <a:pt x="10832" y="4176"/>
                </a:lnTo>
                <a:lnTo>
                  <a:pt x="10846" y="4166"/>
                </a:lnTo>
                <a:lnTo>
                  <a:pt x="10859" y="4156"/>
                </a:lnTo>
                <a:lnTo>
                  <a:pt x="10870" y="4144"/>
                </a:lnTo>
                <a:lnTo>
                  <a:pt x="10879" y="4132"/>
                </a:lnTo>
                <a:lnTo>
                  <a:pt x="10887" y="4119"/>
                </a:lnTo>
                <a:lnTo>
                  <a:pt x="10892" y="4105"/>
                </a:lnTo>
                <a:lnTo>
                  <a:pt x="10895" y="4089"/>
                </a:lnTo>
                <a:lnTo>
                  <a:pt x="10883" y="4088"/>
                </a:lnTo>
                <a:lnTo>
                  <a:pt x="10873" y="4086"/>
                </a:lnTo>
                <a:lnTo>
                  <a:pt x="10866" y="4083"/>
                </a:lnTo>
                <a:lnTo>
                  <a:pt x="10860" y="4079"/>
                </a:lnTo>
                <a:lnTo>
                  <a:pt x="10857" y="4073"/>
                </a:lnTo>
                <a:lnTo>
                  <a:pt x="10856" y="4067"/>
                </a:lnTo>
                <a:lnTo>
                  <a:pt x="10856" y="4059"/>
                </a:lnTo>
                <a:lnTo>
                  <a:pt x="10858" y="4051"/>
                </a:lnTo>
                <a:lnTo>
                  <a:pt x="10861" y="4042"/>
                </a:lnTo>
                <a:lnTo>
                  <a:pt x="10866" y="4033"/>
                </a:lnTo>
                <a:lnTo>
                  <a:pt x="10872" y="4023"/>
                </a:lnTo>
                <a:lnTo>
                  <a:pt x="10879" y="4012"/>
                </a:lnTo>
                <a:lnTo>
                  <a:pt x="10895" y="3991"/>
                </a:lnTo>
                <a:lnTo>
                  <a:pt x="10916" y="3967"/>
                </a:lnTo>
                <a:lnTo>
                  <a:pt x="10937" y="3945"/>
                </a:lnTo>
                <a:lnTo>
                  <a:pt x="10959" y="3923"/>
                </a:lnTo>
                <a:lnTo>
                  <a:pt x="10980" y="3902"/>
                </a:lnTo>
                <a:lnTo>
                  <a:pt x="11000" y="3884"/>
                </a:lnTo>
                <a:lnTo>
                  <a:pt x="11031" y="3857"/>
                </a:lnTo>
                <a:lnTo>
                  <a:pt x="11044" y="3847"/>
                </a:lnTo>
                <a:lnTo>
                  <a:pt x="11078" y="3816"/>
                </a:lnTo>
                <a:lnTo>
                  <a:pt x="11109" y="3787"/>
                </a:lnTo>
                <a:lnTo>
                  <a:pt x="11124" y="3773"/>
                </a:lnTo>
                <a:lnTo>
                  <a:pt x="11139" y="3760"/>
                </a:lnTo>
                <a:lnTo>
                  <a:pt x="11155" y="3748"/>
                </a:lnTo>
                <a:lnTo>
                  <a:pt x="11170" y="3737"/>
                </a:lnTo>
                <a:lnTo>
                  <a:pt x="11185" y="3726"/>
                </a:lnTo>
                <a:lnTo>
                  <a:pt x="11200" y="3716"/>
                </a:lnTo>
                <a:lnTo>
                  <a:pt x="11216" y="3707"/>
                </a:lnTo>
                <a:lnTo>
                  <a:pt x="11233" y="3699"/>
                </a:lnTo>
                <a:lnTo>
                  <a:pt x="11251" y="3693"/>
                </a:lnTo>
                <a:lnTo>
                  <a:pt x="11270" y="3688"/>
                </a:lnTo>
                <a:lnTo>
                  <a:pt x="11292" y="3684"/>
                </a:lnTo>
                <a:lnTo>
                  <a:pt x="11313" y="3682"/>
                </a:lnTo>
                <a:lnTo>
                  <a:pt x="11329" y="3679"/>
                </a:lnTo>
                <a:lnTo>
                  <a:pt x="11354" y="3674"/>
                </a:lnTo>
                <a:lnTo>
                  <a:pt x="11389" y="3666"/>
                </a:lnTo>
                <a:lnTo>
                  <a:pt x="11432" y="3656"/>
                </a:lnTo>
                <a:lnTo>
                  <a:pt x="11532" y="3633"/>
                </a:lnTo>
                <a:lnTo>
                  <a:pt x="11642" y="3609"/>
                </a:lnTo>
                <a:lnTo>
                  <a:pt x="11697" y="3599"/>
                </a:lnTo>
                <a:lnTo>
                  <a:pt x="11750" y="3588"/>
                </a:lnTo>
                <a:lnTo>
                  <a:pt x="11799" y="3580"/>
                </a:lnTo>
                <a:lnTo>
                  <a:pt x="11843" y="3575"/>
                </a:lnTo>
                <a:lnTo>
                  <a:pt x="11862" y="3574"/>
                </a:lnTo>
                <a:lnTo>
                  <a:pt x="11879" y="3573"/>
                </a:lnTo>
                <a:lnTo>
                  <a:pt x="11894" y="3574"/>
                </a:lnTo>
                <a:lnTo>
                  <a:pt x="11908" y="3575"/>
                </a:lnTo>
                <a:lnTo>
                  <a:pt x="11919" y="3578"/>
                </a:lnTo>
                <a:lnTo>
                  <a:pt x="11926" y="3581"/>
                </a:lnTo>
                <a:lnTo>
                  <a:pt x="11931" y="3586"/>
                </a:lnTo>
                <a:lnTo>
                  <a:pt x="11933" y="3593"/>
                </a:lnTo>
                <a:lnTo>
                  <a:pt x="11966" y="3593"/>
                </a:lnTo>
                <a:lnTo>
                  <a:pt x="12020" y="3594"/>
                </a:lnTo>
                <a:lnTo>
                  <a:pt x="12088" y="3596"/>
                </a:lnTo>
                <a:lnTo>
                  <a:pt x="12160" y="3599"/>
                </a:lnTo>
                <a:lnTo>
                  <a:pt x="12196" y="3601"/>
                </a:lnTo>
                <a:lnTo>
                  <a:pt x="12229" y="3604"/>
                </a:lnTo>
                <a:lnTo>
                  <a:pt x="12261" y="3607"/>
                </a:lnTo>
                <a:lnTo>
                  <a:pt x="12289" y="3611"/>
                </a:lnTo>
                <a:lnTo>
                  <a:pt x="12301" y="3613"/>
                </a:lnTo>
                <a:lnTo>
                  <a:pt x="12312" y="3616"/>
                </a:lnTo>
                <a:lnTo>
                  <a:pt x="12322" y="3618"/>
                </a:lnTo>
                <a:lnTo>
                  <a:pt x="12330" y="3621"/>
                </a:lnTo>
                <a:lnTo>
                  <a:pt x="12337" y="3624"/>
                </a:lnTo>
                <a:lnTo>
                  <a:pt x="12341" y="3627"/>
                </a:lnTo>
                <a:lnTo>
                  <a:pt x="12344" y="3631"/>
                </a:lnTo>
                <a:lnTo>
                  <a:pt x="12345" y="3635"/>
                </a:lnTo>
                <a:lnTo>
                  <a:pt x="12357" y="3635"/>
                </a:lnTo>
                <a:lnTo>
                  <a:pt x="12369" y="3637"/>
                </a:lnTo>
                <a:lnTo>
                  <a:pt x="12383" y="3640"/>
                </a:lnTo>
                <a:lnTo>
                  <a:pt x="12398" y="3644"/>
                </a:lnTo>
                <a:lnTo>
                  <a:pt x="12431" y="3653"/>
                </a:lnTo>
                <a:lnTo>
                  <a:pt x="12463" y="3663"/>
                </a:lnTo>
                <a:lnTo>
                  <a:pt x="12480" y="3668"/>
                </a:lnTo>
                <a:lnTo>
                  <a:pt x="12495" y="3672"/>
                </a:lnTo>
                <a:lnTo>
                  <a:pt x="12510" y="3675"/>
                </a:lnTo>
                <a:lnTo>
                  <a:pt x="12525" y="3678"/>
                </a:lnTo>
                <a:lnTo>
                  <a:pt x="12539" y="3679"/>
                </a:lnTo>
                <a:lnTo>
                  <a:pt x="12551" y="3680"/>
                </a:lnTo>
                <a:lnTo>
                  <a:pt x="12556" y="3679"/>
                </a:lnTo>
                <a:lnTo>
                  <a:pt x="12561" y="3678"/>
                </a:lnTo>
                <a:lnTo>
                  <a:pt x="12566" y="3677"/>
                </a:lnTo>
                <a:lnTo>
                  <a:pt x="12570" y="3675"/>
                </a:lnTo>
                <a:lnTo>
                  <a:pt x="12577" y="3672"/>
                </a:lnTo>
                <a:lnTo>
                  <a:pt x="12585" y="3670"/>
                </a:lnTo>
                <a:lnTo>
                  <a:pt x="12594" y="3669"/>
                </a:lnTo>
                <a:lnTo>
                  <a:pt x="12605" y="3668"/>
                </a:lnTo>
                <a:lnTo>
                  <a:pt x="12616" y="3668"/>
                </a:lnTo>
                <a:lnTo>
                  <a:pt x="12628" y="3670"/>
                </a:lnTo>
                <a:lnTo>
                  <a:pt x="12641" y="3671"/>
                </a:lnTo>
                <a:lnTo>
                  <a:pt x="12654" y="3674"/>
                </a:lnTo>
                <a:lnTo>
                  <a:pt x="12684" y="3681"/>
                </a:lnTo>
                <a:lnTo>
                  <a:pt x="12713" y="3690"/>
                </a:lnTo>
                <a:lnTo>
                  <a:pt x="12744" y="3702"/>
                </a:lnTo>
                <a:lnTo>
                  <a:pt x="12774" y="3715"/>
                </a:lnTo>
                <a:lnTo>
                  <a:pt x="12805" y="3731"/>
                </a:lnTo>
                <a:lnTo>
                  <a:pt x="12833" y="3747"/>
                </a:lnTo>
                <a:lnTo>
                  <a:pt x="12846" y="3756"/>
                </a:lnTo>
                <a:lnTo>
                  <a:pt x="12858" y="3764"/>
                </a:lnTo>
                <a:lnTo>
                  <a:pt x="12870" y="3773"/>
                </a:lnTo>
                <a:lnTo>
                  <a:pt x="12881" y="3782"/>
                </a:lnTo>
                <a:lnTo>
                  <a:pt x="12891" y="3791"/>
                </a:lnTo>
                <a:lnTo>
                  <a:pt x="12900" y="3801"/>
                </a:lnTo>
                <a:lnTo>
                  <a:pt x="12908" y="3810"/>
                </a:lnTo>
                <a:lnTo>
                  <a:pt x="12914" y="3819"/>
                </a:lnTo>
                <a:lnTo>
                  <a:pt x="12921" y="3829"/>
                </a:lnTo>
                <a:lnTo>
                  <a:pt x="12924" y="3838"/>
                </a:lnTo>
                <a:lnTo>
                  <a:pt x="12927" y="3848"/>
                </a:lnTo>
                <a:lnTo>
                  <a:pt x="12928" y="3857"/>
                </a:lnTo>
                <a:lnTo>
                  <a:pt x="12901" y="3858"/>
                </a:lnTo>
                <a:lnTo>
                  <a:pt x="12874" y="3858"/>
                </a:lnTo>
                <a:lnTo>
                  <a:pt x="12846" y="3860"/>
                </a:lnTo>
                <a:lnTo>
                  <a:pt x="12818" y="3862"/>
                </a:lnTo>
                <a:lnTo>
                  <a:pt x="12757" y="3867"/>
                </a:lnTo>
                <a:lnTo>
                  <a:pt x="12694" y="3873"/>
                </a:lnTo>
                <a:lnTo>
                  <a:pt x="12629" y="3879"/>
                </a:lnTo>
                <a:lnTo>
                  <a:pt x="12563" y="3884"/>
                </a:lnTo>
                <a:lnTo>
                  <a:pt x="12529" y="3886"/>
                </a:lnTo>
                <a:lnTo>
                  <a:pt x="12496" y="3887"/>
                </a:lnTo>
                <a:lnTo>
                  <a:pt x="12463" y="3888"/>
                </a:lnTo>
                <a:lnTo>
                  <a:pt x="12430" y="3889"/>
                </a:lnTo>
                <a:lnTo>
                  <a:pt x="12431" y="3900"/>
                </a:lnTo>
                <a:lnTo>
                  <a:pt x="12433" y="3906"/>
                </a:lnTo>
                <a:lnTo>
                  <a:pt x="12435" y="3909"/>
                </a:lnTo>
                <a:lnTo>
                  <a:pt x="12437" y="3910"/>
                </a:lnTo>
                <a:lnTo>
                  <a:pt x="12438" y="3911"/>
                </a:lnTo>
                <a:lnTo>
                  <a:pt x="12438" y="3913"/>
                </a:lnTo>
                <a:lnTo>
                  <a:pt x="12435" y="3919"/>
                </a:lnTo>
                <a:lnTo>
                  <a:pt x="12430" y="3931"/>
                </a:lnTo>
                <a:lnTo>
                  <a:pt x="12436" y="3931"/>
                </a:lnTo>
                <a:lnTo>
                  <a:pt x="12442" y="3932"/>
                </a:lnTo>
                <a:lnTo>
                  <a:pt x="12448" y="3934"/>
                </a:lnTo>
                <a:lnTo>
                  <a:pt x="12455" y="3937"/>
                </a:lnTo>
                <a:lnTo>
                  <a:pt x="12468" y="3945"/>
                </a:lnTo>
                <a:lnTo>
                  <a:pt x="12482" y="3956"/>
                </a:lnTo>
                <a:lnTo>
                  <a:pt x="12496" y="3970"/>
                </a:lnTo>
                <a:lnTo>
                  <a:pt x="12509" y="3984"/>
                </a:lnTo>
                <a:lnTo>
                  <a:pt x="12523" y="4000"/>
                </a:lnTo>
                <a:lnTo>
                  <a:pt x="12536" y="4017"/>
                </a:lnTo>
                <a:lnTo>
                  <a:pt x="12548" y="4034"/>
                </a:lnTo>
                <a:lnTo>
                  <a:pt x="12559" y="4052"/>
                </a:lnTo>
                <a:lnTo>
                  <a:pt x="12569" y="4069"/>
                </a:lnTo>
                <a:lnTo>
                  <a:pt x="12577" y="4086"/>
                </a:lnTo>
                <a:lnTo>
                  <a:pt x="12583" y="4104"/>
                </a:lnTo>
                <a:lnTo>
                  <a:pt x="12587" y="4118"/>
                </a:lnTo>
                <a:lnTo>
                  <a:pt x="12589" y="4125"/>
                </a:lnTo>
                <a:lnTo>
                  <a:pt x="12589" y="4132"/>
                </a:lnTo>
                <a:lnTo>
                  <a:pt x="12589" y="4138"/>
                </a:lnTo>
                <a:lnTo>
                  <a:pt x="12589" y="4143"/>
                </a:lnTo>
                <a:lnTo>
                  <a:pt x="12604" y="4142"/>
                </a:lnTo>
                <a:lnTo>
                  <a:pt x="12619" y="4141"/>
                </a:lnTo>
                <a:lnTo>
                  <a:pt x="12632" y="4138"/>
                </a:lnTo>
                <a:lnTo>
                  <a:pt x="12644" y="4134"/>
                </a:lnTo>
                <a:lnTo>
                  <a:pt x="12656" y="4129"/>
                </a:lnTo>
                <a:lnTo>
                  <a:pt x="12668" y="4124"/>
                </a:lnTo>
                <a:lnTo>
                  <a:pt x="12679" y="4118"/>
                </a:lnTo>
                <a:lnTo>
                  <a:pt x="12689" y="4112"/>
                </a:lnTo>
                <a:lnTo>
                  <a:pt x="12708" y="4100"/>
                </a:lnTo>
                <a:lnTo>
                  <a:pt x="12727" y="4089"/>
                </a:lnTo>
                <a:lnTo>
                  <a:pt x="12737" y="4085"/>
                </a:lnTo>
                <a:lnTo>
                  <a:pt x="12747" y="4081"/>
                </a:lnTo>
                <a:lnTo>
                  <a:pt x="12757" y="4079"/>
                </a:lnTo>
                <a:lnTo>
                  <a:pt x="12768" y="4079"/>
                </a:lnTo>
                <a:lnTo>
                  <a:pt x="12769" y="4092"/>
                </a:lnTo>
                <a:lnTo>
                  <a:pt x="12772" y="4104"/>
                </a:lnTo>
                <a:lnTo>
                  <a:pt x="12776" y="4114"/>
                </a:lnTo>
                <a:lnTo>
                  <a:pt x="12781" y="4122"/>
                </a:lnTo>
                <a:lnTo>
                  <a:pt x="12788" y="4129"/>
                </a:lnTo>
                <a:lnTo>
                  <a:pt x="12797" y="4134"/>
                </a:lnTo>
                <a:lnTo>
                  <a:pt x="12805" y="4137"/>
                </a:lnTo>
                <a:lnTo>
                  <a:pt x="12813" y="4138"/>
                </a:lnTo>
                <a:lnTo>
                  <a:pt x="12822" y="4138"/>
                </a:lnTo>
                <a:lnTo>
                  <a:pt x="12831" y="4136"/>
                </a:lnTo>
                <a:lnTo>
                  <a:pt x="12840" y="4132"/>
                </a:lnTo>
                <a:lnTo>
                  <a:pt x="12849" y="4125"/>
                </a:lnTo>
                <a:lnTo>
                  <a:pt x="12856" y="4117"/>
                </a:lnTo>
                <a:lnTo>
                  <a:pt x="12863" y="4107"/>
                </a:lnTo>
                <a:lnTo>
                  <a:pt x="12869" y="4093"/>
                </a:lnTo>
                <a:lnTo>
                  <a:pt x="12874" y="4079"/>
                </a:lnTo>
                <a:lnTo>
                  <a:pt x="12868" y="4078"/>
                </a:lnTo>
                <a:lnTo>
                  <a:pt x="12863" y="4078"/>
                </a:lnTo>
                <a:lnTo>
                  <a:pt x="12858" y="4076"/>
                </a:lnTo>
                <a:lnTo>
                  <a:pt x="12854" y="4075"/>
                </a:lnTo>
                <a:lnTo>
                  <a:pt x="12850" y="4073"/>
                </a:lnTo>
                <a:lnTo>
                  <a:pt x="12847" y="4070"/>
                </a:lnTo>
                <a:lnTo>
                  <a:pt x="12844" y="4067"/>
                </a:lnTo>
                <a:lnTo>
                  <a:pt x="12842" y="4064"/>
                </a:lnTo>
                <a:lnTo>
                  <a:pt x="12838" y="4057"/>
                </a:lnTo>
                <a:lnTo>
                  <a:pt x="12836" y="4049"/>
                </a:lnTo>
                <a:lnTo>
                  <a:pt x="12835" y="4040"/>
                </a:lnTo>
                <a:lnTo>
                  <a:pt x="12835" y="4032"/>
                </a:lnTo>
                <a:lnTo>
                  <a:pt x="12836" y="4023"/>
                </a:lnTo>
                <a:lnTo>
                  <a:pt x="12837" y="4014"/>
                </a:lnTo>
                <a:lnTo>
                  <a:pt x="12839" y="4006"/>
                </a:lnTo>
                <a:lnTo>
                  <a:pt x="12842" y="3999"/>
                </a:lnTo>
                <a:lnTo>
                  <a:pt x="12845" y="3993"/>
                </a:lnTo>
                <a:lnTo>
                  <a:pt x="12848" y="3988"/>
                </a:lnTo>
                <a:lnTo>
                  <a:pt x="12850" y="3985"/>
                </a:lnTo>
                <a:lnTo>
                  <a:pt x="12853" y="3984"/>
                </a:lnTo>
                <a:lnTo>
                  <a:pt x="12857" y="3978"/>
                </a:lnTo>
                <a:lnTo>
                  <a:pt x="12861" y="3972"/>
                </a:lnTo>
                <a:lnTo>
                  <a:pt x="12866" y="3965"/>
                </a:lnTo>
                <a:lnTo>
                  <a:pt x="12871" y="3961"/>
                </a:lnTo>
                <a:lnTo>
                  <a:pt x="12876" y="3957"/>
                </a:lnTo>
                <a:lnTo>
                  <a:pt x="12881" y="3954"/>
                </a:lnTo>
                <a:lnTo>
                  <a:pt x="12886" y="3951"/>
                </a:lnTo>
                <a:lnTo>
                  <a:pt x="12892" y="3949"/>
                </a:lnTo>
                <a:lnTo>
                  <a:pt x="12903" y="3946"/>
                </a:lnTo>
                <a:lnTo>
                  <a:pt x="12916" y="3944"/>
                </a:lnTo>
                <a:lnTo>
                  <a:pt x="12928" y="3943"/>
                </a:lnTo>
                <a:lnTo>
                  <a:pt x="12940" y="3942"/>
                </a:lnTo>
                <a:lnTo>
                  <a:pt x="12952" y="3942"/>
                </a:lnTo>
                <a:lnTo>
                  <a:pt x="12964" y="3940"/>
                </a:lnTo>
                <a:lnTo>
                  <a:pt x="12975" y="3938"/>
                </a:lnTo>
                <a:lnTo>
                  <a:pt x="12986" y="3934"/>
                </a:lnTo>
                <a:lnTo>
                  <a:pt x="12992" y="3931"/>
                </a:lnTo>
                <a:lnTo>
                  <a:pt x="12997" y="3928"/>
                </a:lnTo>
                <a:lnTo>
                  <a:pt x="13002" y="3924"/>
                </a:lnTo>
                <a:lnTo>
                  <a:pt x="13007" y="3919"/>
                </a:lnTo>
                <a:lnTo>
                  <a:pt x="13012" y="3914"/>
                </a:lnTo>
                <a:lnTo>
                  <a:pt x="13016" y="3908"/>
                </a:lnTo>
                <a:lnTo>
                  <a:pt x="13020" y="3901"/>
                </a:lnTo>
                <a:lnTo>
                  <a:pt x="13024" y="3894"/>
                </a:lnTo>
                <a:lnTo>
                  <a:pt x="13103" y="3988"/>
                </a:lnTo>
                <a:lnTo>
                  <a:pt x="13179" y="4083"/>
                </a:lnTo>
                <a:lnTo>
                  <a:pt x="13253" y="4181"/>
                </a:lnTo>
                <a:lnTo>
                  <a:pt x="13326" y="4280"/>
                </a:lnTo>
                <a:lnTo>
                  <a:pt x="13396" y="4380"/>
                </a:lnTo>
                <a:lnTo>
                  <a:pt x="13465" y="4482"/>
                </a:lnTo>
                <a:lnTo>
                  <a:pt x="13532" y="4584"/>
                </a:lnTo>
                <a:lnTo>
                  <a:pt x="13598" y="4688"/>
                </a:lnTo>
                <a:lnTo>
                  <a:pt x="13660" y="4794"/>
                </a:lnTo>
                <a:lnTo>
                  <a:pt x="13722" y="4901"/>
                </a:lnTo>
                <a:lnTo>
                  <a:pt x="13781" y="5009"/>
                </a:lnTo>
                <a:lnTo>
                  <a:pt x="13839" y="5118"/>
                </a:lnTo>
                <a:lnTo>
                  <a:pt x="13893" y="5227"/>
                </a:lnTo>
                <a:lnTo>
                  <a:pt x="13947" y="5339"/>
                </a:lnTo>
                <a:lnTo>
                  <a:pt x="13998" y="5452"/>
                </a:lnTo>
                <a:lnTo>
                  <a:pt x="14046" y="5566"/>
                </a:lnTo>
                <a:lnTo>
                  <a:pt x="14094" y="5681"/>
                </a:lnTo>
                <a:lnTo>
                  <a:pt x="14138" y="5797"/>
                </a:lnTo>
                <a:lnTo>
                  <a:pt x="14181" y="5914"/>
                </a:lnTo>
                <a:lnTo>
                  <a:pt x="14221" y="6033"/>
                </a:lnTo>
                <a:lnTo>
                  <a:pt x="14259" y="6152"/>
                </a:lnTo>
                <a:lnTo>
                  <a:pt x="14295" y="6272"/>
                </a:lnTo>
                <a:lnTo>
                  <a:pt x="14329" y="6393"/>
                </a:lnTo>
                <a:lnTo>
                  <a:pt x="14360" y="6515"/>
                </a:lnTo>
                <a:lnTo>
                  <a:pt x="14389" y="6638"/>
                </a:lnTo>
                <a:lnTo>
                  <a:pt x="14415" y="6762"/>
                </a:lnTo>
                <a:lnTo>
                  <a:pt x="14440" y="6886"/>
                </a:lnTo>
                <a:lnTo>
                  <a:pt x="14462" y="7012"/>
                </a:lnTo>
                <a:lnTo>
                  <a:pt x="14481" y="7138"/>
                </a:lnTo>
                <a:lnTo>
                  <a:pt x="14498" y="7265"/>
                </a:lnTo>
                <a:lnTo>
                  <a:pt x="14512" y="7393"/>
                </a:lnTo>
                <a:lnTo>
                  <a:pt x="14524" y="7522"/>
                </a:lnTo>
                <a:close/>
                <a:moveTo>
                  <a:pt x="3650" y="3319"/>
                </a:moveTo>
                <a:lnTo>
                  <a:pt x="3656" y="3318"/>
                </a:lnTo>
                <a:lnTo>
                  <a:pt x="3663" y="3316"/>
                </a:lnTo>
                <a:lnTo>
                  <a:pt x="3671" y="3313"/>
                </a:lnTo>
                <a:lnTo>
                  <a:pt x="3679" y="3309"/>
                </a:lnTo>
                <a:lnTo>
                  <a:pt x="3697" y="3301"/>
                </a:lnTo>
                <a:lnTo>
                  <a:pt x="3715" y="3292"/>
                </a:lnTo>
                <a:lnTo>
                  <a:pt x="3749" y="3274"/>
                </a:lnTo>
                <a:lnTo>
                  <a:pt x="3769" y="3264"/>
                </a:lnTo>
                <a:lnTo>
                  <a:pt x="3767" y="3304"/>
                </a:lnTo>
                <a:lnTo>
                  <a:pt x="3765" y="3333"/>
                </a:lnTo>
                <a:lnTo>
                  <a:pt x="3765" y="3349"/>
                </a:lnTo>
                <a:lnTo>
                  <a:pt x="3767" y="3366"/>
                </a:lnTo>
                <a:lnTo>
                  <a:pt x="3772" y="3386"/>
                </a:lnTo>
                <a:lnTo>
                  <a:pt x="3780" y="3412"/>
                </a:lnTo>
                <a:lnTo>
                  <a:pt x="3783" y="3413"/>
                </a:lnTo>
                <a:lnTo>
                  <a:pt x="3787" y="3417"/>
                </a:lnTo>
                <a:lnTo>
                  <a:pt x="3791" y="3422"/>
                </a:lnTo>
                <a:lnTo>
                  <a:pt x="3797" y="3429"/>
                </a:lnTo>
                <a:lnTo>
                  <a:pt x="3809" y="3447"/>
                </a:lnTo>
                <a:lnTo>
                  <a:pt x="3822" y="3470"/>
                </a:lnTo>
                <a:lnTo>
                  <a:pt x="3834" y="3494"/>
                </a:lnTo>
                <a:lnTo>
                  <a:pt x="3845" y="3518"/>
                </a:lnTo>
                <a:lnTo>
                  <a:pt x="3849" y="3530"/>
                </a:lnTo>
                <a:lnTo>
                  <a:pt x="3852" y="3541"/>
                </a:lnTo>
                <a:lnTo>
                  <a:pt x="3854" y="3551"/>
                </a:lnTo>
                <a:lnTo>
                  <a:pt x="3854" y="3560"/>
                </a:lnTo>
                <a:lnTo>
                  <a:pt x="3877" y="3557"/>
                </a:lnTo>
                <a:lnTo>
                  <a:pt x="3900" y="3553"/>
                </a:lnTo>
                <a:lnTo>
                  <a:pt x="3924" y="3549"/>
                </a:lnTo>
                <a:lnTo>
                  <a:pt x="3948" y="3547"/>
                </a:lnTo>
                <a:lnTo>
                  <a:pt x="3959" y="3547"/>
                </a:lnTo>
                <a:lnTo>
                  <a:pt x="3970" y="3549"/>
                </a:lnTo>
                <a:lnTo>
                  <a:pt x="3980" y="3551"/>
                </a:lnTo>
                <a:lnTo>
                  <a:pt x="3988" y="3556"/>
                </a:lnTo>
                <a:lnTo>
                  <a:pt x="3993" y="3558"/>
                </a:lnTo>
                <a:lnTo>
                  <a:pt x="3996" y="3561"/>
                </a:lnTo>
                <a:lnTo>
                  <a:pt x="4000" y="3565"/>
                </a:lnTo>
                <a:lnTo>
                  <a:pt x="4003" y="3569"/>
                </a:lnTo>
                <a:lnTo>
                  <a:pt x="4006" y="3574"/>
                </a:lnTo>
                <a:lnTo>
                  <a:pt x="4009" y="3579"/>
                </a:lnTo>
                <a:lnTo>
                  <a:pt x="4011" y="3585"/>
                </a:lnTo>
                <a:lnTo>
                  <a:pt x="4013" y="3593"/>
                </a:lnTo>
                <a:lnTo>
                  <a:pt x="3992" y="3592"/>
                </a:lnTo>
                <a:lnTo>
                  <a:pt x="3971" y="3589"/>
                </a:lnTo>
                <a:lnTo>
                  <a:pt x="3949" y="3586"/>
                </a:lnTo>
                <a:lnTo>
                  <a:pt x="3928" y="3581"/>
                </a:lnTo>
                <a:lnTo>
                  <a:pt x="3930" y="3596"/>
                </a:lnTo>
                <a:lnTo>
                  <a:pt x="3930" y="3610"/>
                </a:lnTo>
                <a:lnTo>
                  <a:pt x="3931" y="3621"/>
                </a:lnTo>
                <a:lnTo>
                  <a:pt x="3931" y="3631"/>
                </a:lnTo>
                <a:lnTo>
                  <a:pt x="3930" y="3640"/>
                </a:lnTo>
                <a:lnTo>
                  <a:pt x="3928" y="3648"/>
                </a:lnTo>
                <a:lnTo>
                  <a:pt x="3927" y="3655"/>
                </a:lnTo>
                <a:lnTo>
                  <a:pt x="3924" y="3661"/>
                </a:lnTo>
                <a:lnTo>
                  <a:pt x="3921" y="3665"/>
                </a:lnTo>
                <a:lnTo>
                  <a:pt x="3918" y="3669"/>
                </a:lnTo>
                <a:lnTo>
                  <a:pt x="3914" y="3672"/>
                </a:lnTo>
                <a:lnTo>
                  <a:pt x="3910" y="3674"/>
                </a:lnTo>
                <a:lnTo>
                  <a:pt x="3906" y="3675"/>
                </a:lnTo>
                <a:lnTo>
                  <a:pt x="3901" y="3675"/>
                </a:lnTo>
                <a:lnTo>
                  <a:pt x="3896" y="3675"/>
                </a:lnTo>
                <a:lnTo>
                  <a:pt x="3891" y="3675"/>
                </a:lnTo>
                <a:lnTo>
                  <a:pt x="3879" y="3672"/>
                </a:lnTo>
                <a:lnTo>
                  <a:pt x="3866" y="3668"/>
                </a:lnTo>
                <a:lnTo>
                  <a:pt x="3853" y="3663"/>
                </a:lnTo>
                <a:lnTo>
                  <a:pt x="3838" y="3658"/>
                </a:lnTo>
                <a:lnTo>
                  <a:pt x="3824" y="3653"/>
                </a:lnTo>
                <a:lnTo>
                  <a:pt x="3809" y="3649"/>
                </a:lnTo>
                <a:lnTo>
                  <a:pt x="3794" y="3646"/>
                </a:lnTo>
                <a:lnTo>
                  <a:pt x="3780" y="3645"/>
                </a:lnTo>
                <a:lnTo>
                  <a:pt x="3777" y="3642"/>
                </a:lnTo>
                <a:lnTo>
                  <a:pt x="3770" y="3638"/>
                </a:lnTo>
                <a:lnTo>
                  <a:pt x="3759" y="3633"/>
                </a:lnTo>
                <a:lnTo>
                  <a:pt x="3745" y="3627"/>
                </a:lnTo>
                <a:lnTo>
                  <a:pt x="3729" y="3621"/>
                </a:lnTo>
                <a:lnTo>
                  <a:pt x="3711" y="3616"/>
                </a:lnTo>
                <a:lnTo>
                  <a:pt x="3693" y="3612"/>
                </a:lnTo>
                <a:lnTo>
                  <a:pt x="3676" y="3609"/>
                </a:lnTo>
                <a:lnTo>
                  <a:pt x="3667" y="3609"/>
                </a:lnTo>
                <a:lnTo>
                  <a:pt x="3659" y="3608"/>
                </a:lnTo>
                <a:lnTo>
                  <a:pt x="3651" y="3609"/>
                </a:lnTo>
                <a:lnTo>
                  <a:pt x="3644" y="3610"/>
                </a:lnTo>
                <a:lnTo>
                  <a:pt x="3638" y="3612"/>
                </a:lnTo>
                <a:lnTo>
                  <a:pt x="3633" y="3615"/>
                </a:lnTo>
                <a:lnTo>
                  <a:pt x="3628" y="3618"/>
                </a:lnTo>
                <a:lnTo>
                  <a:pt x="3624" y="3623"/>
                </a:lnTo>
                <a:lnTo>
                  <a:pt x="3622" y="3628"/>
                </a:lnTo>
                <a:lnTo>
                  <a:pt x="3620" y="3634"/>
                </a:lnTo>
                <a:lnTo>
                  <a:pt x="3620" y="3642"/>
                </a:lnTo>
                <a:lnTo>
                  <a:pt x="3621" y="3651"/>
                </a:lnTo>
                <a:lnTo>
                  <a:pt x="3624" y="3660"/>
                </a:lnTo>
                <a:lnTo>
                  <a:pt x="3628" y="3672"/>
                </a:lnTo>
                <a:lnTo>
                  <a:pt x="3634" y="3684"/>
                </a:lnTo>
                <a:lnTo>
                  <a:pt x="3642" y="3698"/>
                </a:lnTo>
                <a:lnTo>
                  <a:pt x="3646" y="3698"/>
                </a:lnTo>
                <a:lnTo>
                  <a:pt x="3650" y="3700"/>
                </a:lnTo>
                <a:lnTo>
                  <a:pt x="3653" y="3702"/>
                </a:lnTo>
                <a:lnTo>
                  <a:pt x="3656" y="3704"/>
                </a:lnTo>
                <a:lnTo>
                  <a:pt x="3660" y="3711"/>
                </a:lnTo>
                <a:lnTo>
                  <a:pt x="3666" y="3721"/>
                </a:lnTo>
                <a:lnTo>
                  <a:pt x="3670" y="3726"/>
                </a:lnTo>
                <a:lnTo>
                  <a:pt x="3674" y="3731"/>
                </a:lnTo>
                <a:lnTo>
                  <a:pt x="3679" y="3736"/>
                </a:lnTo>
                <a:lnTo>
                  <a:pt x="3685" y="3741"/>
                </a:lnTo>
                <a:lnTo>
                  <a:pt x="3692" y="3746"/>
                </a:lnTo>
                <a:lnTo>
                  <a:pt x="3701" y="3751"/>
                </a:lnTo>
                <a:lnTo>
                  <a:pt x="3712" y="3756"/>
                </a:lnTo>
                <a:lnTo>
                  <a:pt x="3725" y="3760"/>
                </a:lnTo>
                <a:lnTo>
                  <a:pt x="3755" y="3770"/>
                </a:lnTo>
                <a:lnTo>
                  <a:pt x="3787" y="3779"/>
                </a:lnTo>
                <a:lnTo>
                  <a:pt x="3818" y="3786"/>
                </a:lnTo>
                <a:lnTo>
                  <a:pt x="3852" y="3793"/>
                </a:lnTo>
                <a:lnTo>
                  <a:pt x="3884" y="3800"/>
                </a:lnTo>
                <a:lnTo>
                  <a:pt x="3916" y="3806"/>
                </a:lnTo>
                <a:lnTo>
                  <a:pt x="3948" y="3811"/>
                </a:lnTo>
                <a:lnTo>
                  <a:pt x="3981" y="3816"/>
                </a:lnTo>
                <a:lnTo>
                  <a:pt x="3994" y="3818"/>
                </a:lnTo>
                <a:lnTo>
                  <a:pt x="4006" y="3819"/>
                </a:lnTo>
                <a:lnTo>
                  <a:pt x="4017" y="3819"/>
                </a:lnTo>
                <a:lnTo>
                  <a:pt x="4028" y="3819"/>
                </a:lnTo>
                <a:lnTo>
                  <a:pt x="4049" y="3817"/>
                </a:lnTo>
                <a:lnTo>
                  <a:pt x="4069" y="3814"/>
                </a:lnTo>
                <a:lnTo>
                  <a:pt x="4088" y="3811"/>
                </a:lnTo>
                <a:lnTo>
                  <a:pt x="4109" y="3807"/>
                </a:lnTo>
                <a:lnTo>
                  <a:pt x="4129" y="3805"/>
                </a:lnTo>
                <a:lnTo>
                  <a:pt x="4150" y="3804"/>
                </a:lnTo>
                <a:lnTo>
                  <a:pt x="4152" y="3801"/>
                </a:lnTo>
                <a:lnTo>
                  <a:pt x="4156" y="3798"/>
                </a:lnTo>
                <a:lnTo>
                  <a:pt x="4163" y="3794"/>
                </a:lnTo>
                <a:lnTo>
                  <a:pt x="4171" y="3788"/>
                </a:lnTo>
                <a:lnTo>
                  <a:pt x="4190" y="3777"/>
                </a:lnTo>
                <a:lnTo>
                  <a:pt x="4210" y="3764"/>
                </a:lnTo>
                <a:lnTo>
                  <a:pt x="4218" y="3757"/>
                </a:lnTo>
                <a:lnTo>
                  <a:pt x="4225" y="3751"/>
                </a:lnTo>
                <a:lnTo>
                  <a:pt x="4227" y="3748"/>
                </a:lnTo>
                <a:lnTo>
                  <a:pt x="4229" y="3746"/>
                </a:lnTo>
                <a:lnTo>
                  <a:pt x="4230" y="3743"/>
                </a:lnTo>
                <a:lnTo>
                  <a:pt x="4230" y="3741"/>
                </a:lnTo>
                <a:lnTo>
                  <a:pt x="4229" y="3738"/>
                </a:lnTo>
                <a:lnTo>
                  <a:pt x="4227" y="3736"/>
                </a:lnTo>
                <a:lnTo>
                  <a:pt x="4225" y="3735"/>
                </a:lnTo>
                <a:lnTo>
                  <a:pt x="4220" y="3733"/>
                </a:lnTo>
                <a:lnTo>
                  <a:pt x="4209" y="3731"/>
                </a:lnTo>
                <a:lnTo>
                  <a:pt x="4193" y="3730"/>
                </a:lnTo>
                <a:lnTo>
                  <a:pt x="4195" y="3720"/>
                </a:lnTo>
                <a:lnTo>
                  <a:pt x="4196" y="3710"/>
                </a:lnTo>
                <a:lnTo>
                  <a:pt x="4196" y="3701"/>
                </a:lnTo>
                <a:lnTo>
                  <a:pt x="4196" y="3694"/>
                </a:lnTo>
                <a:lnTo>
                  <a:pt x="4194" y="3687"/>
                </a:lnTo>
                <a:lnTo>
                  <a:pt x="4192" y="3681"/>
                </a:lnTo>
                <a:lnTo>
                  <a:pt x="4188" y="3676"/>
                </a:lnTo>
                <a:lnTo>
                  <a:pt x="4184" y="3671"/>
                </a:lnTo>
                <a:lnTo>
                  <a:pt x="4179" y="3668"/>
                </a:lnTo>
                <a:lnTo>
                  <a:pt x="4173" y="3664"/>
                </a:lnTo>
                <a:lnTo>
                  <a:pt x="4166" y="3662"/>
                </a:lnTo>
                <a:lnTo>
                  <a:pt x="4158" y="3660"/>
                </a:lnTo>
                <a:lnTo>
                  <a:pt x="4140" y="3657"/>
                </a:lnTo>
                <a:lnTo>
                  <a:pt x="4119" y="3656"/>
                </a:lnTo>
                <a:lnTo>
                  <a:pt x="4120" y="3651"/>
                </a:lnTo>
                <a:lnTo>
                  <a:pt x="4121" y="3646"/>
                </a:lnTo>
                <a:lnTo>
                  <a:pt x="4124" y="3641"/>
                </a:lnTo>
                <a:lnTo>
                  <a:pt x="4127" y="3637"/>
                </a:lnTo>
                <a:lnTo>
                  <a:pt x="4131" y="3634"/>
                </a:lnTo>
                <a:lnTo>
                  <a:pt x="4135" y="3631"/>
                </a:lnTo>
                <a:lnTo>
                  <a:pt x="4140" y="3629"/>
                </a:lnTo>
                <a:lnTo>
                  <a:pt x="4146" y="3627"/>
                </a:lnTo>
                <a:lnTo>
                  <a:pt x="4158" y="3624"/>
                </a:lnTo>
                <a:lnTo>
                  <a:pt x="4172" y="3622"/>
                </a:lnTo>
                <a:lnTo>
                  <a:pt x="4187" y="3622"/>
                </a:lnTo>
                <a:lnTo>
                  <a:pt x="4204" y="3622"/>
                </a:lnTo>
                <a:lnTo>
                  <a:pt x="4239" y="3625"/>
                </a:lnTo>
                <a:lnTo>
                  <a:pt x="4273" y="3629"/>
                </a:lnTo>
                <a:lnTo>
                  <a:pt x="4304" y="3633"/>
                </a:lnTo>
                <a:lnTo>
                  <a:pt x="4330" y="3635"/>
                </a:lnTo>
                <a:lnTo>
                  <a:pt x="4337" y="3621"/>
                </a:lnTo>
                <a:lnTo>
                  <a:pt x="4343" y="3610"/>
                </a:lnTo>
                <a:lnTo>
                  <a:pt x="4348" y="3600"/>
                </a:lnTo>
                <a:lnTo>
                  <a:pt x="4351" y="3590"/>
                </a:lnTo>
                <a:lnTo>
                  <a:pt x="4352" y="3582"/>
                </a:lnTo>
                <a:lnTo>
                  <a:pt x="4353" y="3575"/>
                </a:lnTo>
                <a:lnTo>
                  <a:pt x="4354" y="3569"/>
                </a:lnTo>
                <a:lnTo>
                  <a:pt x="4354" y="3562"/>
                </a:lnTo>
                <a:lnTo>
                  <a:pt x="4354" y="3550"/>
                </a:lnTo>
                <a:lnTo>
                  <a:pt x="4355" y="3536"/>
                </a:lnTo>
                <a:lnTo>
                  <a:pt x="4358" y="3528"/>
                </a:lnTo>
                <a:lnTo>
                  <a:pt x="4361" y="3519"/>
                </a:lnTo>
                <a:lnTo>
                  <a:pt x="4366" y="3508"/>
                </a:lnTo>
                <a:lnTo>
                  <a:pt x="4372" y="3496"/>
                </a:lnTo>
                <a:lnTo>
                  <a:pt x="4377" y="3489"/>
                </a:lnTo>
                <a:lnTo>
                  <a:pt x="4381" y="3482"/>
                </a:lnTo>
                <a:lnTo>
                  <a:pt x="4386" y="3476"/>
                </a:lnTo>
                <a:lnTo>
                  <a:pt x="4391" y="3471"/>
                </a:lnTo>
                <a:lnTo>
                  <a:pt x="4400" y="3462"/>
                </a:lnTo>
                <a:lnTo>
                  <a:pt x="4410" y="3456"/>
                </a:lnTo>
                <a:lnTo>
                  <a:pt x="4419" y="3452"/>
                </a:lnTo>
                <a:lnTo>
                  <a:pt x="4428" y="3450"/>
                </a:lnTo>
                <a:lnTo>
                  <a:pt x="4438" y="3448"/>
                </a:lnTo>
                <a:lnTo>
                  <a:pt x="4447" y="3447"/>
                </a:lnTo>
                <a:lnTo>
                  <a:pt x="4456" y="3446"/>
                </a:lnTo>
                <a:lnTo>
                  <a:pt x="4465" y="3445"/>
                </a:lnTo>
                <a:lnTo>
                  <a:pt x="4474" y="3443"/>
                </a:lnTo>
                <a:lnTo>
                  <a:pt x="4482" y="3439"/>
                </a:lnTo>
                <a:lnTo>
                  <a:pt x="4490" y="3434"/>
                </a:lnTo>
                <a:lnTo>
                  <a:pt x="4497" y="3426"/>
                </a:lnTo>
                <a:lnTo>
                  <a:pt x="4504" y="3416"/>
                </a:lnTo>
                <a:lnTo>
                  <a:pt x="4510" y="3402"/>
                </a:lnTo>
                <a:lnTo>
                  <a:pt x="4528" y="3409"/>
                </a:lnTo>
                <a:lnTo>
                  <a:pt x="4544" y="3418"/>
                </a:lnTo>
                <a:lnTo>
                  <a:pt x="4553" y="3422"/>
                </a:lnTo>
                <a:lnTo>
                  <a:pt x="4560" y="3427"/>
                </a:lnTo>
                <a:lnTo>
                  <a:pt x="4568" y="3433"/>
                </a:lnTo>
                <a:lnTo>
                  <a:pt x="4575" y="3438"/>
                </a:lnTo>
                <a:lnTo>
                  <a:pt x="4582" y="3445"/>
                </a:lnTo>
                <a:lnTo>
                  <a:pt x="4588" y="3452"/>
                </a:lnTo>
                <a:lnTo>
                  <a:pt x="4594" y="3459"/>
                </a:lnTo>
                <a:lnTo>
                  <a:pt x="4600" y="3468"/>
                </a:lnTo>
                <a:lnTo>
                  <a:pt x="4605" y="3477"/>
                </a:lnTo>
                <a:lnTo>
                  <a:pt x="4609" y="3486"/>
                </a:lnTo>
                <a:lnTo>
                  <a:pt x="4613" y="3497"/>
                </a:lnTo>
                <a:lnTo>
                  <a:pt x="4616" y="3508"/>
                </a:lnTo>
                <a:lnTo>
                  <a:pt x="4625" y="3516"/>
                </a:lnTo>
                <a:lnTo>
                  <a:pt x="4637" y="3530"/>
                </a:lnTo>
                <a:lnTo>
                  <a:pt x="4652" y="3547"/>
                </a:lnTo>
                <a:lnTo>
                  <a:pt x="4668" y="3567"/>
                </a:lnTo>
                <a:lnTo>
                  <a:pt x="4687" y="3589"/>
                </a:lnTo>
                <a:lnTo>
                  <a:pt x="4706" y="3612"/>
                </a:lnTo>
                <a:lnTo>
                  <a:pt x="4727" y="3634"/>
                </a:lnTo>
                <a:lnTo>
                  <a:pt x="4747" y="3654"/>
                </a:lnTo>
                <a:lnTo>
                  <a:pt x="4757" y="3663"/>
                </a:lnTo>
                <a:lnTo>
                  <a:pt x="4766" y="3671"/>
                </a:lnTo>
                <a:lnTo>
                  <a:pt x="4776" y="3678"/>
                </a:lnTo>
                <a:lnTo>
                  <a:pt x="4785" y="3685"/>
                </a:lnTo>
                <a:lnTo>
                  <a:pt x="4794" y="3690"/>
                </a:lnTo>
                <a:lnTo>
                  <a:pt x="4802" y="3693"/>
                </a:lnTo>
                <a:lnTo>
                  <a:pt x="4810" y="3695"/>
                </a:lnTo>
                <a:lnTo>
                  <a:pt x="4817" y="3696"/>
                </a:lnTo>
                <a:lnTo>
                  <a:pt x="4824" y="3694"/>
                </a:lnTo>
                <a:lnTo>
                  <a:pt x="4830" y="3691"/>
                </a:lnTo>
                <a:lnTo>
                  <a:pt x="4835" y="3686"/>
                </a:lnTo>
                <a:lnTo>
                  <a:pt x="4840" y="3678"/>
                </a:lnTo>
                <a:lnTo>
                  <a:pt x="4843" y="3669"/>
                </a:lnTo>
                <a:lnTo>
                  <a:pt x="4846" y="3656"/>
                </a:lnTo>
                <a:lnTo>
                  <a:pt x="4848" y="3642"/>
                </a:lnTo>
                <a:lnTo>
                  <a:pt x="4848" y="3624"/>
                </a:lnTo>
                <a:lnTo>
                  <a:pt x="4856" y="3627"/>
                </a:lnTo>
                <a:lnTo>
                  <a:pt x="4862" y="3630"/>
                </a:lnTo>
                <a:lnTo>
                  <a:pt x="4868" y="3633"/>
                </a:lnTo>
                <a:lnTo>
                  <a:pt x="4873" y="3637"/>
                </a:lnTo>
                <a:lnTo>
                  <a:pt x="4884" y="3647"/>
                </a:lnTo>
                <a:lnTo>
                  <a:pt x="4895" y="3659"/>
                </a:lnTo>
                <a:lnTo>
                  <a:pt x="4904" y="3672"/>
                </a:lnTo>
                <a:lnTo>
                  <a:pt x="4912" y="3686"/>
                </a:lnTo>
                <a:lnTo>
                  <a:pt x="4920" y="3702"/>
                </a:lnTo>
                <a:lnTo>
                  <a:pt x="4927" y="3719"/>
                </a:lnTo>
                <a:lnTo>
                  <a:pt x="4933" y="3735"/>
                </a:lnTo>
                <a:lnTo>
                  <a:pt x="4939" y="3752"/>
                </a:lnTo>
                <a:lnTo>
                  <a:pt x="4943" y="3769"/>
                </a:lnTo>
                <a:lnTo>
                  <a:pt x="4947" y="3786"/>
                </a:lnTo>
                <a:lnTo>
                  <a:pt x="4950" y="3802"/>
                </a:lnTo>
                <a:lnTo>
                  <a:pt x="4952" y="3818"/>
                </a:lnTo>
                <a:lnTo>
                  <a:pt x="4953" y="3833"/>
                </a:lnTo>
                <a:lnTo>
                  <a:pt x="4954" y="3847"/>
                </a:lnTo>
                <a:lnTo>
                  <a:pt x="4966" y="3845"/>
                </a:lnTo>
                <a:lnTo>
                  <a:pt x="4976" y="3842"/>
                </a:lnTo>
                <a:lnTo>
                  <a:pt x="4987" y="3839"/>
                </a:lnTo>
                <a:lnTo>
                  <a:pt x="4997" y="3836"/>
                </a:lnTo>
                <a:lnTo>
                  <a:pt x="5006" y="3832"/>
                </a:lnTo>
                <a:lnTo>
                  <a:pt x="5014" y="3828"/>
                </a:lnTo>
                <a:lnTo>
                  <a:pt x="5022" y="3824"/>
                </a:lnTo>
                <a:lnTo>
                  <a:pt x="5029" y="3819"/>
                </a:lnTo>
                <a:lnTo>
                  <a:pt x="5036" y="3814"/>
                </a:lnTo>
                <a:lnTo>
                  <a:pt x="5042" y="3809"/>
                </a:lnTo>
                <a:lnTo>
                  <a:pt x="5048" y="3803"/>
                </a:lnTo>
                <a:lnTo>
                  <a:pt x="5054" y="3797"/>
                </a:lnTo>
                <a:lnTo>
                  <a:pt x="5063" y="3784"/>
                </a:lnTo>
                <a:lnTo>
                  <a:pt x="5070" y="3771"/>
                </a:lnTo>
                <a:lnTo>
                  <a:pt x="5077" y="3756"/>
                </a:lnTo>
                <a:lnTo>
                  <a:pt x="5082" y="3740"/>
                </a:lnTo>
                <a:lnTo>
                  <a:pt x="5085" y="3724"/>
                </a:lnTo>
                <a:lnTo>
                  <a:pt x="5088" y="3706"/>
                </a:lnTo>
                <a:lnTo>
                  <a:pt x="5090" y="3689"/>
                </a:lnTo>
                <a:lnTo>
                  <a:pt x="5091" y="3671"/>
                </a:lnTo>
                <a:lnTo>
                  <a:pt x="5092" y="3653"/>
                </a:lnTo>
                <a:lnTo>
                  <a:pt x="5092" y="3635"/>
                </a:lnTo>
                <a:lnTo>
                  <a:pt x="5096" y="3634"/>
                </a:lnTo>
                <a:lnTo>
                  <a:pt x="5100" y="3633"/>
                </a:lnTo>
                <a:lnTo>
                  <a:pt x="5102" y="3630"/>
                </a:lnTo>
                <a:lnTo>
                  <a:pt x="5102" y="3627"/>
                </a:lnTo>
                <a:lnTo>
                  <a:pt x="5102" y="3623"/>
                </a:lnTo>
                <a:lnTo>
                  <a:pt x="5101" y="3619"/>
                </a:lnTo>
                <a:lnTo>
                  <a:pt x="5099" y="3614"/>
                </a:lnTo>
                <a:lnTo>
                  <a:pt x="5097" y="3609"/>
                </a:lnTo>
                <a:lnTo>
                  <a:pt x="5092" y="3599"/>
                </a:lnTo>
                <a:lnTo>
                  <a:pt x="5087" y="3587"/>
                </a:lnTo>
                <a:lnTo>
                  <a:pt x="5083" y="3578"/>
                </a:lnTo>
                <a:lnTo>
                  <a:pt x="5081" y="3571"/>
                </a:lnTo>
                <a:lnTo>
                  <a:pt x="5090" y="3568"/>
                </a:lnTo>
                <a:lnTo>
                  <a:pt x="5099" y="3567"/>
                </a:lnTo>
                <a:lnTo>
                  <a:pt x="5109" y="3568"/>
                </a:lnTo>
                <a:lnTo>
                  <a:pt x="5118" y="3569"/>
                </a:lnTo>
                <a:lnTo>
                  <a:pt x="5136" y="3574"/>
                </a:lnTo>
                <a:lnTo>
                  <a:pt x="5152" y="3578"/>
                </a:lnTo>
                <a:lnTo>
                  <a:pt x="5159" y="3580"/>
                </a:lnTo>
                <a:lnTo>
                  <a:pt x="5166" y="3580"/>
                </a:lnTo>
                <a:lnTo>
                  <a:pt x="5172" y="3580"/>
                </a:lnTo>
                <a:lnTo>
                  <a:pt x="5177" y="3578"/>
                </a:lnTo>
                <a:lnTo>
                  <a:pt x="5179" y="3577"/>
                </a:lnTo>
                <a:lnTo>
                  <a:pt x="5181" y="3574"/>
                </a:lnTo>
                <a:lnTo>
                  <a:pt x="5183" y="3572"/>
                </a:lnTo>
                <a:lnTo>
                  <a:pt x="5185" y="3569"/>
                </a:lnTo>
                <a:lnTo>
                  <a:pt x="5186" y="3561"/>
                </a:lnTo>
                <a:lnTo>
                  <a:pt x="5187" y="3550"/>
                </a:lnTo>
                <a:lnTo>
                  <a:pt x="5191" y="3550"/>
                </a:lnTo>
                <a:lnTo>
                  <a:pt x="5194" y="3551"/>
                </a:lnTo>
                <a:lnTo>
                  <a:pt x="5197" y="3552"/>
                </a:lnTo>
                <a:lnTo>
                  <a:pt x="5199" y="3553"/>
                </a:lnTo>
                <a:lnTo>
                  <a:pt x="5203" y="3557"/>
                </a:lnTo>
                <a:lnTo>
                  <a:pt x="5205" y="3563"/>
                </a:lnTo>
                <a:lnTo>
                  <a:pt x="5207" y="3569"/>
                </a:lnTo>
                <a:lnTo>
                  <a:pt x="5208" y="3576"/>
                </a:lnTo>
                <a:lnTo>
                  <a:pt x="5208" y="3584"/>
                </a:lnTo>
                <a:lnTo>
                  <a:pt x="5208" y="3593"/>
                </a:lnTo>
                <a:lnTo>
                  <a:pt x="5220" y="3595"/>
                </a:lnTo>
                <a:lnTo>
                  <a:pt x="5233" y="3596"/>
                </a:lnTo>
                <a:lnTo>
                  <a:pt x="5244" y="3597"/>
                </a:lnTo>
                <a:lnTo>
                  <a:pt x="5254" y="3597"/>
                </a:lnTo>
                <a:lnTo>
                  <a:pt x="5274" y="3597"/>
                </a:lnTo>
                <a:lnTo>
                  <a:pt x="5292" y="3596"/>
                </a:lnTo>
                <a:lnTo>
                  <a:pt x="5309" y="3594"/>
                </a:lnTo>
                <a:lnTo>
                  <a:pt x="5326" y="3594"/>
                </a:lnTo>
                <a:lnTo>
                  <a:pt x="5333" y="3595"/>
                </a:lnTo>
                <a:lnTo>
                  <a:pt x="5341" y="3596"/>
                </a:lnTo>
                <a:lnTo>
                  <a:pt x="5349" y="3597"/>
                </a:lnTo>
                <a:lnTo>
                  <a:pt x="5357" y="3599"/>
                </a:lnTo>
                <a:lnTo>
                  <a:pt x="5360" y="3601"/>
                </a:lnTo>
                <a:lnTo>
                  <a:pt x="5362" y="3603"/>
                </a:lnTo>
                <a:lnTo>
                  <a:pt x="5364" y="3605"/>
                </a:lnTo>
                <a:lnTo>
                  <a:pt x="5366" y="3609"/>
                </a:lnTo>
                <a:lnTo>
                  <a:pt x="5369" y="3618"/>
                </a:lnTo>
                <a:lnTo>
                  <a:pt x="5371" y="3628"/>
                </a:lnTo>
                <a:lnTo>
                  <a:pt x="5372" y="3641"/>
                </a:lnTo>
                <a:lnTo>
                  <a:pt x="5373" y="3655"/>
                </a:lnTo>
                <a:lnTo>
                  <a:pt x="5373" y="3670"/>
                </a:lnTo>
                <a:lnTo>
                  <a:pt x="5373" y="3686"/>
                </a:lnTo>
                <a:lnTo>
                  <a:pt x="5371" y="3720"/>
                </a:lnTo>
                <a:lnTo>
                  <a:pt x="5367" y="3752"/>
                </a:lnTo>
                <a:lnTo>
                  <a:pt x="5363" y="3781"/>
                </a:lnTo>
                <a:lnTo>
                  <a:pt x="5358" y="3804"/>
                </a:lnTo>
                <a:lnTo>
                  <a:pt x="5356" y="3810"/>
                </a:lnTo>
                <a:lnTo>
                  <a:pt x="5353" y="3815"/>
                </a:lnTo>
                <a:lnTo>
                  <a:pt x="5350" y="3820"/>
                </a:lnTo>
                <a:lnTo>
                  <a:pt x="5347" y="3825"/>
                </a:lnTo>
                <a:lnTo>
                  <a:pt x="5339" y="3834"/>
                </a:lnTo>
                <a:lnTo>
                  <a:pt x="5329" y="3841"/>
                </a:lnTo>
                <a:lnTo>
                  <a:pt x="5318" y="3849"/>
                </a:lnTo>
                <a:lnTo>
                  <a:pt x="5307" y="3855"/>
                </a:lnTo>
                <a:lnTo>
                  <a:pt x="5295" y="3860"/>
                </a:lnTo>
                <a:lnTo>
                  <a:pt x="5282" y="3865"/>
                </a:lnTo>
                <a:lnTo>
                  <a:pt x="5259" y="3873"/>
                </a:lnTo>
                <a:lnTo>
                  <a:pt x="5239" y="3881"/>
                </a:lnTo>
                <a:lnTo>
                  <a:pt x="5231" y="3885"/>
                </a:lnTo>
                <a:lnTo>
                  <a:pt x="5224" y="3889"/>
                </a:lnTo>
                <a:lnTo>
                  <a:pt x="5222" y="3892"/>
                </a:lnTo>
                <a:lnTo>
                  <a:pt x="5220" y="3894"/>
                </a:lnTo>
                <a:lnTo>
                  <a:pt x="5219" y="3897"/>
                </a:lnTo>
                <a:lnTo>
                  <a:pt x="5219" y="3899"/>
                </a:lnTo>
                <a:lnTo>
                  <a:pt x="5207" y="3909"/>
                </a:lnTo>
                <a:lnTo>
                  <a:pt x="5198" y="3918"/>
                </a:lnTo>
                <a:lnTo>
                  <a:pt x="5191" y="3927"/>
                </a:lnTo>
                <a:lnTo>
                  <a:pt x="5186" y="3936"/>
                </a:lnTo>
                <a:lnTo>
                  <a:pt x="5183" y="3944"/>
                </a:lnTo>
                <a:lnTo>
                  <a:pt x="5183" y="3953"/>
                </a:lnTo>
                <a:lnTo>
                  <a:pt x="5184" y="3961"/>
                </a:lnTo>
                <a:lnTo>
                  <a:pt x="5186" y="3968"/>
                </a:lnTo>
                <a:lnTo>
                  <a:pt x="5191" y="3977"/>
                </a:lnTo>
                <a:lnTo>
                  <a:pt x="5196" y="3985"/>
                </a:lnTo>
                <a:lnTo>
                  <a:pt x="5204" y="3992"/>
                </a:lnTo>
                <a:lnTo>
                  <a:pt x="5212" y="3999"/>
                </a:lnTo>
                <a:lnTo>
                  <a:pt x="5221" y="4006"/>
                </a:lnTo>
                <a:lnTo>
                  <a:pt x="5232" y="4013"/>
                </a:lnTo>
                <a:lnTo>
                  <a:pt x="5243" y="4019"/>
                </a:lnTo>
                <a:lnTo>
                  <a:pt x="5255" y="4026"/>
                </a:lnTo>
                <a:lnTo>
                  <a:pt x="5306" y="4050"/>
                </a:lnTo>
                <a:lnTo>
                  <a:pt x="5358" y="4074"/>
                </a:lnTo>
                <a:lnTo>
                  <a:pt x="5382" y="4086"/>
                </a:lnTo>
                <a:lnTo>
                  <a:pt x="5402" y="4098"/>
                </a:lnTo>
                <a:lnTo>
                  <a:pt x="5411" y="4104"/>
                </a:lnTo>
                <a:lnTo>
                  <a:pt x="5419" y="4110"/>
                </a:lnTo>
                <a:lnTo>
                  <a:pt x="5425" y="4116"/>
                </a:lnTo>
                <a:lnTo>
                  <a:pt x="5431" y="4122"/>
                </a:lnTo>
                <a:lnTo>
                  <a:pt x="5417" y="4121"/>
                </a:lnTo>
                <a:lnTo>
                  <a:pt x="5397" y="4119"/>
                </a:lnTo>
                <a:lnTo>
                  <a:pt x="5375" y="4117"/>
                </a:lnTo>
                <a:lnTo>
                  <a:pt x="5351" y="4114"/>
                </a:lnTo>
                <a:lnTo>
                  <a:pt x="5329" y="4110"/>
                </a:lnTo>
                <a:lnTo>
                  <a:pt x="5310" y="4107"/>
                </a:lnTo>
                <a:lnTo>
                  <a:pt x="5303" y="4105"/>
                </a:lnTo>
                <a:lnTo>
                  <a:pt x="5298" y="4104"/>
                </a:lnTo>
                <a:lnTo>
                  <a:pt x="5294" y="4102"/>
                </a:lnTo>
                <a:lnTo>
                  <a:pt x="5293" y="4101"/>
                </a:lnTo>
                <a:lnTo>
                  <a:pt x="5279" y="4102"/>
                </a:lnTo>
                <a:lnTo>
                  <a:pt x="5263" y="4104"/>
                </a:lnTo>
                <a:lnTo>
                  <a:pt x="5246" y="4107"/>
                </a:lnTo>
                <a:lnTo>
                  <a:pt x="5226" y="4111"/>
                </a:lnTo>
                <a:lnTo>
                  <a:pt x="5185" y="4121"/>
                </a:lnTo>
                <a:lnTo>
                  <a:pt x="5142" y="4131"/>
                </a:lnTo>
                <a:lnTo>
                  <a:pt x="5121" y="4135"/>
                </a:lnTo>
                <a:lnTo>
                  <a:pt x="5099" y="4138"/>
                </a:lnTo>
                <a:lnTo>
                  <a:pt x="5079" y="4140"/>
                </a:lnTo>
                <a:lnTo>
                  <a:pt x="5059" y="4140"/>
                </a:lnTo>
                <a:lnTo>
                  <a:pt x="5050" y="4140"/>
                </a:lnTo>
                <a:lnTo>
                  <a:pt x="5041" y="4139"/>
                </a:lnTo>
                <a:lnTo>
                  <a:pt x="5033" y="4137"/>
                </a:lnTo>
                <a:lnTo>
                  <a:pt x="5025" y="4136"/>
                </a:lnTo>
                <a:lnTo>
                  <a:pt x="5017" y="4133"/>
                </a:lnTo>
                <a:lnTo>
                  <a:pt x="5010" y="4130"/>
                </a:lnTo>
                <a:lnTo>
                  <a:pt x="5003" y="4126"/>
                </a:lnTo>
                <a:lnTo>
                  <a:pt x="4997" y="4122"/>
                </a:lnTo>
                <a:lnTo>
                  <a:pt x="5005" y="4121"/>
                </a:lnTo>
                <a:lnTo>
                  <a:pt x="5013" y="4120"/>
                </a:lnTo>
                <a:lnTo>
                  <a:pt x="5020" y="4119"/>
                </a:lnTo>
                <a:lnTo>
                  <a:pt x="5027" y="4117"/>
                </a:lnTo>
                <a:lnTo>
                  <a:pt x="5033" y="4114"/>
                </a:lnTo>
                <a:lnTo>
                  <a:pt x="5039" y="4111"/>
                </a:lnTo>
                <a:lnTo>
                  <a:pt x="5045" y="4108"/>
                </a:lnTo>
                <a:lnTo>
                  <a:pt x="5051" y="4104"/>
                </a:lnTo>
                <a:lnTo>
                  <a:pt x="5062" y="4094"/>
                </a:lnTo>
                <a:lnTo>
                  <a:pt x="5071" y="4083"/>
                </a:lnTo>
                <a:lnTo>
                  <a:pt x="5080" y="4071"/>
                </a:lnTo>
                <a:lnTo>
                  <a:pt x="5087" y="4057"/>
                </a:lnTo>
                <a:lnTo>
                  <a:pt x="5094" y="4043"/>
                </a:lnTo>
                <a:lnTo>
                  <a:pt x="5100" y="4027"/>
                </a:lnTo>
                <a:lnTo>
                  <a:pt x="5106" y="4011"/>
                </a:lnTo>
                <a:lnTo>
                  <a:pt x="5111" y="3993"/>
                </a:lnTo>
                <a:lnTo>
                  <a:pt x="5115" y="3976"/>
                </a:lnTo>
                <a:lnTo>
                  <a:pt x="5119" y="3957"/>
                </a:lnTo>
                <a:lnTo>
                  <a:pt x="5122" y="3939"/>
                </a:lnTo>
                <a:lnTo>
                  <a:pt x="5124" y="3920"/>
                </a:lnTo>
                <a:lnTo>
                  <a:pt x="5109" y="3916"/>
                </a:lnTo>
                <a:lnTo>
                  <a:pt x="5093" y="3913"/>
                </a:lnTo>
                <a:lnTo>
                  <a:pt x="5078" y="3912"/>
                </a:lnTo>
                <a:lnTo>
                  <a:pt x="5063" y="3912"/>
                </a:lnTo>
                <a:lnTo>
                  <a:pt x="5048" y="3914"/>
                </a:lnTo>
                <a:lnTo>
                  <a:pt x="5034" y="3918"/>
                </a:lnTo>
                <a:lnTo>
                  <a:pt x="5020" y="3922"/>
                </a:lnTo>
                <a:lnTo>
                  <a:pt x="5006" y="3929"/>
                </a:lnTo>
                <a:lnTo>
                  <a:pt x="4993" y="3936"/>
                </a:lnTo>
                <a:lnTo>
                  <a:pt x="4981" y="3945"/>
                </a:lnTo>
                <a:lnTo>
                  <a:pt x="4969" y="3954"/>
                </a:lnTo>
                <a:lnTo>
                  <a:pt x="4958" y="3965"/>
                </a:lnTo>
                <a:lnTo>
                  <a:pt x="4949" y="3978"/>
                </a:lnTo>
                <a:lnTo>
                  <a:pt x="4941" y="3990"/>
                </a:lnTo>
                <a:lnTo>
                  <a:pt x="4935" y="4004"/>
                </a:lnTo>
                <a:lnTo>
                  <a:pt x="4930" y="4018"/>
                </a:lnTo>
                <a:lnTo>
                  <a:pt x="4926" y="4029"/>
                </a:lnTo>
                <a:lnTo>
                  <a:pt x="4922" y="4039"/>
                </a:lnTo>
                <a:lnTo>
                  <a:pt x="4918" y="4048"/>
                </a:lnTo>
                <a:lnTo>
                  <a:pt x="4914" y="4055"/>
                </a:lnTo>
                <a:lnTo>
                  <a:pt x="4909" y="4061"/>
                </a:lnTo>
                <a:lnTo>
                  <a:pt x="4905" y="4066"/>
                </a:lnTo>
                <a:lnTo>
                  <a:pt x="4900" y="4070"/>
                </a:lnTo>
                <a:lnTo>
                  <a:pt x="4895" y="4073"/>
                </a:lnTo>
                <a:lnTo>
                  <a:pt x="4889" y="4075"/>
                </a:lnTo>
                <a:lnTo>
                  <a:pt x="4884" y="4077"/>
                </a:lnTo>
                <a:lnTo>
                  <a:pt x="4879" y="4077"/>
                </a:lnTo>
                <a:lnTo>
                  <a:pt x="4873" y="4078"/>
                </a:lnTo>
                <a:lnTo>
                  <a:pt x="4862" y="4077"/>
                </a:lnTo>
                <a:lnTo>
                  <a:pt x="4849" y="4075"/>
                </a:lnTo>
                <a:lnTo>
                  <a:pt x="4837" y="4072"/>
                </a:lnTo>
                <a:lnTo>
                  <a:pt x="4825" y="4070"/>
                </a:lnTo>
                <a:lnTo>
                  <a:pt x="4814" y="4068"/>
                </a:lnTo>
                <a:lnTo>
                  <a:pt x="4803" y="4069"/>
                </a:lnTo>
                <a:lnTo>
                  <a:pt x="4797" y="4069"/>
                </a:lnTo>
                <a:lnTo>
                  <a:pt x="4792" y="4071"/>
                </a:lnTo>
                <a:lnTo>
                  <a:pt x="4787" y="4073"/>
                </a:lnTo>
                <a:lnTo>
                  <a:pt x="4782" y="4077"/>
                </a:lnTo>
                <a:lnTo>
                  <a:pt x="4777" y="4081"/>
                </a:lnTo>
                <a:lnTo>
                  <a:pt x="4773" y="4086"/>
                </a:lnTo>
                <a:lnTo>
                  <a:pt x="4768" y="4092"/>
                </a:lnTo>
                <a:lnTo>
                  <a:pt x="4764" y="4101"/>
                </a:lnTo>
                <a:lnTo>
                  <a:pt x="4752" y="4106"/>
                </a:lnTo>
                <a:lnTo>
                  <a:pt x="4731" y="4115"/>
                </a:lnTo>
                <a:lnTo>
                  <a:pt x="4703" y="4126"/>
                </a:lnTo>
                <a:lnTo>
                  <a:pt x="4673" y="4138"/>
                </a:lnTo>
                <a:lnTo>
                  <a:pt x="4644" y="4148"/>
                </a:lnTo>
                <a:lnTo>
                  <a:pt x="4619" y="4156"/>
                </a:lnTo>
                <a:lnTo>
                  <a:pt x="4609" y="4157"/>
                </a:lnTo>
                <a:lnTo>
                  <a:pt x="4602" y="4158"/>
                </a:lnTo>
                <a:lnTo>
                  <a:pt x="4598" y="4157"/>
                </a:lnTo>
                <a:lnTo>
                  <a:pt x="4596" y="4156"/>
                </a:lnTo>
                <a:lnTo>
                  <a:pt x="4595" y="4155"/>
                </a:lnTo>
                <a:lnTo>
                  <a:pt x="4594" y="4153"/>
                </a:lnTo>
                <a:lnTo>
                  <a:pt x="4579" y="4156"/>
                </a:lnTo>
                <a:lnTo>
                  <a:pt x="4565" y="4159"/>
                </a:lnTo>
                <a:lnTo>
                  <a:pt x="4552" y="4163"/>
                </a:lnTo>
                <a:lnTo>
                  <a:pt x="4540" y="4168"/>
                </a:lnTo>
                <a:lnTo>
                  <a:pt x="4529" y="4173"/>
                </a:lnTo>
                <a:lnTo>
                  <a:pt x="4519" y="4179"/>
                </a:lnTo>
                <a:lnTo>
                  <a:pt x="4511" y="4185"/>
                </a:lnTo>
                <a:lnTo>
                  <a:pt x="4503" y="4192"/>
                </a:lnTo>
                <a:lnTo>
                  <a:pt x="4496" y="4200"/>
                </a:lnTo>
                <a:lnTo>
                  <a:pt x="4490" y="4208"/>
                </a:lnTo>
                <a:lnTo>
                  <a:pt x="4484" y="4216"/>
                </a:lnTo>
                <a:lnTo>
                  <a:pt x="4480" y="4227"/>
                </a:lnTo>
                <a:lnTo>
                  <a:pt x="4476" y="4236"/>
                </a:lnTo>
                <a:lnTo>
                  <a:pt x="4471" y="4246"/>
                </a:lnTo>
                <a:lnTo>
                  <a:pt x="4469" y="4256"/>
                </a:lnTo>
                <a:lnTo>
                  <a:pt x="4466" y="4267"/>
                </a:lnTo>
                <a:lnTo>
                  <a:pt x="4464" y="4290"/>
                </a:lnTo>
                <a:lnTo>
                  <a:pt x="4462" y="4314"/>
                </a:lnTo>
                <a:lnTo>
                  <a:pt x="4462" y="4340"/>
                </a:lnTo>
                <a:lnTo>
                  <a:pt x="4463" y="4367"/>
                </a:lnTo>
                <a:lnTo>
                  <a:pt x="4466" y="4423"/>
                </a:lnTo>
                <a:lnTo>
                  <a:pt x="4467" y="4482"/>
                </a:lnTo>
                <a:lnTo>
                  <a:pt x="4482" y="4490"/>
                </a:lnTo>
                <a:lnTo>
                  <a:pt x="4497" y="4500"/>
                </a:lnTo>
                <a:lnTo>
                  <a:pt x="4512" y="4512"/>
                </a:lnTo>
                <a:lnTo>
                  <a:pt x="4529" y="4524"/>
                </a:lnTo>
                <a:lnTo>
                  <a:pt x="4546" y="4538"/>
                </a:lnTo>
                <a:lnTo>
                  <a:pt x="4563" y="4552"/>
                </a:lnTo>
                <a:lnTo>
                  <a:pt x="4580" y="4568"/>
                </a:lnTo>
                <a:lnTo>
                  <a:pt x="4596" y="4583"/>
                </a:lnTo>
                <a:lnTo>
                  <a:pt x="4612" y="4600"/>
                </a:lnTo>
                <a:lnTo>
                  <a:pt x="4626" y="4616"/>
                </a:lnTo>
                <a:lnTo>
                  <a:pt x="4639" y="4632"/>
                </a:lnTo>
                <a:lnTo>
                  <a:pt x="4650" y="4647"/>
                </a:lnTo>
                <a:lnTo>
                  <a:pt x="4658" y="4663"/>
                </a:lnTo>
                <a:lnTo>
                  <a:pt x="4665" y="4677"/>
                </a:lnTo>
                <a:lnTo>
                  <a:pt x="4667" y="4684"/>
                </a:lnTo>
                <a:lnTo>
                  <a:pt x="4668" y="4691"/>
                </a:lnTo>
                <a:lnTo>
                  <a:pt x="4669" y="4697"/>
                </a:lnTo>
                <a:lnTo>
                  <a:pt x="4669" y="4703"/>
                </a:lnTo>
                <a:lnTo>
                  <a:pt x="4722" y="4713"/>
                </a:lnTo>
                <a:lnTo>
                  <a:pt x="4769" y="4722"/>
                </a:lnTo>
                <a:lnTo>
                  <a:pt x="4810" y="4731"/>
                </a:lnTo>
                <a:lnTo>
                  <a:pt x="4849" y="4738"/>
                </a:lnTo>
                <a:lnTo>
                  <a:pt x="4887" y="4746"/>
                </a:lnTo>
                <a:lnTo>
                  <a:pt x="4926" y="4753"/>
                </a:lnTo>
                <a:lnTo>
                  <a:pt x="4969" y="4760"/>
                </a:lnTo>
                <a:lnTo>
                  <a:pt x="5018" y="4767"/>
                </a:lnTo>
                <a:lnTo>
                  <a:pt x="5021" y="4771"/>
                </a:lnTo>
                <a:lnTo>
                  <a:pt x="5024" y="4776"/>
                </a:lnTo>
                <a:lnTo>
                  <a:pt x="5028" y="4780"/>
                </a:lnTo>
                <a:lnTo>
                  <a:pt x="5032" y="4784"/>
                </a:lnTo>
                <a:lnTo>
                  <a:pt x="5043" y="4791"/>
                </a:lnTo>
                <a:lnTo>
                  <a:pt x="5054" y="4798"/>
                </a:lnTo>
                <a:lnTo>
                  <a:pt x="5067" y="4805"/>
                </a:lnTo>
                <a:lnTo>
                  <a:pt x="5079" y="4811"/>
                </a:lnTo>
                <a:lnTo>
                  <a:pt x="5091" y="4815"/>
                </a:lnTo>
                <a:lnTo>
                  <a:pt x="5102" y="4819"/>
                </a:lnTo>
                <a:lnTo>
                  <a:pt x="5104" y="4827"/>
                </a:lnTo>
                <a:lnTo>
                  <a:pt x="5104" y="4835"/>
                </a:lnTo>
                <a:lnTo>
                  <a:pt x="5105" y="4842"/>
                </a:lnTo>
                <a:lnTo>
                  <a:pt x="5107" y="4848"/>
                </a:lnTo>
                <a:lnTo>
                  <a:pt x="5109" y="4855"/>
                </a:lnTo>
                <a:lnTo>
                  <a:pt x="5111" y="4861"/>
                </a:lnTo>
                <a:lnTo>
                  <a:pt x="5114" y="4865"/>
                </a:lnTo>
                <a:lnTo>
                  <a:pt x="5117" y="4870"/>
                </a:lnTo>
                <a:lnTo>
                  <a:pt x="5121" y="4874"/>
                </a:lnTo>
                <a:lnTo>
                  <a:pt x="5125" y="4877"/>
                </a:lnTo>
                <a:lnTo>
                  <a:pt x="5129" y="4880"/>
                </a:lnTo>
                <a:lnTo>
                  <a:pt x="5133" y="4883"/>
                </a:lnTo>
                <a:lnTo>
                  <a:pt x="5143" y="4888"/>
                </a:lnTo>
                <a:lnTo>
                  <a:pt x="5154" y="4891"/>
                </a:lnTo>
                <a:lnTo>
                  <a:pt x="5165" y="4893"/>
                </a:lnTo>
                <a:lnTo>
                  <a:pt x="5178" y="4895"/>
                </a:lnTo>
                <a:lnTo>
                  <a:pt x="5191" y="4895"/>
                </a:lnTo>
                <a:lnTo>
                  <a:pt x="5204" y="4895"/>
                </a:lnTo>
                <a:lnTo>
                  <a:pt x="5233" y="4895"/>
                </a:lnTo>
                <a:lnTo>
                  <a:pt x="5262" y="4894"/>
                </a:lnTo>
                <a:lnTo>
                  <a:pt x="5262" y="4884"/>
                </a:lnTo>
                <a:lnTo>
                  <a:pt x="5263" y="4876"/>
                </a:lnTo>
                <a:lnTo>
                  <a:pt x="5265" y="4870"/>
                </a:lnTo>
                <a:lnTo>
                  <a:pt x="5267" y="4865"/>
                </a:lnTo>
                <a:lnTo>
                  <a:pt x="5270" y="4862"/>
                </a:lnTo>
                <a:lnTo>
                  <a:pt x="5274" y="4861"/>
                </a:lnTo>
                <a:lnTo>
                  <a:pt x="5278" y="4860"/>
                </a:lnTo>
                <a:lnTo>
                  <a:pt x="5283" y="4861"/>
                </a:lnTo>
                <a:lnTo>
                  <a:pt x="5288" y="4863"/>
                </a:lnTo>
                <a:lnTo>
                  <a:pt x="5293" y="4867"/>
                </a:lnTo>
                <a:lnTo>
                  <a:pt x="5299" y="4871"/>
                </a:lnTo>
                <a:lnTo>
                  <a:pt x="5305" y="4876"/>
                </a:lnTo>
                <a:lnTo>
                  <a:pt x="5317" y="4889"/>
                </a:lnTo>
                <a:lnTo>
                  <a:pt x="5330" y="4904"/>
                </a:lnTo>
                <a:lnTo>
                  <a:pt x="5343" y="4921"/>
                </a:lnTo>
                <a:lnTo>
                  <a:pt x="5357" y="4939"/>
                </a:lnTo>
                <a:lnTo>
                  <a:pt x="5370" y="4958"/>
                </a:lnTo>
                <a:lnTo>
                  <a:pt x="5381" y="4976"/>
                </a:lnTo>
                <a:lnTo>
                  <a:pt x="5391" y="4994"/>
                </a:lnTo>
                <a:lnTo>
                  <a:pt x="5399" y="5009"/>
                </a:lnTo>
                <a:lnTo>
                  <a:pt x="5406" y="5022"/>
                </a:lnTo>
                <a:lnTo>
                  <a:pt x="5410" y="5032"/>
                </a:lnTo>
                <a:lnTo>
                  <a:pt x="5408" y="5032"/>
                </a:lnTo>
                <a:lnTo>
                  <a:pt x="5407" y="5033"/>
                </a:lnTo>
                <a:lnTo>
                  <a:pt x="5406" y="5034"/>
                </a:lnTo>
                <a:lnTo>
                  <a:pt x="5406" y="5037"/>
                </a:lnTo>
                <a:lnTo>
                  <a:pt x="5406" y="5043"/>
                </a:lnTo>
                <a:lnTo>
                  <a:pt x="5407" y="5051"/>
                </a:lnTo>
                <a:lnTo>
                  <a:pt x="5412" y="5071"/>
                </a:lnTo>
                <a:lnTo>
                  <a:pt x="5420" y="5095"/>
                </a:lnTo>
                <a:lnTo>
                  <a:pt x="5429" y="5123"/>
                </a:lnTo>
                <a:lnTo>
                  <a:pt x="5438" y="5149"/>
                </a:lnTo>
                <a:lnTo>
                  <a:pt x="5446" y="5172"/>
                </a:lnTo>
                <a:lnTo>
                  <a:pt x="5451" y="5190"/>
                </a:lnTo>
                <a:lnTo>
                  <a:pt x="5444" y="5188"/>
                </a:lnTo>
                <a:lnTo>
                  <a:pt x="5438" y="5188"/>
                </a:lnTo>
                <a:lnTo>
                  <a:pt x="5434" y="5188"/>
                </a:lnTo>
                <a:lnTo>
                  <a:pt x="5431" y="5190"/>
                </a:lnTo>
                <a:lnTo>
                  <a:pt x="5429" y="5194"/>
                </a:lnTo>
                <a:lnTo>
                  <a:pt x="5428" y="5198"/>
                </a:lnTo>
                <a:lnTo>
                  <a:pt x="5429" y="5204"/>
                </a:lnTo>
                <a:lnTo>
                  <a:pt x="5431" y="5211"/>
                </a:lnTo>
                <a:lnTo>
                  <a:pt x="5443" y="5216"/>
                </a:lnTo>
                <a:lnTo>
                  <a:pt x="5457" y="5219"/>
                </a:lnTo>
                <a:lnTo>
                  <a:pt x="5471" y="5222"/>
                </a:lnTo>
                <a:lnTo>
                  <a:pt x="5487" y="5223"/>
                </a:lnTo>
                <a:lnTo>
                  <a:pt x="5501" y="5224"/>
                </a:lnTo>
                <a:lnTo>
                  <a:pt x="5516" y="5224"/>
                </a:lnTo>
                <a:lnTo>
                  <a:pt x="5530" y="5223"/>
                </a:lnTo>
                <a:lnTo>
                  <a:pt x="5544" y="5221"/>
                </a:lnTo>
                <a:lnTo>
                  <a:pt x="5558" y="5217"/>
                </a:lnTo>
                <a:lnTo>
                  <a:pt x="5571" y="5213"/>
                </a:lnTo>
                <a:lnTo>
                  <a:pt x="5582" y="5207"/>
                </a:lnTo>
                <a:lnTo>
                  <a:pt x="5593" y="5200"/>
                </a:lnTo>
                <a:lnTo>
                  <a:pt x="5598" y="5196"/>
                </a:lnTo>
                <a:lnTo>
                  <a:pt x="5602" y="5192"/>
                </a:lnTo>
                <a:lnTo>
                  <a:pt x="5608" y="5187"/>
                </a:lnTo>
                <a:lnTo>
                  <a:pt x="5611" y="5182"/>
                </a:lnTo>
                <a:lnTo>
                  <a:pt x="5615" y="5177"/>
                </a:lnTo>
                <a:lnTo>
                  <a:pt x="5617" y="5171"/>
                </a:lnTo>
                <a:lnTo>
                  <a:pt x="5620" y="5165"/>
                </a:lnTo>
                <a:lnTo>
                  <a:pt x="5622" y="5159"/>
                </a:lnTo>
                <a:lnTo>
                  <a:pt x="5611" y="5158"/>
                </a:lnTo>
                <a:lnTo>
                  <a:pt x="5600" y="5155"/>
                </a:lnTo>
                <a:lnTo>
                  <a:pt x="5593" y="5152"/>
                </a:lnTo>
                <a:lnTo>
                  <a:pt x="5587" y="5147"/>
                </a:lnTo>
                <a:lnTo>
                  <a:pt x="5583" y="5140"/>
                </a:lnTo>
                <a:lnTo>
                  <a:pt x="5579" y="5133"/>
                </a:lnTo>
                <a:lnTo>
                  <a:pt x="5577" y="5125"/>
                </a:lnTo>
                <a:lnTo>
                  <a:pt x="5576" y="5117"/>
                </a:lnTo>
                <a:lnTo>
                  <a:pt x="5576" y="5078"/>
                </a:lnTo>
                <a:lnTo>
                  <a:pt x="5579" y="5042"/>
                </a:lnTo>
                <a:lnTo>
                  <a:pt x="5567" y="5033"/>
                </a:lnTo>
                <a:lnTo>
                  <a:pt x="5557" y="5024"/>
                </a:lnTo>
                <a:lnTo>
                  <a:pt x="5549" y="5014"/>
                </a:lnTo>
                <a:lnTo>
                  <a:pt x="5543" y="5003"/>
                </a:lnTo>
                <a:lnTo>
                  <a:pt x="5539" y="4992"/>
                </a:lnTo>
                <a:lnTo>
                  <a:pt x="5536" y="4981"/>
                </a:lnTo>
                <a:lnTo>
                  <a:pt x="5534" y="4969"/>
                </a:lnTo>
                <a:lnTo>
                  <a:pt x="5534" y="4958"/>
                </a:lnTo>
                <a:lnTo>
                  <a:pt x="5536" y="4947"/>
                </a:lnTo>
                <a:lnTo>
                  <a:pt x="5539" y="4937"/>
                </a:lnTo>
                <a:lnTo>
                  <a:pt x="5544" y="4928"/>
                </a:lnTo>
                <a:lnTo>
                  <a:pt x="5550" y="4919"/>
                </a:lnTo>
                <a:lnTo>
                  <a:pt x="5558" y="4911"/>
                </a:lnTo>
                <a:lnTo>
                  <a:pt x="5567" y="4904"/>
                </a:lnTo>
                <a:lnTo>
                  <a:pt x="5577" y="4899"/>
                </a:lnTo>
                <a:lnTo>
                  <a:pt x="5589" y="4894"/>
                </a:lnTo>
                <a:lnTo>
                  <a:pt x="5590" y="4899"/>
                </a:lnTo>
                <a:lnTo>
                  <a:pt x="5592" y="4904"/>
                </a:lnTo>
                <a:lnTo>
                  <a:pt x="5594" y="4907"/>
                </a:lnTo>
                <a:lnTo>
                  <a:pt x="5598" y="4910"/>
                </a:lnTo>
                <a:lnTo>
                  <a:pt x="5603" y="4912"/>
                </a:lnTo>
                <a:lnTo>
                  <a:pt x="5609" y="4913"/>
                </a:lnTo>
                <a:lnTo>
                  <a:pt x="5615" y="4913"/>
                </a:lnTo>
                <a:lnTo>
                  <a:pt x="5622" y="4913"/>
                </a:lnTo>
                <a:lnTo>
                  <a:pt x="5637" y="4911"/>
                </a:lnTo>
                <a:lnTo>
                  <a:pt x="5652" y="4906"/>
                </a:lnTo>
                <a:lnTo>
                  <a:pt x="5668" y="4900"/>
                </a:lnTo>
                <a:lnTo>
                  <a:pt x="5683" y="4892"/>
                </a:lnTo>
                <a:lnTo>
                  <a:pt x="5690" y="4888"/>
                </a:lnTo>
                <a:lnTo>
                  <a:pt x="5697" y="4883"/>
                </a:lnTo>
                <a:lnTo>
                  <a:pt x="5703" y="4878"/>
                </a:lnTo>
                <a:lnTo>
                  <a:pt x="5708" y="4873"/>
                </a:lnTo>
                <a:lnTo>
                  <a:pt x="5713" y="4868"/>
                </a:lnTo>
                <a:lnTo>
                  <a:pt x="5717" y="4862"/>
                </a:lnTo>
                <a:lnTo>
                  <a:pt x="5719" y="4857"/>
                </a:lnTo>
                <a:lnTo>
                  <a:pt x="5721" y="4852"/>
                </a:lnTo>
                <a:lnTo>
                  <a:pt x="5722" y="4845"/>
                </a:lnTo>
                <a:lnTo>
                  <a:pt x="5721" y="4839"/>
                </a:lnTo>
                <a:lnTo>
                  <a:pt x="5719" y="4834"/>
                </a:lnTo>
                <a:lnTo>
                  <a:pt x="5715" y="4829"/>
                </a:lnTo>
                <a:lnTo>
                  <a:pt x="5710" y="4824"/>
                </a:lnTo>
                <a:lnTo>
                  <a:pt x="5704" y="4819"/>
                </a:lnTo>
                <a:lnTo>
                  <a:pt x="5695" y="4814"/>
                </a:lnTo>
                <a:lnTo>
                  <a:pt x="5685" y="4809"/>
                </a:lnTo>
                <a:lnTo>
                  <a:pt x="5690" y="4796"/>
                </a:lnTo>
                <a:lnTo>
                  <a:pt x="5695" y="4783"/>
                </a:lnTo>
                <a:lnTo>
                  <a:pt x="5700" y="4768"/>
                </a:lnTo>
                <a:lnTo>
                  <a:pt x="5704" y="4754"/>
                </a:lnTo>
                <a:lnTo>
                  <a:pt x="5708" y="4738"/>
                </a:lnTo>
                <a:lnTo>
                  <a:pt x="5711" y="4722"/>
                </a:lnTo>
                <a:lnTo>
                  <a:pt x="5713" y="4707"/>
                </a:lnTo>
                <a:lnTo>
                  <a:pt x="5715" y="4691"/>
                </a:lnTo>
                <a:lnTo>
                  <a:pt x="5715" y="4675"/>
                </a:lnTo>
                <a:lnTo>
                  <a:pt x="5715" y="4660"/>
                </a:lnTo>
                <a:lnTo>
                  <a:pt x="5713" y="4645"/>
                </a:lnTo>
                <a:lnTo>
                  <a:pt x="5710" y="4631"/>
                </a:lnTo>
                <a:lnTo>
                  <a:pt x="5706" y="4617"/>
                </a:lnTo>
                <a:lnTo>
                  <a:pt x="5701" y="4604"/>
                </a:lnTo>
                <a:lnTo>
                  <a:pt x="5694" y="4591"/>
                </a:lnTo>
                <a:lnTo>
                  <a:pt x="5686" y="4579"/>
                </a:lnTo>
                <a:lnTo>
                  <a:pt x="5680" y="4573"/>
                </a:lnTo>
                <a:lnTo>
                  <a:pt x="5674" y="4569"/>
                </a:lnTo>
                <a:lnTo>
                  <a:pt x="5668" y="4565"/>
                </a:lnTo>
                <a:lnTo>
                  <a:pt x="5662" y="4563"/>
                </a:lnTo>
                <a:lnTo>
                  <a:pt x="5650" y="4560"/>
                </a:lnTo>
                <a:lnTo>
                  <a:pt x="5638" y="4558"/>
                </a:lnTo>
                <a:lnTo>
                  <a:pt x="5632" y="4557"/>
                </a:lnTo>
                <a:lnTo>
                  <a:pt x="5626" y="4556"/>
                </a:lnTo>
                <a:lnTo>
                  <a:pt x="5621" y="4554"/>
                </a:lnTo>
                <a:lnTo>
                  <a:pt x="5616" y="4551"/>
                </a:lnTo>
                <a:lnTo>
                  <a:pt x="5612" y="4546"/>
                </a:lnTo>
                <a:lnTo>
                  <a:pt x="5608" y="4541"/>
                </a:lnTo>
                <a:lnTo>
                  <a:pt x="5603" y="4533"/>
                </a:lnTo>
                <a:lnTo>
                  <a:pt x="5600" y="4524"/>
                </a:lnTo>
                <a:lnTo>
                  <a:pt x="5608" y="4522"/>
                </a:lnTo>
                <a:lnTo>
                  <a:pt x="5615" y="4518"/>
                </a:lnTo>
                <a:lnTo>
                  <a:pt x="5620" y="4515"/>
                </a:lnTo>
                <a:lnTo>
                  <a:pt x="5625" y="4510"/>
                </a:lnTo>
                <a:lnTo>
                  <a:pt x="5630" y="4505"/>
                </a:lnTo>
                <a:lnTo>
                  <a:pt x="5633" y="4499"/>
                </a:lnTo>
                <a:lnTo>
                  <a:pt x="5636" y="4493"/>
                </a:lnTo>
                <a:lnTo>
                  <a:pt x="5639" y="4486"/>
                </a:lnTo>
                <a:lnTo>
                  <a:pt x="5641" y="4479"/>
                </a:lnTo>
                <a:lnTo>
                  <a:pt x="5642" y="4470"/>
                </a:lnTo>
                <a:lnTo>
                  <a:pt x="5643" y="4462"/>
                </a:lnTo>
                <a:lnTo>
                  <a:pt x="5644" y="4453"/>
                </a:lnTo>
                <a:lnTo>
                  <a:pt x="5644" y="4436"/>
                </a:lnTo>
                <a:lnTo>
                  <a:pt x="5643" y="4417"/>
                </a:lnTo>
                <a:lnTo>
                  <a:pt x="5637" y="4378"/>
                </a:lnTo>
                <a:lnTo>
                  <a:pt x="5630" y="4337"/>
                </a:lnTo>
                <a:lnTo>
                  <a:pt x="5627" y="4319"/>
                </a:lnTo>
                <a:lnTo>
                  <a:pt x="5624" y="4301"/>
                </a:lnTo>
                <a:lnTo>
                  <a:pt x="5622" y="4285"/>
                </a:lnTo>
                <a:lnTo>
                  <a:pt x="5622" y="4270"/>
                </a:lnTo>
                <a:lnTo>
                  <a:pt x="5627" y="4268"/>
                </a:lnTo>
                <a:lnTo>
                  <a:pt x="5633" y="4268"/>
                </a:lnTo>
                <a:lnTo>
                  <a:pt x="5640" y="4268"/>
                </a:lnTo>
                <a:lnTo>
                  <a:pt x="5647" y="4268"/>
                </a:lnTo>
                <a:lnTo>
                  <a:pt x="5663" y="4270"/>
                </a:lnTo>
                <a:lnTo>
                  <a:pt x="5679" y="4272"/>
                </a:lnTo>
                <a:lnTo>
                  <a:pt x="5693" y="4275"/>
                </a:lnTo>
                <a:lnTo>
                  <a:pt x="5705" y="4276"/>
                </a:lnTo>
                <a:lnTo>
                  <a:pt x="5710" y="4275"/>
                </a:lnTo>
                <a:lnTo>
                  <a:pt x="5713" y="4274"/>
                </a:lnTo>
                <a:lnTo>
                  <a:pt x="5716" y="4273"/>
                </a:lnTo>
                <a:lnTo>
                  <a:pt x="5716" y="4270"/>
                </a:lnTo>
                <a:lnTo>
                  <a:pt x="5732" y="4271"/>
                </a:lnTo>
                <a:lnTo>
                  <a:pt x="5750" y="4274"/>
                </a:lnTo>
                <a:lnTo>
                  <a:pt x="5767" y="4279"/>
                </a:lnTo>
                <a:lnTo>
                  <a:pt x="5786" y="4284"/>
                </a:lnTo>
                <a:lnTo>
                  <a:pt x="5823" y="4296"/>
                </a:lnTo>
                <a:lnTo>
                  <a:pt x="5862" y="4306"/>
                </a:lnTo>
                <a:lnTo>
                  <a:pt x="5880" y="4309"/>
                </a:lnTo>
                <a:lnTo>
                  <a:pt x="5898" y="4310"/>
                </a:lnTo>
                <a:lnTo>
                  <a:pt x="5907" y="4309"/>
                </a:lnTo>
                <a:lnTo>
                  <a:pt x="5915" y="4308"/>
                </a:lnTo>
                <a:lnTo>
                  <a:pt x="5923" y="4307"/>
                </a:lnTo>
                <a:lnTo>
                  <a:pt x="5931" y="4304"/>
                </a:lnTo>
                <a:lnTo>
                  <a:pt x="5939" y="4301"/>
                </a:lnTo>
                <a:lnTo>
                  <a:pt x="5946" y="4296"/>
                </a:lnTo>
                <a:lnTo>
                  <a:pt x="5953" y="4291"/>
                </a:lnTo>
                <a:lnTo>
                  <a:pt x="5959" y="4285"/>
                </a:lnTo>
                <a:lnTo>
                  <a:pt x="5965" y="4278"/>
                </a:lnTo>
                <a:lnTo>
                  <a:pt x="5971" y="4269"/>
                </a:lnTo>
                <a:lnTo>
                  <a:pt x="5976" y="4259"/>
                </a:lnTo>
                <a:lnTo>
                  <a:pt x="5981" y="4248"/>
                </a:lnTo>
                <a:lnTo>
                  <a:pt x="5994" y="4254"/>
                </a:lnTo>
                <a:lnTo>
                  <a:pt x="6004" y="4260"/>
                </a:lnTo>
                <a:lnTo>
                  <a:pt x="6014" y="4266"/>
                </a:lnTo>
                <a:lnTo>
                  <a:pt x="6022" y="4271"/>
                </a:lnTo>
                <a:lnTo>
                  <a:pt x="6035" y="4282"/>
                </a:lnTo>
                <a:lnTo>
                  <a:pt x="6045" y="4293"/>
                </a:lnTo>
                <a:lnTo>
                  <a:pt x="6052" y="4302"/>
                </a:lnTo>
                <a:lnTo>
                  <a:pt x="6057" y="4311"/>
                </a:lnTo>
                <a:lnTo>
                  <a:pt x="6061" y="4319"/>
                </a:lnTo>
                <a:lnTo>
                  <a:pt x="6064" y="4326"/>
                </a:lnTo>
                <a:lnTo>
                  <a:pt x="6067" y="4332"/>
                </a:lnTo>
                <a:lnTo>
                  <a:pt x="6070" y="4336"/>
                </a:lnTo>
                <a:lnTo>
                  <a:pt x="6073" y="4337"/>
                </a:lnTo>
                <a:lnTo>
                  <a:pt x="6076" y="4338"/>
                </a:lnTo>
                <a:lnTo>
                  <a:pt x="6079" y="4339"/>
                </a:lnTo>
                <a:lnTo>
                  <a:pt x="6083" y="4339"/>
                </a:lnTo>
                <a:lnTo>
                  <a:pt x="6094" y="4338"/>
                </a:lnTo>
                <a:lnTo>
                  <a:pt x="6108" y="4335"/>
                </a:lnTo>
                <a:lnTo>
                  <a:pt x="6127" y="4330"/>
                </a:lnTo>
                <a:lnTo>
                  <a:pt x="6151" y="4322"/>
                </a:lnTo>
                <a:lnTo>
                  <a:pt x="6151" y="4326"/>
                </a:lnTo>
                <a:lnTo>
                  <a:pt x="6152" y="4330"/>
                </a:lnTo>
                <a:lnTo>
                  <a:pt x="6154" y="4335"/>
                </a:lnTo>
                <a:lnTo>
                  <a:pt x="6157" y="4340"/>
                </a:lnTo>
                <a:lnTo>
                  <a:pt x="6165" y="4353"/>
                </a:lnTo>
                <a:lnTo>
                  <a:pt x="6176" y="4367"/>
                </a:lnTo>
                <a:lnTo>
                  <a:pt x="6188" y="4382"/>
                </a:lnTo>
                <a:lnTo>
                  <a:pt x="6202" y="4398"/>
                </a:lnTo>
                <a:lnTo>
                  <a:pt x="6217" y="4414"/>
                </a:lnTo>
                <a:lnTo>
                  <a:pt x="6232" y="4430"/>
                </a:lnTo>
                <a:lnTo>
                  <a:pt x="6265" y="4461"/>
                </a:lnTo>
                <a:lnTo>
                  <a:pt x="6294" y="4488"/>
                </a:lnTo>
                <a:lnTo>
                  <a:pt x="6306" y="4499"/>
                </a:lnTo>
                <a:lnTo>
                  <a:pt x="6317" y="4507"/>
                </a:lnTo>
                <a:lnTo>
                  <a:pt x="6325" y="4511"/>
                </a:lnTo>
                <a:lnTo>
                  <a:pt x="6330" y="4513"/>
                </a:lnTo>
                <a:lnTo>
                  <a:pt x="6330" y="4518"/>
                </a:lnTo>
                <a:lnTo>
                  <a:pt x="6330" y="4525"/>
                </a:lnTo>
                <a:lnTo>
                  <a:pt x="6331" y="4533"/>
                </a:lnTo>
                <a:lnTo>
                  <a:pt x="6333" y="4542"/>
                </a:lnTo>
                <a:lnTo>
                  <a:pt x="6334" y="4547"/>
                </a:lnTo>
                <a:lnTo>
                  <a:pt x="6336" y="4551"/>
                </a:lnTo>
                <a:lnTo>
                  <a:pt x="6339" y="4555"/>
                </a:lnTo>
                <a:lnTo>
                  <a:pt x="6342" y="4558"/>
                </a:lnTo>
                <a:lnTo>
                  <a:pt x="6346" y="4561"/>
                </a:lnTo>
                <a:lnTo>
                  <a:pt x="6350" y="4564"/>
                </a:lnTo>
                <a:lnTo>
                  <a:pt x="6355" y="4565"/>
                </a:lnTo>
                <a:lnTo>
                  <a:pt x="6361" y="4566"/>
                </a:lnTo>
                <a:lnTo>
                  <a:pt x="6361" y="4571"/>
                </a:lnTo>
                <a:lnTo>
                  <a:pt x="6361" y="4574"/>
                </a:lnTo>
                <a:lnTo>
                  <a:pt x="6360" y="4577"/>
                </a:lnTo>
                <a:lnTo>
                  <a:pt x="6358" y="4578"/>
                </a:lnTo>
                <a:lnTo>
                  <a:pt x="6355" y="4577"/>
                </a:lnTo>
                <a:lnTo>
                  <a:pt x="6351" y="4576"/>
                </a:lnTo>
                <a:lnTo>
                  <a:pt x="6349" y="4576"/>
                </a:lnTo>
                <a:lnTo>
                  <a:pt x="6347" y="4576"/>
                </a:lnTo>
                <a:lnTo>
                  <a:pt x="6345" y="4577"/>
                </a:lnTo>
                <a:lnTo>
                  <a:pt x="6344" y="4580"/>
                </a:lnTo>
                <a:lnTo>
                  <a:pt x="6343" y="4584"/>
                </a:lnTo>
                <a:lnTo>
                  <a:pt x="6341" y="4589"/>
                </a:lnTo>
                <a:lnTo>
                  <a:pt x="6341" y="4597"/>
                </a:lnTo>
                <a:lnTo>
                  <a:pt x="6341" y="4608"/>
                </a:lnTo>
                <a:lnTo>
                  <a:pt x="6352" y="4610"/>
                </a:lnTo>
                <a:lnTo>
                  <a:pt x="6370" y="4612"/>
                </a:lnTo>
                <a:lnTo>
                  <a:pt x="6390" y="4614"/>
                </a:lnTo>
                <a:lnTo>
                  <a:pt x="6412" y="4615"/>
                </a:lnTo>
                <a:lnTo>
                  <a:pt x="6423" y="4614"/>
                </a:lnTo>
                <a:lnTo>
                  <a:pt x="6433" y="4613"/>
                </a:lnTo>
                <a:lnTo>
                  <a:pt x="6442" y="4612"/>
                </a:lnTo>
                <a:lnTo>
                  <a:pt x="6451" y="4609"/>
                </a:lnTo>
                <a:lnTo>
                  <a:pt x="6458" y="4605"/>
                </a:lnTo>
                <a:lnTo>
                  <a:pt x="6463" y="4601"/>
                </a:lnTo>
                <a:lnTo>
                  <a:pt x="6465" y="4597"/>
                </a:lnTo>
                <a:lnTo>
                  <a:pt x="6467" y="4594"/>
                </a:lnTo>
                <a:lnTo>
                  <a:pt x="6467" y="4590"/>
                </a:lnTo>
                <a:lnTo>
                  <a:pt x="6468" y="4587"/>
                </a:lnTo>
                <a:lnTo>
                  <a:pt x="6480" y="4586"/>
                </a:lnTo>
                <a:lnTo>
                  <a:pt x="6493" y="4583"/>
                </a:lnTo>
                <a:lnTo>
                  <a:pt x="6504" y="4578"/>
                </a:lnTo>
                <a:lnTo>
                  <a:pt x="6515" y="4573"/>
                </a:lnTo>
                <a:lnTo>
                  <a:pt x="6525" y="4565"/>
                </a:lnTo>
                <a:lnTo>
                  <a:pt x="6535" y="4557"/>
                </a:lnTo>
                <a:lnTo>
                  <a:pt x="6544" y="4547"/>
                </a:lnTo>
                <a:lnTo>
                  <a:pt x="6552" y="4537"/>
                </a:lnTo>
                <a:lnTo>
                  <a:pt x="6559" y="4526"/>
                </a:lnTo>
                <a:lnTo>
                  <a:pt x="6565" y="4514"/>
                </a:lnTo>
                <a:lnTo>
                  <a:pt x="6571" y="4502"/>
                </a:lnTo>
                <a:lnTo>
                  <a:pt x="6576" y="4489"/>
                </a:lnTo>
                <a:lnTo>
                  <a:pt x="6579" y="4477"/>
                </a:lnTo>
                <a:lnTo>
                  <a:pt x="6582" y="4463"/>
                </a:lnTo>
                <a:lnTo>
                  <a:pt x="6584" y="4451"/>
                </a:lnTo>
                <a:lnTo>
                  <a:pt x="6584" y="4439"/>
                </a:lnTo>
                <a:lnTo>
                  <a:pt x="6588" y="4437"/>
                </a:lnTo>
                <a:lnTo>
                  <a:pt x="6592" y="4437"/>
                </a:lnTo>
                <a:lnTo>
                  <a:pt x="6597" y="4438"/>
                </a:lnTo>
                <a:lnTo>
                  <a:pt x="6602" y="4441"/>
                </a:lnTo>
                <a:lnTo>
                  <a:pt x="6606" y="4445"/>
                </a:lnTo>
                <a:lnTo>
                  <a:pt x="6611" y="4450"/>
                </a:lnTo>
                <a:lnTo>
                  <a:pt x="6617" y="4456"/>
                </a:lnTo>
                <a:lnTo>
                  <a:pt x="6622" y="4463"/>
                </a:lnTo>
                <a:lnTo>
                  <a:pt x="6633" y="4481"/>
                </a:lnTo>
                <a:lnTo>
                  <a:pt x="6643" y="4501"/>
                </a:lnTo>
                <a:lnTo>
                  <a:pt x="6655" y="4522"/>
                </a:lnTo>
                <a:lnTo>
                  <a:pt x="6666" y="4545"/>
                </a:lnTo>
                <a:lnTo>
                  <a:pt x="6677" y="4568"/>
                </a:lnTo>
                <a:lnTo>
                  <a:pt x="6689" y="4590"/>
                </a:lnTo>
                <a:lnTo>
                  <a:pt x="6700" y="4612"/>
                </a:lnTo>
                <a:lnTo>
                  <a:pt x="6711" y="4632"/>
                </a:lnTo>
                <a:lnTo>
                  <a:pt x="6722" y="4648"/>
                </a:lnTo>
                <a:lnTo>
                  <a:pt x="6733" y="4661"/>
                </a:lnTo>
                <a:lnTo>
                  <a:pt x="6738" y="4665"/>
                </a:lnTo>
                <a:lnTo>
                  <a:pt x="6744" y="4669"/>
                </a:lnTo>
                <a:lnTo>
                  <a:pt x="6749" y="4671"/>
                </a:lnTo>
                <a:lnTo>
                  <a:pt x="6754" y="4672"/>
                </a:lnTo>
                <a:lnTo>
                  <a:pt x="6762" y="4683"/>
                </a:lnTo>
                <a:lnTo>
                  <a:pt x="6771" y="4695"/>
                </a:lnTo>
                <a:lnTo>
                  <a:pt x="6782" y="4707"/>
                </a:lnTo>
                <a:lnTo>
                  <a:pt x="6794" y="4720"/>
                </a:lnTo>
                <a:lnTo>
                  <a:pt x="6820" y="4747"/>
                </a:lnTo>
                <a:lnTo>
                  <a:pt x="6847" y="4774"/>
                </a:lnTo>
                <a:lnTo>
                  <a:pt x="6860" y="4787"/>
                </a:lnTo>
                <a:lnTo>
                  <a:pt x="6873" y="4800"/>
                </a:lnTo>
                <a:lnTo>
                  <a:pt x="6884" y="4813"/>
                </a:lnTo>
                <a:lnTo>
                  <a:pt x="6893" y="4826"/>
                </a:lnTo>
                <a:lnTo>
                  <a:pt x="6901" y="4838"/>
                </a:lnTo>
                <a:lnTo>
                  <a:pt x="6907" y="4850"/>
                </a:lnTo>
                <a:lnTo>
                  <a:pt x="6910" y="4857"/>
                </a:lnTo>
                <a:lnTo>
                  <a:pt x="6911" y="4862"/>
                </a:lnTo>
                <a:lnTo>
                  <a:pt x="6912" y="4868"/>
                </a:lnTo>
                <a:lnTo>
                  <a:pt x="6913" y="4873"/>
                </a:lnTo>
                <a:lnTo>
                  <a:pt x="6931" y="4888"/>
                </a:lnTo>
                <a:lnTo>
                  <a:pt x="6948" y="4902"/>
                </a:lnTo>
                <a:lnTo>
                  <a:pt x="6952" y="4906"/>
                </a:lnTo>
                <a:lnTo>
                  <a:pt x="6955" y="4911"/>
                </a:lnTo>
                <a:lnTo>
                  <a:pt x="6958" y="4917"/>
                </a:lnTo>
                <a:lnTo>
                  <a:pt x="6960" y="4925"/>
                </a:lnTo>
                <a:lnTo>
                  <a:pt x="6962" y="4933"/>
                </a:lnTo>
                <a:lnTo>
                  <a:pt x="6964" y="4943"/>
                </a:lnTo>
                <a:lnTo>
                  <a:pt x="6965" y="4954"/>
                </a:lnTo>
                <a:lnTo>
                  <a:pt x="6965" y="4968"/>
                </a:lnTo>
                <a:lnTo>
                  <a:pt x="6968" y="4967"/>
                </a:lnTo>
                <a:lnTo>
                  <a:pt x="6971" y="4966"/>
                </a:lnTo>
                <a:lnTo>
                  <a:pt x="6975" y="4965"/>
                </a:lnTo>
                <a:lnTo>
                  <a:pt x="6978" y="4962"/>
                </a:lnTo>
                <a:lnTo>
                  <a:pt x="6986" y="4957"/>
                </a:lnTo>
                <a:lnTo>
                  <a:pt x="6994" y="4950"/>
                </a:lnTo>
                <a:lnTo>
                  <a:pt x="7010" y="4934"/>
                </a:lnTo>
                <a:lnTo>
                  <a:pt x="7025" y="4919"/>
                </a:lnTo>
                <a:lnTo>
                  <a:pt x="7033" y="4913"/>
                </a:lnTo>
                <a:lnTo>
                  <a:pt x="7039" y="4910"/>
                </a:lnTo>
                <a:lnTo>
                  <a:pt x="7042" y="4909"/>
                </a:lnTo>
                <a:lnTo>
                  <a:pt x="7045" y="4908"/>
                </a:lnTo>
                <a:lnTo>
                  <a:pt x="7048" y="4909"/>
                </a:lnTo>
                <a:lnTo>
                  <a:pt x="7050" y="4910"/>
                </a:lnTo>
                <a:lnTo>
                  <a:pt x="7053" y="4912"/>
                </a:lnTo>
                <a:lnTo>
                  <a:pt x="7055" y="4915"/>
                </a:lnTo>
                <a:lnTo>
                  <a:pt x="7057" y="4919"/>
                </a:lnTo>
                <a:lnTo>
                  <a:pt x="7058" y="4925"/>
                </a:lnTo>
                <a:lnTo>
                  <a:pt x="7060" y="4938"/>
                </a:lnTo>
                <a:lnTo>
                  <a:pt x="7061" y="4957"/>
                </a:lnTo>
                <a:lnTo>
                  <a:pt x="7067" y="4958"/>
                </a:lnTo>
                <a:lnTo>
                  <a:pt x="7074" y="4960"/>
                </a:lnTo>
                <a:lnTo>
                  <a:pt x="7083" y="4963"/>
                </a:lnTo>
                <a:lnTo>
                  <a:pt x="7092" y="4968"/>
                </a:lnTo>
                <a:lnTo>
                  <a:pt x="7101" y="4974"/>
                </a:lnTo>
                <a:lnTo>
                  <a:pt x="7111" y="4981"/>
                </a:lnTo>
                <a:lnTo>
                  <a:pt x="7122" y="4988"/>
                </a:lnTo>
                <a:lnTo>
                  <a:pt x="7132" y="4997"/>
                </a:lnTo>
                <a:lnTo>
                  <a:pt x="7142" y="5005"/>
                </a:lnTo>
                <a:lnTo>
                  <a:pt x="7151" y="5014"/>
                </a:lnTo>
                <a:lnTo>
                  <a:pt x="7160" y="5024"/>
                </a:lnTo>
                <a:lnTo>
                  <a:pt x="7168" y="5034"/>
                </a:lnTo>
                <a:lnTo>
                  <a:pt x="7175" y="5044"/>
                </a:lnTo>
                <a:lnTo>
                  <a:pt x="7180" y="5054"/>
                </a:lnTo>
                <a:lnTo>
                  <a:pt x="7185" y="5064"/>
                </a:lnTo>
                <a:lnTo>
                  <a:pt x="7188" y="5073"/>
                </a:lnTo>
                <a:lnTo>
                  <a:pt x="7175" y="5074"/>
                </a:lnTo>
                <a:lnTo>
                  <a:pt x="7166" y="5077"/>
                </a:lnTo>
                <a:lnTo>
                  <a:pt x="7162" y="5078"/>
                </a:lnTo>
                <a:lnTo>
                  <a:pt x="7159" y="5080"/>
                </a:lnTo>
                <a:lnTo>
                  <a:pt x="7157" y="5082"/>
                </a:lnTo>
                <a:lnTo>
                  <a:pt x="7155" y="5085"/>
                </a:lnTo>
                <a:lnTo>
                  <a:pt x="7152" y="5091"/>
                </a:lnTo>
                <a:lnTo>
                  <a:pt x="7151" y="5097"/>
                </a:lnTo>
                <a:lnTo>
                  <a:pt x="7152" y="5104"/>
                </a:lnTo>
                <a:lnTo>
                  <a:pt x="7153" y="5111"/>
                </a:lnTo>
                <a:lnTo>
                  <a:pt x="7156" y="5125"/>
                </a:lnTo>
                <a:lnTo>
                  <a:pt x="7158" y="5137"/>
                </a:lnTo>
                <a:lnTo>
                  <a:pt x="7157" y="5141"/>
                </a:lnTo>
                <a:lnTo>
                  <a:pt x="7155" y="5145"/>
                </a:lnTo>
                <a:lnTo>
                  <a:pt x="7154" y="5146"/>
                </a:lnTo>
                <a:lnTo>
                  <a:pt x="7151" y="5147"/>
                </a:lnTo>
                <a:lnTo>
                  <a:pt x="7149" y="5148"/>
                </a:lnTo>
                <a:lnTo>
                  <a:pt x="7145" y="5148"/>
                </a:lnTo>
                <a:lnTo>
                  <a:pt x="7145" y="5155"/>
                </a:lnTo>
                <a:lnTo>
                  <a:pt x="7144" y="5160"/>
                </a:lnTo>
                <a:lnTo>
                  <a:pt x="7141" y="5165"/>
                </a:lnTo>
                <a:lnTo>
                  <a:pt x="7138" y="5170"/>
                </a:lnTo>
                <a:lnTo>
                  <a:pt x="7135" y="5173"/>
                </a:lnTo>
                <a:lnTo>
                  <a:pt x="7130" y="5176"/>
                </a:lnTo>
                <a:lnTo>
                  <a:pt x="7125" y="5179"/>
                </a:lnTo>
                <a:lnTo>
                  <a:pt x="7118" y="5181"/>
                </a:lnTo>
                <a:lnTo>
                  <a:pt x="7106" y="5184"/>
                </a:lnTo>
                <a:lnTo>
                  <a:pt x="7091" y="5185"/>
                </a:lnTo>
                <a:lnTo>
                  <a:pt x="7075" y="5184"/>
                </a:lnTo>
                <a:lnTo>
                  <a:pt x="7059" y="5182"/>
                </a:lnTo>
                <a:lnTo>
                  <a:pt x="7025" y="5176"/>
                </a:lnTo>
                <a:lnTo>
                  <a:pt x="6991" y="5169"/>
                </a:lnTo>
                <a:lnTo>
                  <a:pt x="6963" y="5162"/>
                </a:lnTo>
                <a:lnTo>
                  <a:pt x="6944" y="5159"/>
                </a:lnTo>
                <a:lnTo>
                  <a:pt x="6939" y="5179"/>
                </a:lnTo>
                <a:lnTo>
                  <a:pt x="6932" y="5197"/>
                </a:lnTo>
                <a:lnTo>
                  <a:pt x="6924" y="5212"/>
                </a:lnTo>
                <a:lnTo>
                  <a:pt x="6914" y="5226"/>
                </a:lnTo>
                <a:lnTo>
                  <a:pt x="6904" y="5239"/>
                </a:lnTo>
                <a:lnTo>
                  <a:pt x="6892" y="5250"/>
                </a:lnTo>
                <a:lnTo>
                  <a:pt x="6879" y="5259"/>
                </a:lnTo>
                <a:lnTo>
                  <a:pt x="6864" y="5266"/>
                </a:lnTo>
                <a:lnTo>
                  <a:pt x="6849" y="5272"/>
                </a:lnTo>
                <a:lnTo>
                  <a:pt x="6834" y="5276"/>
                </a:lnTo>
                <a:lnTo>
                  <a:pt x="6817" y="5280"/>
                </a:lnTo>
                <a:lnTo>
                  <a:pt x="6800" y="5282"/>
                </a:lnTo>
                <a:lnTo>
                  <a:pt x="6782" y="5284"/>
                </a:lnTo>
                <a:lnTo>
                  <a:pt x="6763" y="5284"/>
                </a:lnTo>
                <a:lnTo>
                  <a:pt x="6744" y="5284"/>
                </a:lnTo>
                <a:lnTo>
                  <a:pt x="6724" y="5283"/>
                </a:lnTo>
                <a:lnTo>
                  <a:pt x="6643" y="5277"/>
                </a:lnTo>
                <a:lnTo>
                  <a:pt x="6559" y="5270"/>
                </a:lnTo>
                <a:lnTo>
                  <a:pt x="6538" y="5269"/>
                </a:lnTo>
                <a:lnTo>
                  <a:pt x="6518" y="5268"/>
                </a:lnTo>
                <a:lnTo>
                  <a:pt x="6498" y="5268"/>
                </a:lnTo>
                <a:lnTo>
                  <a:pt x="6477" y="5269"/>
                </a:lnTo>
                <a:lnTo>
                  <a:pt x="6458" y="5271"/>
                </a:lnTo>
                <a:lnTo>
                  <a:pt x="6440" y="5273"/>
                </a:lnTo>
                <a:lnTo>
                  <a:pt x="6421" y="5277"/>
                </a:lnTo>
                <a:lnTo>
                  <a:pt x="6404" y="5282"/>
                </a:lnTo>
                <a:lnTo>
                  <a:pt x="6395" y="5285"/>
                </a:lnTo>
                <a:lnTo>
                  <a:pt x="6385" y="5289"/>
                </a:lnTo>
                <a:lnTo>
                  <a:pt x="6375" y="5295"/>
                </a:lnTo>
                <a:lnTo>
                  <a:pt x="6364" y="5301"/>
                </a:lnTo>
                <a:lnTo>
                  <a:pt x="6341" y="5316"/>
                </a:lnTo>
                <a:lnTo>
                  <a:pt x="6318" y="5335"/>
                </a:lnTo>
                <a:lnTo>
                  <a:pt x="6294" y="5356"/>
                </a:lnTo>
                <a:lnTo>
                  <a:pt x="6270" y="5379"/>
                </a:lnTo>
                <a:lnTo>
                  <a:pt x="6247" y="5404"/>
                </a:lnTo>
                <a:lnTo>
                  <a:pt x="6223" y="5430"/>
                </a:lnTo>
                <a:lnTo>
                  <a:pt x="6201" y="5456"/>
                </a:lnTo>
                <a:lnTo>
                  <a:pt x="6180" y="5485"/>
                </a:lnTo>
                <a:lnTo>
                  <a:pt x="6162" y="5512"/>
                </a:lnTo>
                <a:lnTo>
                  <a:pt x="6145" y="5539"/>
                </a:lnTo>
                <a:lnTo>
                  <a:pt x="6138" y="5552"/>
                </a:lnTo>
                <a:lnTo>
                  <a:pt x="6131" y="5565"/>
                </a:lnTo>
                <a:lnTo>
                  <a:pt x="6125" y="5578"/>
                </a:lnTo>
                <a:lnTo>
                  <a:pt x="6120" y="5590"/>
                </a:lnTo>
                <a:lnTo>
                  <a:pt x="6116" y="5602"/>
                </a:lnTo>
                <a:lnTo>
                  <a:pt x="6112" y="5614"/>
                </a:lnTo>
                <a:lnTo>
                  <a:pt x="6109" y="5625"/>
                </a:lnTo>
                <a:lnTo>
                  <a:pt x="6107" y="5635"/>
                </a:lnTo>
                <a:lnTo>
                  <a:pt x="6119" y="5635"/>
                </a:lnTo>
                <a:lnTo>
                  <a:pt x="6130" y="5634"/>
                </a:lnTo>
                <a:lnTo>
                  <a:pt x="6140" y="5633"/>
                </a:lnTo>
                <a:lnTo>
                  <a:pt x="6150" y="5631"/>
                </a:lnTo>
                <a:lnTo>
                  <a:pt x="6168" y="5626"/>
                </a:lnTo>
                <a:lnTo>
                  <a:pt x="6186" y="5619"/>
                </a:lnTo>
                <a:lnTo>
                  <a:pt x="6203" y="5611"/>
                </a:lnTo>
                <a:lnTo>
                  <a:pt x="6219" y="5601"/>
                </a:lnTo>
                <a:lnTo>
                  <a:pt x="6234" y="5590"/>
                </a:lnTo>
                <a:lnTo>
                  <a:pt x="6251" y="5579"/>
                </a:lnTo>
                <a:lnTo>
                  <a:pt x="6281" y="5556"/>
                </a:lnTo>
                <a:lnTo>
                  <a:pt x="6312" y="5534"/>
                </a:lnTo>
                <a:lnTo>
                  <a:pt x="6329" y="5523"/>
                </a:lnTo>
                <a:lnTo>
                  <a:pt x="6346" y="5513"/>
                </a:lnTo>
                <a:lnTo>
                  <a:pt x="6365" y="5505"/>
                </a:lnTo>
                <a:lnTo>
                  <a:pt x="6383" y="5497"/>
                </a:lnTo>
                <a:lnTo>
                  <a:pt x="6399" y="5497"/>
                </a:lnTo>
                <a:lnTo>
                  <a:pt x="6412" y="5495"/>
                </a:lnTo>
                <a:lnTo>
                  <a:pt x="6425" y="5492"/>
                </a:lnTo>
                <a:lnTo>
                  <a:pt x="6437" y="5489"/>
                </a:lnTo>
                <a:lnTo>
                  <a:pt x="6447" y="5485"/>
                </a:lnTo>
                <a:lnTo>
                  <a:pt x="6457" y="5479"/>
                </a:lnTo>
                <a:lnTo>
                  <a:pt x="6467" y="5473"/>
                </a:lnTo>
                <a:lnTo>
                  <a:pt x="6476" y="5468"/>
                </a:lnTo>
                <a:lnTo>
                  <a:pt x="6495" y="5456"/>
                </a:lnTo>
                <a:lnTo>
                  <a:pt x="6515" y="5444"/>
                </a:lnTo>
                <a:lnTo>
                  <a:pt x="6526" y="5438"/>
                </a:lnTo>
                <a:lnTo>
                  <a:pt x="6537" y="5432"/>
                </a:lnTo>
                <a:lnTo>
                  <a:pt x="6550" y="5427"/>
                </a:lnTo>
                <a:lnTo>
                  <a:pt x="6563" y="5423"/>
                </a:lnTo>
                <a:lnTo>
                  <a:pt x="6564" y="5427"/>
                </a:lnTo>
                <a:lnTo>
                  <a:pt x="6564" y="5430"/>
                </a:lnTo>
                <a:lnTo>
                  <a:pt x="6565" y="5432"/>
                </a:lnTo>
                <a:lnTo>
                  <a:pt x="6567" y="5434"/>
                </a:lnTo>
                <a:lnTo>
                  <a:pt x="6570" y="5437"/>
                </a:lnTo>
                <a:lnTo>
                  <a:pt x="6574" y="5439"/>
                </a:lnTo>
                <a:lnTo>
                  <a:pt x="6578" y="5441"/>
                </a:lnTo>
                <a:lnTo>
                  <a:pt x="6581" y="5444"/>
                </a:lnTo>
                <a:lnTo>
                  <a:pt x="6582" y="5446"/>
                </a:lnTo>
                <a:lnTo>
                  <a:pt x="6583" y="5448"/>
                </a:lnTo>
                <a:lnTo>
                  <a:pt x="6584" y="5451"/>
                </a:lnTo>
                <a:lnTo>
                  <a:pt x="6584" y="5455"/>
                </a:lnTo>
                <a:lnTo>
                  <a:pt x="6571" y="5455"/>
                </a:lnTo>
                <a:lnTo>
                  <a:pt x="6559" y="5456"/>
                </a:lnTo>
                <a:lnTo>
                  <a:pt x="6548" y="5457"/>
                </a:lnTo>
                <a:lnTo>
                  <a:pt x="6539" y="5459"/>
                </a:lnTo>
                <a:lnTo>
                  <a:pt x="6531" y="5461"/>
                </a:lnTo>
                <a:lnTo>
                  <a:pt x="6524" y="5464"/>
                </a:lnTo>
                <a:lnTo>
                  <a:pt x="6518" y="5467"/>
                </a:lnTo>
                <a:lnTo>
                  <a:pt x="6513" y="5471"/>
                </a:lnTo>
                <a:lnTo>
                  <a:pt x="6509" y="5475"/>
                </a:lnTo>
                <a:lnTo>
                  <a:pt x="6506" y="5479"/>
                </a:lnTo>
                <a:lnTo>
                  <a:pt x="6503" y="5485"/>
                </a:lnTo>
                <a:lnTo>
                  <a:pt x="6502" y="5490"/>
                </a:lnTo>
                <a:lnTo>
                  <a:pt x="6502" y="5495"/>
                </a:lnTo>
                <a:lnTo>
                  <a:pt x="6502" y="5501"/>
                </a:lnTo>
                <a:lnTo>
                  <a:pt x="6503" y="5507"/>
                </a:lnTo>
                <a:lnTo>
                  <a:pt x="6504" y="5513"/>
                </a:lnTo>
                <a:lnTo>
                  <a:pt x="6509" y="5526"/>
                </a:lnTo>
                <a:lnTo>
                  <a:pt x="6515" y="5539"/>
                </a:lnTo>
                <a:lnTo>
                  <a:pt x="6523" y="5553"/>
                </a:lnTo>
                <a:lnTo>
                  <a:pt x="6532" y="5567"/>
                </a:lnTo>
                <a:lnTo>
                  <a:pt x="6551" y="5596"/>
                </a:lnTo>
                <a:lnTo>
                  <a:pt x="6569" y="5624"/>
                </a:lnTo>
                <a:lnTo>
                  <a:pt x="6577" y="5636"/>
                </a:lnTo>
                <a:lnTo>
                  <a:pt x="6585" y="5647"/>
                </a:lnTo>
                <a:lnTo>
                  <a:pt x="6593" y="5658"/>
                </a:lnTo>
                <a:lnTo>
                  <a:pt x="6602" y="5667"/>
                </a:lnTo>
                <a:lnTo>
                  <a:pt x="6610" y="5675"/>
                </a:lnTo>
                <a:lnTo>
                  <a:pt x="6620" y="5683"/>
                </a:lnTo>
                <a:lnTo>
                  <a:pt x="6629" y="5690"/>
                </a:lnTo>
                <a:lnTo>
                  <a:pt x="6638" y="5696"/>
                </a:lnTo>
                <a:lnTo>
                  <a:pt x="6648" y="5701"/>
                </a:lnTo>
                <a:lnTo>
                  <a:pt x="6658" y="5705"/>
                </a:lnTo>
                <a:lnTo>
                  <a:pt x="6668" y="5709"/>
                </a:lnTo>
                <a:lnTo>
                  <a:pt x="6678" y="5712"/>
                </a:lnTo>
                <a:lnTo>
                  <a:pt x="6688" y="5715"/>
                </a:lnTo>
                <a:lnTo>
                  <a:pt x="6699" y="5717"/>
                </a:lnTo>
                <a:lnTo>
                  <a:pt x="6710" y="5718"/>
                </a:lnTo>
                <a:lnTo>
                  <a:pt x="6722" y="5719"/>
                </a:lnTo>
                <a:lnTo>
                  <a:pt x="6718" y="5727"/>
                </a:lnTo>
                <a:lnTo>
                  <a:pt x="6713" y="5734"/>
                </a:lnTo>
                <a:lnTo>
                  <a:pt x="6707" y="5739"/>
                </a:lnTo>
                <a:lnTo>
                  <a:pt x="6700" y="5742"/>
                </a:lnTo>
                <a:lnTo>
                  <a:pt x="6685" y="5747"/>
                </a:lnTo>
                <a:lnTo>
                  <a:pt x="6669" y="5749"/>
                </a:lnTo>
                <a:lnTo>
                  <a:pt x="6661" y="5750"/>
                </a:lnTo>
                <a:lnTo>
                  <a:pt x="6653" y="5752"/>
                </a:lnTo>
                <a:lnTo>
                  <a:pt x="6646" y="5754"/>
                </a:lnTo>
                <a:lnTo>
                  <a:pt x="6640" y="5757"/>
                </a:lnTo>
                <a:lnTo>
                  <a:pt x="6635" y="5761"/>
                </a:lnTo>
                <a:lnTo>
                  <a:pt x="6631" y="5767"/>
                </a:lnTo>
                <a:lnTo>
                  <a:pt x="6628" y="5774"/>
                </a:lnTo>
                <a:lnTo>
                  <a:pt x="6627" y="5783"/>
                </a:lnTo>
                <a:lnTo>
                  <a:pt x="6601" y="5792"/>
                </a:lnTo>
                <a:lnTo>
                  <a:pt x="6572" y="5805"/>
                </a:lnTo>
                <a:lnTo>
                  <a:pt x="6559" y="5812"/>
                </a:lnTo>
                <a:lnTo>
                  <a:pt x="6547" y="5819"/>
                </a:lnTo>
                <a:lnTo>
                  <a:pt x="6542" y="5823"/>
                </a:lnTo>
                <a:lnTo>
                  <a:pt x="6537" y="5827"/>
                </a:lnTo>
                <a:lnTo>
                  <a:pt x="6534" y="5831"/>
                </a:lnTo>
                <a:lnTo>
                  <a:pt x="6531" y="5836"/>
                </a:lnTo>
                <a:lnTo>
                  <a:pt x="6478" y="5841"/>
                </a:lnTo>
                <a:lnTo>
                  <a:pt x="6446" y="5844"/>
                </a:lnTo>
                <a:lnTo>
                  <a:pt x="6436" y="5844"/>
                </a:lnTo>
                <a:lnTo>
                  <a:pt x="6430" y="5844"/>
                </a:lnTo>
                <a:lnTo>
                  <a:pt x="6428" y="5844"/>
                </a:lnTo>
                <a:lnTo>
                  <a:pt x="6426" y="5843"/>
                </a:lnTo>
                <a:lnTo>
                  <a:pt x="6426" y="5842"/>
                </a:lnTo>
                <a:lnTo>
                  <a:pt x="6426" y="5841"/>
                </a:lnTo>
                <a:lnTo>
                  <a:pt x="6430" y="5836"/>
                </a:lnTo>
                <a:lnTo>
                  <a:pt x="6439" y="5827"/>
                </a:lnTo>
                <a:lnTo>
                  <a:pt x="6444" y="5822"/>
                </a:lnTo>
                <a:lnTo>
                  <a:pt x="6449" y="5816"/>
                </a:lnTo>
                <a:lnTo>
                  <a:pt x="6453" y="5809"/>
                </a:lnTo>
                <a:lnTo>
                  <a:pt x="6456" y="5802"/>
                </a:lnTo>
                <a:lnTo>
                  <a:pt x="6458" y="5805"/>
                </a:lnTo>
                <a:lnTo>
                  <a:pt x="6461" y="5806"/>
                </a:lnTo>
                <a:lnTo>
                  <a:pt x="6465" y="5808"/>
                </a:lnTo>
                <a:lnTo>
                  <a:pt x="6469" y="5809"/>
                </a:lnTo>
                <a:lnTo>
                  <a:pt x="6480" y="5809"/>
                </a:lnTo>
                <a:lnTo>
                  <a:pt x="6492" y="5808"/>
                </a:lnTo>
                <a:lnTo>
                  <a:pt x="6513" y="5806"/>
                </a:lnTo>
                <a:lnTo>
                  <a:pt x="6521" y="5804"/>
                </a:lnTo>
                <a:lnTo>
                  <a:pt x="6517" y="5788"/>
                </a:lnTo>
                <a:lnTo>
                  <a:pt x="6513" y="5775"/>
                </a:lnTo>
                <a:lnTo>
                  <a:pt x="6509" y="5766"/>
                </a:lnTo>
                <a:lnTo>
                  <a:pt x="6507" y="5759"/>
                </a:lnTo>
                <a:lnTo>
                  <a:pt x="6505" y="5753"/>
                </a:lnTo>
                <a:lnTo>
                  <a:pt x="6505" y="5747"/>
                </a:lnTo>
                <a:lnTo>
                  <a:pt x="6507" y="5740"/>
                </a:lnTo>
                <a:lnTo>
                  <a:pt x="6511" y="5730"/>
                </a:lnTo>
                <a:lnTo>
                  <a:pt x="6494" y="5730"/>
                </a:lnTo>
                <a:lnTo>
                  <a:pt x="6477" y="5731"/>
                </a:lnTo>
                <a:lnTo>
                  <a:pt x="6463" y="5734"/>
                </a:lnTo>
                <a:lnTo>
                  <a:pt x="6449" y="5737"/>
                </a:lnTo>
                <a:lnTo>
                  <a:pt x="6422" y="5744"/>
                </a:lnTo>
                <a:lnTo>
                  <a:pt x="6398" y="5752"/>
                </a:lnTo>
                <a:lnTo>
                  <a:pt x="6374" y="5759"/>
                </a:lnTo>
                <a:lnTo>
                  <a:pt x="6350" y="5766"/>
                </a:lnTo>
                <a:lnTo>
                  <a:pt x="6338" y="5769"/>
                </a:lnTo>
                <a:lnTo>
                  <a:pt x="6325" y="5771"/>
                </a:lnTo>
                <a:lnTo>
                  <a:pt x="6312" y="5772"/>
                </a:lnTo>
                <a:lnTo>
                  <a:pt x="6299" y="5773"/>
                </a:lnTo>
                <a:lnTo>
                  <a:pt x="6292" y="5783"/>
                </a:lnTo>
                <a:lnTo>
                  <a:pt x="6281" y="5796"/>
                </a:lnTo>
                <a:lnTo>
                  <a:pt x="6267" y="5810"/>
                </a:lnTo>
                <a:lnTo>
                  <a:pt x="6252" y="5824"/>
                </a:lnTo>
                <a:lnTo>
                  <a:pt x="6235" y="5837"/>
                </a:lnTo>
                <a:lnTo>
                  <a:pt x="6219" y="5847"/>
                </a:lnTo>
                <a:lnTo>
                  <a:pt x="6212" y="5851"/>
                </a:lnTo>
                <a:lnTo>
                  <a:pt x="6205" y="5854"/>
                </a:lnTo>
                <a:lnTo>
                  <a:pt x="6198" y="5856"/>
                </a:lnTo>
                <a:lnTo>
                  <a:pt x="6193" y="5857"/>
                </a:lnTo>
                <a:lnTo>
                  <a:pt x="6183" y="5884"/>
                </a:lnTo>
                <a:lnTo>
                  <a:pt x="6172" y="5914"/>
                </a:lnTo>
                <a:lnTo>
                  <a:pt x="6158" y="5946"/>
                </a:lnTo>
                <a:lnTo>
                  <a:pt x="6143" y="5978"/>
                </a:lnTo>
                <a:lnTo>
                  <a:pt x="6134" y="5995"/>
                </a:lnTo>
                <a:lnTo>
                  <a:pt x="6126" y="6010"/>
                </a:lnTo>
                <a:lnTo>
                  <a:pt x="6116" y="6024"/>
                </a:lnTo>
                <a:lnTo>
                  <a:pt x="6106" y="6038"/>
                </a:lnTo>
                <a:lnTo>
                  <a:pt x="6096" y="6050"/>
                </a:lnTo>
                <a:lnTo>
                  <a:pt x="6086" y="6062"/>
                </a:lnTo>
                <a:lnTo>
                  <a:pt x="6076" y="6071"/>
                </a:lnTo>
                <a:lnTo>
                  <a:pt x="6066" y="6079"/>
                </a:lnTo>
                <a:lnTo>
                  <a:pt x="6065" y="6078"/>
                </a:lnTo>
                <a:lnTo>
                  <a:pt x="6064" y="6077"/>
                </a:lnTo>
                <a:lnTo>
                  <a:pt x="6062" y="6078"/>
                </a:lnTo>
                <a:lnTo>
                  <a:pt x="6059" y="6078"/>
                </a:lnTo>
                <a:lnTo>
                  <a:pt x="6052" y="6081"/>
                </a:lnTo>
                <a:lnTo>
                  <a:pt x="6042" y="6087"/>
                </a:lnTo>
                <a:lnTo>
                  <a:pt x="6019" y="6102"/>
                </a:lnTo>
                <a:lnTo>
                  <a:pt x="5993" y="6121"/>
                </a:lnTo>
                <a:lnTo>
                  <a:pt x="5966" y="6140"/>
                </a:lnTo>
                <a:lnTo>
                  <a:pt x="5944" y="6157"/>
                </a:lnTo>
                <a:lnTo>
                  <a:pt x="5936" y="6164"/>
                </a:lnTo>
                <a:lnTo>
                  <a:pt x="5930" y="6170"/>
                </a:lnTo>
                <a:lnTo>
                  <a:pt x="5929" y="6172"/>
                </a:lnTo>
                <a:lnTo>
                  <a:pt x="5928" y="6173"/>
                </a:lnTo>
                <a:lnTo>
                  <a:pt x="5927" y="6174"/>
                </a:lnTo>
                <a:lnTo>
                  <a:pt x="5928" y="6174"/>
                </a:lnTo>
                <a:lnTo>
                  <a:pt x="5922" y="6184"/>
                </a:lnTo>
                <a:lnTo>
                  <a:pt x="5915" y="6192"/>
                </a:lnTo>
                <a:lnTo>
                  <a:pt x="5909" y="6200"/>
                </a:lnTo>
                <a:lnTo>
                  <a:pt x="5903" y="6207"/>
                </a:lnTo>
                <a:lnTo>
                  <a:pt x="5891" y="6219"/>
                </a:lnTo>
                <a:lnTo>
                  <a:pt x="5879" y="6231"/>
                </a:lnTo>
                <a:lnTo>
                  <a:pt x="5873" y="6239"/>
                </a:lnTo>
                <a:lnTo>
                  <a:pt x="5868" y="6246"/>
                </a:lnTo>
                <a:lnTo>
                  <a:pt x="5863" y="6254"/>
                </a:lnTo>
                <a:lnTo>
                  <a:pt x="5857" y="6263"/>
                </a:lnTo>
                <a:lnTo>
                  <a:pt x="5853" y="6273"/>
                </a:lnTo>
                <a:lnTo>
                  <a:pt x="5849" y="6284"/>
                </a:lnTo>
                <a:lnTo>
                  <a:pt x="5846" y="6297"/>
                </a:lnTo>
                <a:lnTo>
                  <a:pt x="5843" y="6312"/>
                </a:lnTo>
                <a:lnTo>
                  <a:pt x="5841" y="6314"/>
                </a:lnTo>
                <a:lnTo>
                  <a:pt x="5838" y="6320"/>
                </a:lnTo>
                <a:lnTo>
                  <a:pt x="5834" y="6327"/>
                </a:lnTo>
                <a:lnTo>
                  <a:pt x="5830" y="6337"/>
                </a:lnTo>
                <a:lnTo>
                  <a:pt x="5822" y="6362"/>
                </a:lnTo>
                <a:lnTo>
                  <a:pt x="5813" y="6391"/>
                </a:lnTo>
                <a:lnTo>
                  <a:pt x="5804" y="6419"/>
                </a:lnTo>
                <a:lnTo>
                  <a:pt x="5797" y="6446"/>
                </a:lnTo>
                <a:lnTo>
                  <a:pt x="5792" y="6467"/>
                </a:lnTo>
                <a:lnTo>
                  <a:pt x="5791" y="6481"/>
                </a:lnTo>
                <a:lnTo>
                  <a:pt x="5785" y="6485"/>
                </a:lnTo>
                <a:lnTo>
                  <a:pt x="5779" y="6491"/>
                </a:lnTo>
                <a:lnTo>
                  <a:pt x="5773" y="6497"/>
                </a:lnTo>
                <a:lnTo>
                  <a:pt x="5768" y="6504"/>
                </a:lnTo>
                <a:lnTo>
                  <a:pt x="5757" y="6518"/>
                </a:lnTo>
                <a:lnTo>
                  <a:pt x="5748" y="6535"/>
                </a:lnTo>
                <a:lnTo>
                  <a:pt x="5727" y="6571"/>
                </a:lnTo>
                <a:lnTo>
                  <a:pt x="5707" y="6608"/>
                </a:lnTo>
                <a:lnTo>
                  <a:pt x="5696" y="6628"/>
                </a:lnTo>
                <a:lnTo>
                  <a:pt x="5685" y="6645"/>
                </a:lnTo>
                <a:lnTo>
                  <a:pt x="5678" y="6653"/>
                </a:lnTo>
                <a:lnTo>
                  <a:pt x="5672" y="6661"/>
                </a:lnTo>
                <a:lnTo>
                  <a:pt x="5666" y="6668"/>
                </a:lnTo>
                <a:lnTo>
                  <a:pt x="5659" y="6675"/>
                </a:lnTo>
                <a:lnTo>
                  <a:pt x="5651" y="6681"/>
                </a:lnTo>
                <a:lnTo>
                  <a:pt x="5644" y="6687"/>
                </a:lnTo>
                <a:lnTo>
                  <a:pt x="5636" y="6692"/>
                </a:lnTo>
                <a:lnTo>
                  <a:pt x="5628" y="6696"/>
                </a:lnTo>
                <a:lnTo>
                  <a:pt x="5619" y="6699"/>
                </a:lnTo>
                <a:lnTo>
                  <a:pt x="5610" y="6701"/>
                </a:lnTo>
                <a:lnTo>
                  <a:pt x="5599" y="6703"/>
                </a:lnTo>
                <a:lnTo>
                  <a:pt x="5589" y="6703"/>
                </a:lnTo>
                <a:lnTo>
                  <a:pt x="5583" y="6716"/>
                </a:lnTo>
                <a:lnTo>
                  <a:pt x="5576" y="6727"/>
                </a:lnTo>
                <a:lnTo>
                  <a:pt x="5569" y="6738"/>
                </a:lnTo>
                <a:lnTo>
                  <a:pt x="5562" y="6749"/>
                </a:lnTo>
                <a:lnTo>
                  <a:pt x="5547" y="6766"/>
                </a:lnTo>
                <a:lnTo>
                  <a:pt x="5531" y="6782"/>
                </a:lnTo>
                <a:lnTo>
                  <a:pt x="5500" y="6810"/>
                </a:lnTo>
                <a:lnTo>
                  <a:pt x="5468" y="6836"/>
                </a:lnTo>
                <a:lnTo>
                  <a:pt x="5454" y="6849"/>
                </a:lnTo>
                <a:lnTo>
                  <a:pt x="5441" y="6863"/>
                </a:lnTo>
                <a:lnTo>
                  <a:pt x="5435" y="6872"/>
                </a:lnTo>
                <a:lnTo>
                  <a:pt x="5429" y="6880"/>
                </a:lnTo>
                <a:lnTo>
                  <a:pt x="5424" y="6889"/>
                </a:lnTo>
                <a:lnTo>
                  <a:pt x="5419" y="6898"/>
                </a:lnTo>
                <a:lnTo>
                  <a:pt x="5415" y="6908"/>
                </a:lnTo>
                <a:lnTo>
                  <a:pt x="5411" y="6918"/>
                </a:lnTo>
                <a:lnTo>
                  <a:pt x="5407" y="6929"/>
                </a:lnTo>
                <a:lnTo>
                  <a:pt x="5405" y="6941"/>
                </a:lnTo>
                <a:lnTo>
                  <a:pt x="5402" y="6955"/>
                </a:lnTo>
                <a:lnTo>
                  <a:pt x="5401" y="6968"/>
                </a:lnTo>
                <a:lnTo>
                  <a:pt x="5400" y="6983"/>
                </a:lnTo>
                <a:lnTo>
                  <a:pt x="5399" y="7000"/>
                </a:lnTo>
                <a:lnTo>
                  <a:pt x="5403" y="7005"/>
                </a:lnTo>
                <a:lnTo>
                  <a:pt x="5407" y="7010"/>
                </a:lnTo>
                <a:lnTo>
                  <a:pt x="5410" y="7016"/>
                </a:lnTo>
                <a:lnTo>
                  <a:pt x="5413" y="7023"/>
                </a:lnTo>
                <a:lnTo>
                  <a:pt x="5420" y="7038"/>
                </a:lnTo>
                <a:lnTo>
                  <a:pt x="5426" y="7055"/>
                </a:lnTo>
                <a:lnTo>
                  <a:pt x="5431" y="7074"/>
                </a:lnTo>
                <a:lnTo>
                  <a:pt x="5436" y="7094"/>
                </a:lnTo>
                <a:lnTo>
                  <a:pt x="5441" y="7116"/>
                </a:lnTo>
                <a:lnTo>
                  <a:pt x="5445" y="7139"/>
                </a:lnTo>
                <a:lnTo>
                  <a:pt x="5452" y="7183"/>
                </a:lnTo>
                <a:lnTo>
                  <a:pt x="5458" y="7225"/>
                </a:lnTo>
                <a:lnTo>
                  <a:pt x="5464" y="7263"/>
                </a:lnTo>
                <a:lnTo>
                  <a:pt x="5469" y="7291"/>
                </a:lnTo>
                <a:lnTo>
                  <a:pt x="5475" y="7318"/>
                </a:lnTo>
                <a:lnTo>
                  <a:pt x="5480" y="7346"/>
                </a:lnTo>
                <a:lnTo>
                  <a:pt x="5483" y="7359"/>
                </a:lnTo>
                <a:lnTo>
                  <a:pt x="5484" y="7372"/>
                </a:lnTo>
                <a:lnTo>
                  <a:pt x="5484" y="7384"/>
                </a:lnTo>
                <a:lnTo>
                  <a:pt x="5483" y="7395"/>
                </a:lnTo>
                <a:lnTo>
                  <a:pt x="5480" y="7406"/>
                </a:lnTo>
                <a:lnTo>
                  <a:pt x="5476" y="7415"/>
                </a:lnTo>
                <a:lnTo>
                  <a:pt x="5474" y="7419"/>
                </a:lnTo>
                <a:lnTo>
                  <a:pt x="5470" y="7423"/>
                </a:lnTo>
                <a:lnTo>
                  <a:pt x="5467" y="7427"/>
                </a:lnTo>
                <a:lnTo>
                  <a:pt x="5463" y="7430"/>
                </a:lnTo>
                <a:lnTo>
                  <a:pt x="5458" y="7433"/>
                </a:lnTo>
                <a:lnTo>
                  <a:pt x="5453" y="7436"/>
                </a:lnTo>
                <a:lnTo>
                  <a:pt x="5448" y="7438"/>
                </a:lnTo>
                <a:lnTo>
                  <a:pt x="5441" y="7440"/>
                </a:lnTo>
                <a:lnTo>
                  <a:pt x="5427" y="7443"/>
                </a:lnTo>
                <a:lnTo>
                  <a:pt x="5410" y="7444"/>
                </a:lnTo>
                <a:lnTo>
                  <a:pt x="5395" y="7422"/>
                </a:lnTo>
                <a:lnTo>
                  <a:pt x="5371" y="7383"/>
                </a:lnTo>
                <a:lnTo>
                  <a:pt x="5359" y="7362"/>
                </a:lnTo>
                <a:lnTo>
                  <a:pt x="5349" y="7344"/>
                </a:lnTo>
                <a:lnTo>
                  <a:pt x="5346" y="7338"/>
                </a:lnTo>
                <a:lnTo>
                  <a:pt x="5344" y="7333"/>
                </a:lnTo>
                <a:lnTo>
                  <a:pt x="5344" y="7331"/>
                </a:lnTo>
                <a:lnTo>
                  <a:pt x="5344" y="7329"/>
                </a:lnTo>
                <a:lnTo>
                  <a:pt x="5345" y="7328"/>
                </a:lnTo>
                <a:lnTo>
                  <a:pt x="5346" y="7328"/>
                </a:lnTo>
                <a:lnTo>
                  <a:pt x="5345" y="7319"/>
                </a:lnTo>
                <a:lnTo>
                  <a:pt x="5343" y="7308"/>
                </a:lnTo>
                <a:lnTo>
                  <a:pt x="5341" y="7295"/>
                </a:lnTo>
                <a:lnTo>
                  <a:pt x="5337" y="7281"/>
                </a:lnTo>
                <a:lnTo>
                  <a:pt x="5327" y="7249"/>
                </a:lnTo>
                <a:lnTo>
                  <a:pt x="5315" y="7214"/>
                </a:lnTo>
                <a:lnTo>
                  <a:pt x="5302" y="7181"/>
                </a:lnTo>
                <a:lnTo>
                  <a:pt x="5288" y="7149"/>
                </a:lnTo>
                <a:lnTo>
                  <a:pt x="5281" y="7135"/>
                </a:lnTo>
                <a:lnTo>
                  <a:pt x="5274" y="7122"/>
                </a:lnTo>
                <a:lnTo>
                  <a:pt x="5268" y="7110"/>
                </a:lnTo>
                <a:lnTo>
                  <a:pt x="5262" y="7101"/>
                </a:lnTo>
                <a:lnTo>
                  <a:pt x="5258" y="7095"/>
                </a:lnTo>
                <a:lnTo>
                  <a:pt x="5253" y="7091"/>
                </a:lnTo>
                <a:lnTo>
                  <a:pt x="5249" y="7087"/>
                </a:lnTo>
                <a:lnTo>
                  <a:pt x="5245" y="7084"/>
                </a:lnTo>
                <a:lnTo>
                  <a:pt x="5240" y="7082"/>
                </a:lnTo>
                <a:lnTo>
                  <a:pt x="5235" y="7080"/>
                </a:lnTo>
                <a:lnTo>
                  <a:pt x="5230" y="7078"/>
                </a:lnTo>
                <a:lnTo>
                  <a:pt x="5224" y="7077"/>
                </a:lnTo>
                <a:lnTo>
                  <a:pt x="5213" y="7076"/>
                </a:lnTo>
                <a:lnTo>
                  <a:pt x="5202" y="7077"/>
                </a:lnTo>
                <a:lnTo>
                  <a:pt x="5190" y="7078"/>
                </a:lnTo>
                <a:lnTo>
                  <a:pt x="5179" y="7080"/>
                </a:lnTo>
                <a:lnTo>
                  <a:pt x="5154" y="7085"/>
                </a:lnTo>
                <a:lnTo>
                  <a:pt x="5130" y="7089"/>
                </a:lnTo>
                <a:lnTo>
                  <a:pt x="5117" y="7090"/>
                </a:lnTo>
                <a:lnTo>
                  <a:pt x="5105" y="7090"/>
                </a:lnTo>
                <a:lnTo>
                  <a:pt x="5093" y="7088"/>
                </a:lnTo>
                <a:lnTo>
                  <a:pt x="5081" y="7084"/>
                </a:lnTo>
                <a:lnTo>
                  <a:pt x="5078" y="7080"/>
                </a:lnTo>
                <a:lnTo>
                  <a:pt x="5075" y="7075"/>
                </a:lnTo>
                <a:lnTo>
                  <a:pt x="5070" y="7071"/>
                </a:lnTo>
                <a:lnTo>
                  <a:pt x="5065" y="7067"/>
                </a:lnTo>
                <a:lnTo>
                  <a:pt x="5053" y="7059"/>
                </a:lnTo>
                <a:lnTo>
                  <a:pt x="5038" y="7053"/>
                </a:lnTo>
                <a:lnTo>
                  <a:pt x="5021" y="7047"/>
                </a:lnTo>
                <a:lnTo>
                  <a:pt x="5003" y="7042"/>
                </a:lnTo>
                <a:lnTo>
                  <a:pt x="4984" y="7037"/>
                </a:lnTo>
                <a:lnTo>
                  <a:pt x="4963" y="7034"/>
                </a:lnTo>
                <a:lnTo>
                  <a:pt x="4921" y="7028"/>
                </a:lnTo>
                <a:lnTo>
                  <a:pt x="4881" y="7024"/>
                </a:lnTo>
                <a:lnTo>
                  <a:pt x="4845" y="7022"/>
                </a:lnTo>
                <a:lnTo>
                  <a:pt x="4817" y="7021"/>
                </a:lnTo>
                <a:lnTo>
                  <a:pt x="4821" y="7035"/>
                </a:lnTo>
                <a:lnTo>
                  <a:pt x="4827" y="7046"/>
                </a:lnTo>
                <a:lnTo>
                  <a:pt x="4834" y="7057"/>
                </a:lnTo>
                <a:lnTo>
                  <a:pt x="4840" y="7067"/>
                </a:lnTo>
                <a:lnTo>
                  <a:pt x="4847" y="7077"/>
                </a:lnTo>
                <a:lnTo>
                  <a:pt x="4853" y="7088"/>
                </a:lnTo>
                <a:lnTo>
                  <a:pt x="4856" y="7094"/>
                </a:lnTo>
                <a:lnTo>
                  <a:pt x="4857" y="7101"/>
                </a:lnTo>
                <a:lnTo>
                  <a:pt x="4859" y="7108"/>
                </a:lnTo>
                <a:lnTo>
                  <a:pt x="4860" y="7116"/>
                </a:lnTo>
                <a:lnTo>
                  <a:pt x="4823" y="7133"/>
                </a:lnTo>
                <a:lnTo>
                  <a:pt x="4792" y="7146"/>
                </a:lnTo>
                <a:lnTo>
                  <a:pt x="4777" y="7151"/>
                </a:lnTo>
                <a:lnTo>
                  <a:pt x="4761" y="7154"/>
                </a:lnTo>
                <a:lnTo>
                  <a:pt x="4752" y="7155"/>
                </a:lnTo>
                <a:lnTo>
                  <a:pt x="4743" y="7156"/>
                </a:lnTo>
                <a:lnTo>
                  <a:pt x="4734" y="7155"/>
                </a:lnTo>
                <a:lnTo>
                  <a:pt x="4723" y="7154"/>
                </a:lnTo>
                <a:lnTo>
                  <a:pt x="4707" y="7151"/>
                </a:lnTo>
                <a:lnTo>
                  <a:pt x="4694" y="7147"/>
                </a:lnTo>
                <a:lnTo>
                  <a:pt x="4681" y="7142"/>
                </a:lnTo>
                <a:lnTo>
                  <a:pt x="4671" y="7136"/>
                </a:lnTo>
                <a:lnTo>
                  <a:pt x="4653" y="7122"/>
                </a:lnTo>
                <a:lnTo>
                  <a:pt x="4636" y="7108"/>
                </a:lnTo>
                <a:lnTo>
                  <a:pt x="4628" y="7101"/>
                </a:lnTo>
                <a:lnTo>
                  <a:pt x="4620" y="7095"/>
                </a:lnTo>
                <a:lnTo>
                  <a:pt x="4611" y="7089"/>
                </a:lnTo>
                <a:lnTo>
                  <a:pt x="4600" y="7085"/>
                </a:lnTo>
                <a:lnTo>
                  <a:pt x="4588" y="7081"/>
                </a:lnTo>
                <a:lnTo>
                  <a:pt x="4575" y="7079"/>
                </a:lnTo>
                <a:lnTo>
                  <a:pt x="4559" y="7078"/>
                </a:lnTo>
                <a:lnTo>
                  <a:pt x="4542" y="7079"/>
                </a:lnTo>
                <a:lnTo>
                  <a:pt x="4527" y="7081"/>
                </a:lnTo>
                <a:lnTo>
                  <a:pt x="4512" y="7083"/>
                </a:lnTo>
                <a:lnTo>
                  <a:pt x="4498" y="7087"/>
                </a:lnTo>
                <a:lnTo>
                  <a:pt x="4484" y="7091"/>
                </a:lnTo>
                <a:lnTo>
                  <a:pt x="4469" y="7095"/>
                </a:lnTo>
                <a:lnTo>
                  <a:pt x="4456" y="7100"/>
                </a:lnTo>
                <a:lnTo>
                  <a:pt x="4443" y="7106"/>
                </a:lnTo>
                <a:lnTo>
                  <a:pt x="4430" y="7112"/>
                </a:lnTo>
                <a:lnTo>
                  <a:pt x="4418" y="7120"/>
                </a:lnTo>
                <a:lnTo>
                  <a:pt x="4406" y="7127"/>
                </a:lnTo>
                <a:lnTo>
                  <a:pt x="4395" y="7135"/>
                </a:lnTo>
                <a:lnTo>
                  <a:pt x="4384" y="7143"/>
                </a:lnTo>
                <a:lnTo>
                  <a:pt x="4373" y="7152"/>
                </a:lnTo>
                <a:lnTo>
                  <a:pt x="4363" y="7161"/>
                </a:lnTo>
                <a:lnTo>
                  <a:pt x="4353" y="7171"/>
                </a:lnTo>
                <a:lnTo>
                  <a:pt x="4343" y="7181"/>
                </a:lnTo>
                <a:lnTo>
                  <a:pt x="4334" y="7192"/>
                </a:lnTo>
                <a:lnTo>
                  <a:pt x="4326" y="7203"/>
                </a:lnTo>
                <a:lnTo>
                  <a:pt x="4318" y="7214"/>
                </a:lnTo>
                <a:lnTo>
                  <a:pt x="4311" y="7226"/>
                </a:lnTo>
                <a:lnTo>
                  <a:pt x="4304" y="7238"/>
                </a:lnTo>
                <a:lnTo>
                  <a:pt x="4298" y="7251"/>
                </a:lnTo>
                <a:lnTo>
                  <a:pt x="4292" y="7264"/>
                </a:lnTo>
                <a:lnTo>
                  <a:pt x="4287" y="7277"/>
                </a:lnTo>
                <a:lnTo>
                  <a:pt x="4282" y="7291"/>
                </a:lnTo>
                <a:lnTo>
                  <a:pt x="4278" y="7304"/>
                </a:lnTo>
                <a:lnTo>
                  <a:pt x="4275" y="7318"/>
                </a:lnTo>
                <a:lnTo>
                  <a:pt x="4272" y="7332"/>
                </a:lnTo>
                <a:lnTo>
                  <a:pt x="4270" y="7347"/>
                </a:lnTo>
                <a:lnTo>
                  <a:pt x="4268" y="7361"/>
                </a:lnTo>
                <a:lnTo>
                  <a:pt x="4267" y="7377"/>
                </a:lnTo>
                <a:lnTo>
                  <a:pt x="4267" y="7392"/>
                </a:lnTo>
                <a:lnTo>
                  <a:pt x="4265" y="7393"/>
                </a:lnTo>
                <a:lnTo>
                  <a:pt x="4264" y="7395"/>
                </a:lnTo>
                <a:lnTo>
                  <a:pt x="4262" y="7400"/>
                </a:lnTo>
                <a:lnTo>
                  <a:pt x="4261" y="7405"/>
                </a:lnTo>
                <a:lnTo>
                  <a:pt x="4259" y="7421"/>
                </a:lnTo>
                <a:lnTo>
                  <a:pt x="4257" y="7441"/>
                </a:lnTo>
                <a:lnTo>
                  <a:pt x="4255" y="7491"/>
                </a:lnTo>
                <a:lnTo>
                  <a:pt x="4254" y="7550"/>
                </a:lnTo>
                <a:lnTo>
                  <a:pt x="4255" y="7608"/>
                </a:lnTo>
                <a:lnTo>
                  <a:pt x="4257" y="7659"/>
                </a:lnTo>
                <a:lnTo>
                  <a:pt x="4259" y="7680"/>
                </a:lnTo>
                <a:lnTo>
                  <a:pt x="4261" y="7695"/>
                </a:lnTo>
                <a:lnTo>
                  <a:pt x="4262" y="7701"/>
                </a:lnTo>
                <a:lnTo>
                  <a:pt x="4264" y="7705"/>
                </a:lnTo>
                <a:lnTo>
                  <a:pt x="4265" y="7708"/>
                </a:lnTo>
                <a:lnTo>
                  <a:pt x="4267" y="7709"/>
                </a:lnTo>
                <a:lnTo>
                  <a:pt x="4268" y="7725"/>
                </a:lnTo>
                <a:lnTo>
                  <a:pt x="4270" y="7741"/>
                </a:lnTo>
                <a:lnTo>
                  <a:pt x="4274" y="7757"/>
                </a:lnTo>
                <a:lnTo>
                  <a:pt x="4278" y="7772"/>
                </a:lnTo>
                <a:lnTo>
                  <a:pt x="4284" y="7787"/>
                </a:lnTo>
                <a:lnTo>
                  <a:pt x="4290" y="7801"/>
                </a:lnTo>
                <a:lnTo>
                  <a:pt x="4297" y="7815"/>
                </a:lnTo>
                <a:lnTo>
                  <a:pt x="4304" y="7828"/>
                </a:lnTo>
                <a:lnTo>
                  <a:pt x="4317" y="7854"/>
                </a:lnTo>
                <a:lnTo>
                  <a:pt x="4329" y="7881"/>
                </a:lnTo>
                <a:lnTo>
                  <a:pt x="4333" y="7894"/>
                </a:lnTo>
                <a:lnTo>
                  <a:pt x="4337" y="7906"/>
                </a:lnTo>
                <a:lnTo>
                  <a:pt x="4339" y="7919"/>
                </a:lnTo>
                <a:lnTo>
                  <a:pt x="4340" y="7931"/>
                </a:lnTo>
                <a:lnTo>
                  <a:pt x="4348" y="7932"/>
                </a:lnTo>
                <a:lnTo>
                  <a:pt x="4355" y="7933"/>
                </a:lnTo>
                <a:lnTo>
                  <a:pt x="4362" y="7935"/>
                </a:lnTo>
                <a:lnTo>
                  <a:pt x="4368" y="7938"/>
                </a:lnTo>
                <a:lnTo>
                  <a:pt x="4382" y="7946"/>
                </a:lnTo>
                <a:lnTo>
                  <a:pt x="4396" y="7956"/>
                </a:lnTo>
                <a:lnTo>
                  <a:pt x="4410" y="7968"/>
                </a:lnTo>
                <a:lnTo>
                  <a:pt x="4424" y="7981"/>
                </a:lnTo>
                <a:lnTo>
                  <a:pt x="4438" y="7995"/>
                </a:lnTo>
                <a:lnTo>
                  <a:pt x="4452" y="8011"/>
                </a:lnTo>
                <a:lnTo>
                  <a:pt x="4466" y="8026"/>
                </a:lnTo>
                <a:lnTo>
                  <a:pt x="4481" y="8040"/>
                </a:lnTo>
                <a:lnTo>
                  <a:pt x="4495" y="8053"/>
                </a:lnTo>
                <a:lnTo>
                  <a:pt x="4509" y="8065"/>
                </a:lnTo>
                <a:lnTo>
                  <a:pt x="4523" y="8075"/>
                </a:lnTo>
                <a:lnTo>
                  <a:pt x="4536" y="8083"/>
                </a:lnTo>
                <a:lnTo>
                  <a:pt x="4543" y="8086"/>
                </a:lnTo>
                <a:lnTo>
                  <a:pt x="4550" y="8088"/>
                </a:lnTo>
                <a:lnTo>
                  <a:pt x="4556" y="8089"/>
                </a:lnTo>
                <a:lnTo>
                  <a:pt x="4563" y="8090"/>
                </a:lnTo>
                <a:lnTo>
                  <a:pt x="4564" y="8100"/>
                </a:lnTo>
                <a:lnTo>
                  <a:pt x="4564" y="8108"/>
                </a:lnTo>
                <a:lnTo>
                  <a:pt x="4563" y="8116"/>
                </a:lnTo>
                <a:lnTo>
                  <a:pt x="4563" y="8123"/>
                </a:lnTo>
                <a:lnTo>
                  <a:pt x="4562" y="8130"/>
                </a:lnTo>
                <a:lnTo>
                  <a:pt x="4562" y="8135"/>
                </a:lnTo>
                <a:lnTo>
                  <a:pt x="4562" y="8140"/>
                </a:lnTo>
                <a:lnTo>
                  <a:pt x="4563" y="8144"/>
                </a:lnTo>
                <a:lnTo>
                  <a:pt x="4566" y="8147"/>
                </a:lnTo>
                <a:lnTo>
                  <a:pt x="4570" y="8149"/>
                </a:lnTo>
                <a:lnTo>
                  <a:pt x="4576" y="8151"/>
                </a:lnTo>
                <a:lnTo>
                  <a:pt x="4585" y="8152"/>
                </a:lnTo>
                <a:lnTo>
                  <a:pt x="4610" y="8154"/>
                </a:lnTo>
                <a:lnTo>
                  <a:pt x="4648" y="8154"/>
                </a:lnTo>
                <a:lnTo>
                  <a:pt x="4658" y="8144"/>
                </a:lnTo>
                <a:lnTo>
                  <a:pt x="4681" y="8125"/>
                </a:lnTo>
                <a:lnTo>
                  <a:pt x="4694" y="8113"/>
                </a:lnTo>
                <a:lnTo>
                  <a:pt x="4706" y="8099"/>
                </a:lnTo>
                <a:lnTo>
                  <a:pt x="4711" y="8092"/>
                </a:lnTo>
                <a:lnTo>
                  <a:pt x="4716" y="8084"/>
                </a:lnTo>
                <a:lnTo>
                  <a:pt x="4719" y="8077"/>
                </a:lnTo>
                <a:lnTo>
                  <a:pt x="4721" y="8069"/>
                </a:lnTo>
                <a:lnTo>
                  <a:pt x="4714" y="8066"/>
                </a:lnTo>
                <a:lnTo>
                  <a:pt x="4708" y="8064"/>
                </a:lnTo>
                <a:lnTo>
                  <a:pt x="4702" y="8061"/>
                </a:lnTo>
                <a:lnTo>
                  <a:pt x="4698" y="8057"/>
                </a:lnTo>
                <a:lnTo>
                  <a:pt x="4694" y="8054"/>
                </a:lnTo>
                <a:lnTo>
                  <a:pt x="4691" y="8049"/>
                </a:lnTo>
                <a:lnTo>
                  <a:pt x="4689" y="8045"/>
                </a:lnTo>
                <a:lnTo>
                  <a:pt x="4687" y="8040"/>
                </a:lnTo>
                <a:lnTo>
                  <a:pt x="4686" y="8035"/>
                </a:lnTo>
                <a:lnTo>
                  <a:pt x="4686" y="8030"/>
                </a:lnTo>
                <a:lnTo>
                  <a:pt x="4687" y="8024"/>
                </a:lnTo>
                <a:lnTo>
                  <a:pt x="4688" y="8019"/>
                </a:lnTo>
                <a:lnTo>
                  <a:pt x="4691" y="8007"/>
                </a:lnTo>
                <a:lnTo>
                  <a:pt x="4697" y="7994"/>
                </a:lnTo>
                <a:lnTo>
                  <a:pt x="4704" y="7983"/>
                </a:lnTo>
                <a:lnTo>
                  <a:pt x="4712" y="7971"/>
                </a:lnTo>
                <a:lnTo>
                  <a:pt x="4721" y="7960"/>
                </a:lnTo>
                <a:lnTo>
                  <a:pt x="4733" y="7950"/>
                </a:lnTo>
                <a:lnTo>
                  <a:pt x="4743" y="7940"/>
                </a:lnTo>
                <a:lnTo>
                  <a:pt x="4754" y="7932"/>
                </a:lnTo>
                <a:lnTo>
                  <a:pt x="4765" y="7926"/>
                </a:lnTo>
                <a:lnTo>
                  <a:pt x="4775" y="7921"/>
                </a:lnTo>
                <a:lnTo>
                  <a:pt x="4775" y="7927"/>
                </a:lnTo>
                <a:lnTo>
                  <a:pt x="4776" y="7933"/>
                </a:lnTo>
                <a:lnTo>
                  <a:pt x="4777" y="7937"/>
                </a:lnTo>
                <a:lnTo>
                  <a:pt x="4779" y="7941"/>
                </a:lnTo>
                <a:lnTo>
                  <a:pt x="4782" y="7944"/>
                </a:lnTo>
                <a:lnTo>
                  <a:pt x="4784" y="7946"/>
                </a:lnTo>
                <a:lnTo>
                  <a:pt x="4788" y="7948"/>
                </a:lnTo>
                <a:lnTo>
                  <a:pt x="4791" y="7948"/>
                </a:lnTo>
                <a:lnTo>
                  <a:pt x="4799" y="7948"/>
                </a:lnTo>
                <a:lnTo>
                  <a:pt x="4808" y="7945"/>
                </a:lnTo>
                <a:lnTo>
                  <a:pt x="4817" y="7941"/>
                </a:lnTo>
                <a:lnTo>
                  <a:pt x="4827" y="7936"/>
                </a:lnTo>
                <a:lnTo>
                  <a:pt x="4837" y="7929"/>
                </a:lnTo>
                <a:lnTo>
                  <a:pt x="4846" y="7922"/>
                </a:lnTo>
                <a:lnTo>
                  <a:pt x="4856" y="7914"/>
                </a:lnTo>
                <a:lnTo>
                  <a:pt x="4864" y="7907"/>
                </a:lnTo>
                <a:lnTo>
                  <a:pt x="4876" y="7896"/>
                </a:lnTo>
                <a:lnTo>
                  <a:pt x="4881" y="7889"/>
                </a:lnTo>
                <a:lnTo>
                  <a:pt x="4904" y="7881"/>
                </a:lnTo>
                <a:lnTo>
                  <a:pt x="4943" y="7865"/>
                </a:lnTo>
                <a:lnTo>
                  <a:pt x="4981" y="7852"/>
                </a:lnTo>
                <a:lnTo>
                  <a:pt x="4997" y="7846"/>
                </a:lnTo>
                <a:lnTo>
                  <a:pt x="4998" y="7839"/>
                </a:lnTo>
                <a:lnTo>
                  <a:pt x="4998" y="7832"/>
                </a:lnTo>
                <a:lnTo>
                  <a:pt x="4999" y="7827"/>
                </a:lnTo>
                <a:lnTo>
                  <a:pt x="5001" y="7822"/>
                </a:lnTo>
                <a:lnTo>
                  <a:pt x="5002" y="7819"/>
                </a:lnTo>
                <a:lnTo>
                  <a:pt x="5004" y="7816"/>
                </a:lnTo>
                <a:lnTo>
                  <a:pt x="5006" y="7814"/>
                </a:lnTo>
                <a:lnTo>
                  <a:pt x="5009" y="7812"/>
                </a:lnTo>
                <a:lnTo>
                  <a:pt x="5011" y="7812"/>
                </a:lnTo>
                <a:lnTo>
                  <a:pt x="5014" y="7812"/>
                </a:lnTo>
                <a:lnTo>
                  <a:pt x="5017" y="7812"/>
                </a:lnTo>
                <a:lnTo>
                  <a:pt x="5019" y="7813"/>
                </a:lnTo>
                <a:lnTo>
                  <a:pt x="5025" y="7817"/>
                </a:lnTo>
                <a:lnTo>
                  <a:pt x="5029" y="7823"/>
                </a:lnTo>
                <a:lnTo>
                  <a:pt x="5034" y="7830"/>
                </a:lnTo>
                <a:lnTo>
                  <a:pt x="5037" y="7838"/>
                </a:lnTo>
                <a:lnTo>
                  <a:pt x="5039" y="7847"/>
                </a:lnTo>
                <a:lnTo>
                  <a:pt x="5039" y="7856"/>
                </a:lnTo>
                <a:lnTo>
                  <a:pt x="5039" y="7860"/>
                </a:lnTo>
                <a:lnTo>
                  <a:pt x="5038" y="7865"/>
                </a:lnTo>
                <a:lnTo>
                  <a:pt x="5036" y="7869"/>
                </a:lnTo>
                <a:lnTo>
                  <a:pt x="5034" y="7873"/>
                </a:lnTo>
                <a:lnTo>
                  <a:pt x="5031" y="7878"/>
                </a:lnTo>
                <a:lnTo>
                  <a:pt x="5027" y="7882"/>
                </a:lnTo>
                <a:lnTo>
                  <a:pt x="5023" y="7886"/>
                </a:lnTo>
                <a:lnTo>
                  <a:pt x="5018" y="7889"/>
                </a:lnTo>
                <a:lnTo>
                  <a:pt x="5013" y="7889"/>
                </a:lnTo>
                <a:lnTo>
                  <a:pt x="5008" y="7890"/>
                </a:lnTo>
                <a:lnTo>
                  <a:pt x="5004" y="7892"/>
                </a:lnTo>
                <a:lnTo>
                  <a:pt x="4999" y="7893"/>
                </a:lnTo>
                <a:lnTo>
                  <a:pt x="4992" y="7898"/>
                </a:lnTo>
                <a:lnTo>
                  <a:pt x="4985" y="7904"/>
                </a:lnTo>
                <a:lnTo>
                  <a:pt x="4980" y="7911"/>
                </a:lnTo>
                <a:lnTo>
                  <a:pt x="4974" y="7919"/>
                </a:lnTo>
                <a:lnTo>
                  <a:pt x="4970" y="7928"/>
                </a:lnTo>
                <a:lnTo>
                  <a:pt x="4966" y="7937"/>
                </a:lnTo>
                <a:lnTo>
                  <a:pt x="4959" y="7954"/>
                </a:lnTo>
                <a:lnTo>
                  <a:pt x="4952" y="7969"/>
                </a:lnTo>
                <a:lnTo>
                  <a:pt x="4948" y="7975"/>
                </a:lnTo>
                <a:lnTo>
                  <a:pt x="4944" y="7980"/>
                </a:lnTo>
                <a:lnTo>
                  <a:pt x="4941" y="7982"/>
                </a:lnTo>
                <a:lnTo>
                  <a:pt x="4939" y="7983"/>
                </a:lnTo>
                <a:lnTo>
                  <a:pt x="4936" y="7984"/>
                </a:lnTo>
                <a:lnTo>
                  <a:pt x="4933" y="7984"/>
                </a:lnTo>
                <a:lnTo>
                  <a:pt x="4928" y="8010"/>
                </a:lnTo>
                <a:lnTo>
                  <a:pt x="4921" y="8034"/>
                </a:lnTo>
                <a:lnTo>
                  <a:pt x="4914" y="8058"/>
                </a:lnTo>
                <a:lnTo>
                  <a:pt x="4906" y="8082"/>
                </a:lnTo>
                <a:lnTo>
                  <a:pt x="4898" y="8105"/>
                </a:lnTo>
                <a:lnTo>
                  <a:pt x="4891" y="8130"/>
                </a:lnTo>
                <a:lnTo>
                  <a:pt x="4884" y="8153"/>
                </a:lnTo>
                <a:lnTo>
                  <a:pt x="4877" y="8178"/>
                </a:lnTo>
                <a:lnTo>
                  <a:pt x="4874" y="8192"/>
                </a:lnTo>
                <a:lnTo>
                  <a:pt x="4873" y="8205"/>
                </a:lnTo>
                <a:lnTo>
                  <a:pt x="4874" y="8216"/>
                </a:lnTo>
                <a:lnTo>
                  <a:pt x="4875" y="8227"/>
                </a:lnTo>
                <a:lnTo>
                  <a:pt x="4878" y="8236"/>
                </a:lnTo>
                <a:lnTo>
                  <a:pt x="4882" y="8245"/>
                </a:lnTo>
                <a:lnTo>
                  <a:pt x="4885" y="8255"/>
                </a:lnTo>
                <a:lnTo>
                  <a:pt x="4890" y="8263"/>
                </a:lnTo>
                <a:lnTo>
                  <a:pt x="4894" y="8271"/>
                </a:lnTo>
                <a:lnTo>
                  <a:pt x="4898" y="8279"/>
                </a:lnTo>
                <a:lnTo>
                  <a:pt x="4901" y="8288"/>
                </a:lnTo>
                <a:lnTo>
                  <a:pt x="4904" y="8297"/>
                </a:lnTo>
                <a:lnTo>
                  <a:pt x="4905" y="8307"/>
                </a:lnTo>
                <a:lnTo>
                  <a:pt x="4906" y="8318"/>
                </a:lnTo>
                <a:lnTo>
                  <a:pt x="4905" y="8330"/>
                </a:lnTo>
                <a:lnTo>
                  <a:pt x="4902" y="8344"/>
                </a:lnTo>
                <a:lnTo>
                  <a:pt x="4917" y="8346"/>
                </a:lnTo>
                <a:lnTo>
                  <a:pt x="4933" y="8348"/>
                </a:lnTo>
                <a:lnTo>
                  <a:pt x="4949" y="8349"/>
                </a:lnTo>
                <a:lnTo>
                  <a:pt x="4965" y="8350"/>
                </a:lnTo>
                <a:lnTo>
                  <a:pt x="4997" y="8351"/>
                </a:lnTo>
                <a:lnTo>
                  <a:pt x="5029" y="8350"/>
                </a:lnTo>
                <a:lnTo>
                  <a:pt x="5060" y="8348"/>
                </a:lnTo>
                <a:lnTo>
                  <a:pt x="5092" y="8346"/>
                </a:lnTo>
                <a:lnTo>
                  <a:pt x="5124" y="8345"/>
                </a:lnTo>
                <a:lnTo>
                  <a:pt x="5156" y="8344"/>
                </a:lnTo>
                <a:lnTo>
                  <a:pt x="5155" y="8333"/>
                </a:lnTo>
                <a:lnTo>
                  <a:pt x="5153" y="8322"/>
                </a:lnTo>
                <a:lnTo>
                  <a:pt x="5150" y="8312"/>
                </a:lnTo>
                <a:lnTo>
                  <a:pt x="5145" y="8302"/>
                </a:lnTo>
                <a:lnTo>
                  <a:pt x="5156" y="8303"/>
                </a:lnTo>
                <a:lnTo>
                  <a:pt x="5165" y="8304"/>
                </a:lnTo>
                <a:lnTo>
                  <a:pt x="5174" y="8308"/>
                </a:lnTo>
                <a:lnTo>
                  <a:pt x="5181" y="8312"/>
                </a:lnTo>
                <a:lnTo>
                  <a:pt x="5187" y="8317"/>
                </a:lnTo>
                <a:lnTo>
                  <a:pt x="5192" y="8323"/>
                </a:lnTo>
                <a:lnTo>
                  <a:pt x="5196" y="8330"/>
                </a:lnTo>
                <a:lnTo>
                  <a:pt x="5199" y="8338"/>
                </a:lnTo>
                <a:lnTo>
                  <a:pt x="5202" y="8346"/>
                </a:lnTo>
                <a:lnTo>
                  <a:pt x="5204" y="8355"/>
                </a:lnTo>
                <a:lnTo>
                  <a:pt x="5205" y="8365"/>
                </a:lnTo>
                <a:lnTo>
                  <a:pt x="5206" y="8375"/>
                </a:lnTo>
                <a:lnTo>
                  <a:pt x="5206" y="8397"/>
                </a:lnTo>
                <a:lnTo>
                  <a:pt x="5205" y="8418"/>
                </a:lnTo>
                <a:lnTo>
                  <a:pt x="5204" y="8440"/>
                </a:lnTo>
                <a:lnTo>
                  <a:pt x="5202" y="8461"/>
                </a:lnTo>
                <a:lnTo>
                  <a:pt x="5202" y="8480"/>
                </a:lnTo>
                <a:lnTo>
                  <a:pt x="5202" y="8497"/>
                </a:lnTo>
                <a:lnTo>
                  <a:pt x="5203" y="8506"/>
                </a:lnTo>
                <a:lnTo>
                  <a:pt x="5205" y="8513"/>
                </a:lnTo>
                <a:lnTo>
                  <a:pt x="5207" y="8519"/>
                </a:lnTo>
                <a:lnTo>
                  <a:pt x="5210" y="8525"/>
                </a:lnTo>
                <a:lnTo>
                  <a:pt x="5213" y="8529"/>
                </a:lnTo>
                <a:lnTo>
                  <a:pt x="5218" y="8532"/>
                </a:lnTo>
                <a:lnTo>
                  <a:pt x="5223" y="8534"/>
                </a:lnTo>
                <a:lnTo>
                  <a:pt x="5230" y="8535"/>
                </a:lnTo>
                <a:lnTo>
                  <a:pt x="5231" y="8551"/>
                </a:lnTo>
                <a:lnTo>
                  <a:pt x="5232" y="8566"/>
                </a:lnTo>
                <a:lnTo>
                  <a:pt x="5234" y="8582"/>
                </a:lnTo>
                <a:lnTo>
                  <a:pt x="5237" y="8597"/>
                </a:lnTo>
                <a:lnTo>
                  <a:pt x="5244" y="8625"/>
                </a:lnTo>
                <a:lnTo>
                  <a:pt x="5251" y="8653"/>
                </a:lnTo>
                <a:lnTo>
                  <a:pt x="5259" y="8678"/>
                </a:lnTo>
                <a:lnTo>
                  <a:pt x="5266" y="8702"/>
                </a:lnTo>
                <a:lnTo>
                  <a:pt x="5268" y="8714"/>
                </a:lnTo>
                <a:lnTo>
                  <a:pt x="5270" y="8725"/>
                </a:lnTo>
                <a:lnTo>
                  <a:pt x="5272" y="8735"/>
                </a:lnTo>
                <a:lnTo>
                  <a:pt x="5272" y="8746"/>
                </a:lnTo>
                <a:lnTo>
                  <a:pt x="5282" y="8753"/>
                </a:lnTo>
                <a:lnTo>
                  <a:pt x="5292" y="8762"/>
                </a:lnTo>
                <a:lnTo>
                  <a:pt x="5301" y="8769"/>
                </a:lnTo>
                <a:lnTo>
                  <a:pt x="5310" y="8778"/>
                </a:lnTo>
                <a:lnTo>
                  <a:pt x="5318" y="8786"/>
                </a:lnTo>
                <a:lnTo>
                  <a:pt x="5325" y="8795"/>
                </a:lnTo>
                <a:lnTo>
                  <a:pt x="5331" y="8804"/>
                </a:lnTo>
                <a:lnTo>
                  <a:pt x="5337" y="8814"/>
                </a:lnTo>
                <a:lnTo>
                  <a:pt x="5341" y="8824"/>
                </a:lnTo>
                <a:lnTo>
                  <a:pt x="5345" y="8834"/>
                </a:lnTo>
                <a:lnTo>
                  <a:pt x="5348" y="8845"/>
                </a:lnTo>
                <a:lnTo>
                  <a:pt x="5350" y="8856"/>
                </a:lnTo>
                <a:lnTo>
                  <a:pt x="5350" y="8867"/>
                </a:lnTo>
                <a:lnTo>
                  <a:pt x="5350" y="8879"/>
                </a:lnTo>
                <a:lnTo>
                  <a:pt x="5348" y="8892"/>
                </a:lnTo>
                <a:lnTo>
                  <a:pt x="5346" y="8905"/>
                </a:lnTo>
                <a:lnTo>
                  <a:pt x="5376" y="8909"/>
                </a:lnTo>
                <a:lnTo>
                  <a:pt x="5410" y="8912"/>
                </a:lnTo>
                <a:lnTo>
                  <a:pt x="5429" y="8913"/>
                </a:lnTo>
                <a:lnTo>
                  <a:pt x="5447" y="8913"/>
                </a:lnTo>
                <a:lnTo>
                  <a:pt x="5465" y="8913"/>
                </a:lnTo>
                <a:lnTo>
                  <a:pt x="5484" y="8911"/>
                </a:lnTo>
                <a:lnTo>
                  <a:pt x="5501" y="8909"/>
                </a:lnTo>
                <a:lnTo>
                  <a:pt x="5517" y="8904"/>
                </a:lnTo>
                <a:lnTo>
                  <a:pt x="5524" y="8902"/>
                </a:lnTo>
                <a:lnTo>
                  <a:pt x="5531" y="8899"/>
                </a:lnTo>
                <a:lnTo>
                  <a:pt x="5537" y="8895"/>
                </a:lnTo>
                <a:lnTo>
                  <a:pt x="5543" y="8892"/>
                </a:lnTo>
                <a:lnTo>
                  <a:pt x="5549" y="8887"/>
                </a:lnTo>
                <a:lnTo>
                  <a:pt x="5554" y="8881"/>
                </a:lnTo>
                <a:lnTo>
                  <a:pt x="5558" y="8876"/>
                </a:lnTo>
                <a:lnTo>
                  <a:pt x="5561" y="8870"/>
                </a:lnTo>
                <a:lnTo>
                  <a:pt x="5564" y="8864"/>
                </a:lnTo>
                <a:lnTo>
                  <a:pt x="5566" y="8857"/>
                </a:lnTo>
                <a:lnTo>
                  <a:pt x="5567" y="8849"/>
                </a:lnTo>
                <a:lnTo>
                  <a:pt x="5568" y="8841"/>
                </a:lnTo>
                <a:lnTo>
                  <a:pt x="5587" y="8842"/>
                </a:lnTo>
                <a:lnTo>
                  <a:pt x="5603" y="8844"/>
                </a:lnTo>
                <a:lnTo>
                  <a:pt x="5619" y="8848"/>
                </a:lnTo>
                <a:lnTo>
                  <a:pt x="5631" y="8854"/>
                </a:lnTo>
                <a:lnTo>
                  <a:pt x="5642" y="8860"/>
                </a:lnTo>
                <a:lnTo>
                  <a:pt x="5651" y="8868"/>
                </a:lnTo>
                <a:lnTo>
                  <a:pt x="5658" y="8877"/>
                </a:lnTo>
                <a:lnTo>
                  <a:pt x="5664" y="8888"/>
                </a:lnTo>
                <a:lnTo>
                  <a:pt x="5669" y="8899"/>
                </a:lnTo>
                <a:lnTo>
                  <a:pt x="5673" y="8910"/>
                </a:lnTo>
                <a:lnTo>
                  <a:pt x="5675" y="8922"/>
                </a:lnTo>
                <a:lnTo>
                  <a:pt x="5676" y="8935"/>
                </a:lnTo>
                <a:lnTo>
                  <a:pt x="5677" y="8948"/>
                </a:lnTo>
                <a:lnTo>
                  <a:pt x="5677" y="8962"/>
                </a:lnTo>
                <a:lnTo>
                  <a:pt x="5676" y="8975"/>
                </a:lnTo>
                <a:lnTo>
                  <a:pt x="5674" y="8989"/>
                </a:lnTo>
                <a:lnTo>
                  <a:pt x="5693" y="8988"/>
                </a:lnTo>
                <a:lnTo>
                  <a:pt x="5710" y="8987"/>
                </a:lnTo>
                <a:lnTo>
                  <a:pt x="5725" y="8984"/>
                </a:lnTo>
                <a:lnTo>
                  <a:pt x="5740" y="8980"/>
                </a:lnTo>
                <a:lnTo>
                  <a:pt x="5752" y="8975"/>
                </a:lnTo>
                <a:lnTo>
                  <a:pt x="5762" y="8970"/>
                </a:lnTo>
                <a:lnTo>
                  <a:pt x="5771" y="8963"/>
                </a:lnTo>
                <a:lnTo>
                  <a:pt x="5778" y="8956"/>
                </a:lnTo>
                <a:lnTo>
                  <a:pt x="5785" y="8949"/>
                </a:lnTo>
                <a:lnTo>
                  <a:pt x="5790" y="8940"/>
                </a:lnTo>
                <a:lnTo>
                  <a:pt x="5795" y="8932"/>
                </a:lnTo>
                <a:lnTo>
                  <a:pt x="5798" y="8923"/>
                </a:lnTo>
                <a:lnTo>
                  <a:pt x="5801" y="8913"/>
                </a:lnTo>
                <a:lnTo>
                  <a:pt x="5803" y="8904"/>
                </a:lnTo>
                <a:lnTo>
                  <a:pt x="5804" y="8894"/>
                </a:lnTo>
                <a:lnTo>
                  <a:pt x="5805" y="8884"/>
                </a:lnTo>
                <a:lnTo>
                  <a:pt x="5807" y="8844"/>
                </a:lnTo>
                <a:lnTo>
                  <a:pt x="5809" y="8811"/>
                </a:lnTo>
                <a:lnTo>
                  <a:pt x="5811" y="8804"/>
                </a:lnTo>
                <a:lnTo>
                  <a:pt x="5813" y="8797"/>
                </a:lnTo>
                <a:lnTo>
                  <a:pt x="5816" y="8792"/>
                </a:lnTo>
                <a:lnTo>
                  <a:pt x="5819" y="8787"/>
                </a:lnTo>
                <a:lnTo>
                  <a:pt x="5823" y="8783"/>
                </a:lnTo>
                <a:lnTo>
                  <a:pt x="5829" y="8780"/>
                </a:lnTo>
                <a:lnTo>
                  <a:pt x="5835" y="8779"/>
                </a:lnTo>
                <a:lnTo>
                  <a:pt x="5843" y="8778"/>
                </a:lnTo>
                <a:lnTo>
                  <a:pt x="5846" y="8766"/>
                </a:lnTo>
                <a:lnTo>
                  <a:pt x="5850" y="8758"/>
                </a:lnTo>
                <a:lnTo>
                  <a:pt x="5852" y="8753"/>
                </a:lnTo>
                <a:lnTo>
                  <a:pt x="5855" y="8750"/>
                </a:lnTo>
                <a:lnTo>
                  <a:pt x="5857" y="8748"/>
                </a:lnTo>
                <a:lnTo>
                  <a:pt x="5861" y="8747"/>
                </a:lnTo>
                <a:lnTo>
                  <a:pt x="5864" y="8746"/>
                </a:lnTo>
                <a:lnTo>
                  <a:pt x="5866" y="8746"/>
                </a:lnTo>
                <a:lnTo>
                  <a:pt x="5870" y="8746"/>
                </a:lnTo>
                <a:lnTo>
                  <a:pt x="5873" y="8747"/>
                </a:lnTo>
                <a:lnTo>
                  <a:pt x="5879" y="8752"/>
                </a:lnTo>
                <a:lnTo>
                  <a:pt x="5887" y="8760"/>
                </a:lnTo>
                <a:lnTo>
                  <a:pt x="5895" y="8763"/>
                </a:lnTo>
                <a:lnTo>
                  <a:pt x="5903" y="8765"/>
                </a:lnTo>
                <a:lnTo>
                  <a:pt x="5910" y="8764"/>
                </a:lnTo>
                <a:lnTo>
                  <a:pt x="5918" y="8763"/>
                </a:lnTo>
                <a:lnTo>
                  <a:pt x="5925" y="8760"/>
                </a:lnTo>
                <a:lnTo>
                  <a:pt x="5932" y="8754"/>
                </a:lnTo>
                <a:lnTo>
                  <a:pt x="5939" y="8749"/>
                </a:lnTo>
                <a:lnTo>
                  <a:pt x="5945" y="8743"/>
                </a:lnTo>
                <a:lnTo>
                  <a:pt x="5959" y="8730"/>
                </a:lnTo>
                <a:lnTo>
                  <a:pt x="5972" y="8717"/>
                </a:lnTo>
                <a:lnTo>
                  <a:pt x="5986" y="8704"/>
                </a:lnTo>
                <a:lnTo>
                  <a:pt x="5999" y="8694"/>
                </a:lnTo>
                <a:lnTo>
                  <a:pt x="6011" y="8687"/>
                </a:lnTo>
                <a:lnTo>
                  <a:pt x="6028" y="8677"/>
                </a:lnTo>
                <a:lnTo>
                  <a:pt x="6045" y="8668"/>
                </a:lnTo>
                <a:lnTo>
                  <a:pt x="6055" y="8665"/>
                </a:lnTo>
                <a:lnTo>
                  <a:pt x="6073" y="8674"/>
                </a:lnTo>
                <a:lnTo>
                  <a:pt x="6084" y="8680"/>
                </a:lnTo>
                <a:lnTo>
                  <a:pt x="6088" y="8683"/>
                </a:lnTo>
                <a:lnTo>
                  <a:pt x="6092" y="8686"/>
                </a:lnTo>
                <a:lnTo>
                  <a:pt x="6096" y="8691"/>
                </a:lnTo>
                <a:lnTo>
                  <a:pt x="6100" y="8697"/>
                </a:lnTo>
                <a:lnTo>
                  <a:pt x="6112" y="8697"/>
                </a:lnTo>
                <a:lnTo>
                  <a:pt x="6123" y="8696"/>
                </a:lnTo>
                <a:lnTo>
                  <a:pt x="6133" y="8694"/>
                </a:lnTo>
                <a:lnTo>
                  <a:pt x="6144" y="8691"/>
                </a:lnTo>
                <a:lnTo>
                  <a:pt x="6166" y="8685"/>
                </a:lnTo>
                <a:lnTo>
                  <a:pt x="6187" y="8676"/>
                </a:lnTo>
                <a:lnTo>
                  <a:pt x="6207" y="8666"/>
                </a:lnTo>
                <a:lnTo>
                  <a:pt x="6228" y="8655"/>
                </a:lnTo>
                <a:lnTo>
                  <a:pt x="6248" y="8643"/>
                </a:lnTo>
                <a:lnTo>
                  <a:pt x="6267" y="8629"/>
                </a:lnTo>
                <a:lnTo>
                  <a:pt x="6274" y="8630"/>
                </a:lnTo>
                <a:lnTo>
                  <a:pt x="6280" y="8633"/>
                </a:lnTo>
                <a:lnTo>
                  <a:pt x="6286" y="8636"/>
                </a:lnTo>
                <a:lnTo>
                  <a:pt x="6291" y="8640"/>
                </a:lnTo>
                <a:lnTo>
                  <a:pt x="6296" y="8645"/>
                </a:lnTo>
                <a:lnTo>
                  <a:pt x="6301" y="8649"/>
                </a:lnTo>
                <a:lnTo>
                  <a:pt x="6305" y="8655"/>
                </a:lnTo>
                <a:lnTo>
                  <a:pt x="6309" y="8661"/>
                </a:lnTo>
                <a:lnTo>
                  <a:pt x="6324" y="8689"/>
                </a:lnTo>
                <a:lnTo>
                  <a:pt x="6339" y="8721"/>
                </a:lnTo>
                <a:lnTo>
                  <a:pt x="6347" y="8737"/>
                </a:lnTo>
                <a:lnTo>
                  <a:pt x="6357" y="8753"/>
                </a:lnTo>
                <a:lnTo>
                  <a:pt x="6362" y="8761"/>
                </a:lnTo>
                <a:lnTo>
                  <a:pt x="6369" y="8768"/>
                </a:lnTo>
                <a:lnTo>
                  <a:pt x="6375" y="8775"/>
                </a:lnTo>
                <a:lnTo>
                  <a:pt x="6382" y="8782"/>
                </a:lnTo>
                <a:lnTo>
                  <a:pt x="6389" y="8788"/>
                </a:lnTo>
                <a:lnTo>
                  <a:pt x="6397" y="8793"/>
                </a:lnTo>
                <a:lnTo>
                  <a:pt x="6406" y="8798"/>
                </a:lnTo>
                <a:lnTo>
                  <a:pt x="6415" y="8803"/>
                </a:lnTo>
                <a:lnTo>
                  <a:pt x="6425" y="8807"/>
                </a:lnTo>
                <a:lnTo>
                  <a:pt x="6436" y="8810"/>
                </a:lnTo>
                <a:lnTo>
                  <a:pt x="6448" y="8812"/>
                </a:lnTo>
                <a:lnTo>
                  <a:pt x="6461" y="8813"/>
                </a:lnTo>
                <a:lnTo>
                  <a:pt x="6486" y="8815"/>
                </a:lnTo>
                <a:lnTo>
                  <a:pt x="6516" y="8818"/>
                </a:lnTo>
                <a:lnTo>
                  <a:pt x="6549" y="8820"/>
                </a:lnTo>
                <a:lnTo>
                  <a:pt x="6584" y="8820"/>
                </a:lnTo>
                <a:lnTo>
                  <a:pt x="6601" y="8820"/>
                </a:lnTo>
                <a:lnTo>
                  <a:pt x="6619" y="8820"/>
                </a:lnTo>
                <a:lnTo>
                  <a:pt x="6635" y="8818"/>
                </a:lnTo>
                <a:lnTo>
                  <a:pt x="6651" y="8816"/>
                </a:lnTo>
                <a:lnTo>
                  <a:pt x="6665" y="8814"/>
                </a:lnTo>
                <a:lnTo>
                  <a:pt x="6679" y="8810"/>
                </a:lnTo>
                <a:lnTo>
                  <a:pt x="6690" y="8805"/>
                </a:lnTo>
                <a:lnTo>
                  <a:pt x="6701" y="8799"/>
                </a:lnTo>
                <a:lnTo>
                  <a:pt x="6703" y="8798"/>
                </a:lnTo>
                <a:lnTo>
                  <a:pt x="6707" y="8798"/>
                </a:lnTo>
                <a:lnTo>
                  <a:pt x="6710" y="8799"/>
                </a:lnTo>
                <a:lnTo>
                  <a:pt x="6715" y="8801"/>
                </a:lnTo>
                <a:lnTo>
                  <a:pt x="6724" y="8806"/>
                </a:lnTo>
                <a:lnTo>
                  <a:pt x="6734" y="8812"/>
                </a:lnTo>
                <a:lnTo>
                  <a:pt x="6745" y="8820"/>
                </a:lnTo>
                <a:lnTo>
                  <a:pt x="6754" y="8829"/>
                </a:lnTo>
                <a:lnTo>
                  <a:pt x="6760" y="8837"/>
                </a:lnTo>
                <a:lnTo>
                  <a:pt x="6764" y="8843"/>
                </a:lnTo>
                <a:lnTo>
                  <a:pt x="6772" y="8844"/>
                </a:lnTo>
                <a:lnTo>
                  <a:pt x="6779" y="8845"/>
                </a:lnTo>
                <a:lnTo>
                  <a:pt x="6785" y="8847"/>
                </a:lnTo>
                <a:lnTo>
                  <a:pt x="6791" y="8850"/>
                </a:lnTo>
                <a:lnTo>
                  <a:pt x="6795" y="8853"/>
                </a:lnTo>
                <a:lnTo>
                  <a:pt x="6799" y="8856"/>
                </a:lnTo>
                <a:lnTo>
                  <a:pt x="6802" y="8860"/>
                </a:lnTo>
                <a:lnTo>
                  <a:pt x="6805" y="8864"/>
                </a:lnTo>
                <a:lnTo>
                  <a:pt x="6811" y="8871"/>
                </a:lnTo>
                <a:lnTo>
                  <a:pt x="6815" y="8878"/>
                </a:lnTo>
                <a:lnTo>
                  <a:pt x="6818" y="8880"/>
                </a:lnTo>
                <a:lnTo>
                  <a:pt x="6821" y="8882"/>
                </a:lnTo>
                <a:lnTo>
                  <a:pt x="6824" y="8884"/>
                </a:lnTo>
                <a:lnTo>
                  <a:pt x="6827" y="8884"/>
                </a:lnTo>
                <a:lnTo>
                  <a:pt x="6829" y="8888"/>
                </a:lnTo>
                <a:lnTo>
                  <a:pt x="6831" y="8890"/>
                </a:lnTo>
                <a:lnTo>
                  <a:pt x="6834" y="8893"/>
                </a:lnTo>
                <a:lnTo>
                  <a:pt x="6836" y="8894"/>
                </a:lnTo>
                <a:lnTo>
                  <a:pt x="6839" y="8895"/>
                </a:lnTo>
                <a:lnTo>
                  <a:pt x="6842" y="8896"/>
                </a:lnTo>
                <a:lnTo>
                  <a:pt x="6845" y="8896"/>
                </a:lnTo>
                <a:lnTo>
                  <a:pt x="6848" y="8895"/>
                </a:lnTo>
                <a:lnTo>
                  <a:pt x="6850" y="8898"/>
                </a:lnTo>
                <a:lnTo>
                  <a:pt x="6852" y="8901"/>
                </a:lnTo>
                <a:lnTo>
                  <a:pt x="6855" y="8904"/>
                </a:lnTo>
                <a:lnTo>
                  <a:pt x="6858" y="8907"/>
                </a:lnTo>
                <a:lnTo>
                  <a:pt x="6866" y="8913"/>
                </a:lnTo>
                <a:lnTo>
                  <a:pt x="6876" y="8919"/>
                </a:lnTo>
                <a:lnTo>
                  <a:pt x="6886" y="8928"/>
                </a:lnTo>
                <a:lnTo>
                  <a:pt x="6895" y="8938"/>
                </a:lnTo>
                <a:lnTo>
                  <a:pt x="6900" y="8944"/>
                </a:lnTo>
                <a:lnTo>
                  <a:pt x="6905" y="8951"/>
                </a:lnTo>
                <a:lnTo>
                  <a:pt x="6909" y="8959"/>
                </a:lnTo>
                <a:lnTo>
                  <a:pt x="6913" y="8968"/>
                </a:lnTo>
                <a:lnTo>
                  <a:pt x="6913" y="8972"/>
                </a:lnTo>
                <a:lnTo>
                  <a:pt x="6914" y="8976"/>
                </a:lnTo>
                <a:lnTo>
                  <a:pt x="6915" y="8980"/>
                </a:lnTo>
                <a:lnTo>
                  <a:pt x="6917" y="8984"/>
                </a:lnTo>
                <a:lnTo>
                  <a:pt x="6921" y="8990"/>
                </a:lnTo>
                <a:lnTo>
                  <a:pt x="6927" y="8996"/>
                </a:lnTo>
                <a:lnTo>
                  <a:pt x="6935" y="9002"/>
                </a:lnTo>
                <a:lnTo>
                  <a:pt x="6943" y="9007"/>
                </a:lnTo>
                <a:lnTo>
                  <a:pt x="6951" y="9012"/>
                </a:lnTo>
                <a:lnTo>
                  <a:pt x="6960" y="9017"/>
                </a:lnTo>
                <a:lnTo>
                  <a:pt x="6977" y="9025"/>
                </a:lnTo>
                <a:lnTo>
                  <a:pt x="6992" y="9034"/>
                </a:lnTo>
                <a:lnTo>
                  <a:pt x="6999" y="9038"/>
                </a:lnTo>
                <a:lnTo>
                  <a:pt x="7004" y="9043"/>
                </a:lnTo>
                <a:lnTo>
                  <a:pt x="7007" y="9048"/>
                </a:lnTo>
                <a:lnTo>
                  <a:pt x="7008" y="9053"/>
                </a:lnTo>
                <a:lnTo>
                  <a:pt x="7019" y="9059"/>
                </a:lnTo>
                <a:lnTo>
                  <a:pt x="7027" y="9065"/>
                </a:lnTo>
                <a:lnTo>
                  <a:pt x="7032" y="9070"/>
                </a:lnTo>
                <a:lnTo>
                  <a:pt x="7035" y="9075"/>
                </a:lnTo>
                <a:lnTo>
                  <a:pt x="7036" y="9079"/>
                </a:lnTo>
                <a:lnTo>
                  <a:pt x="7036" y="9083"/>
                </a:lnTo>
                <a:lnTo>
                  <a:pt x="7036" y="9088"/>
                </a:lnTo>
                <a:lnTo>
                  <a:pt x="7035" y="9091"/>
                </a:lnTo>
                <a:lnTo>
                  <a:pt x="7035" y="9095"/>
                </a:lnTo>
                <a:lnTo>
                  <a:pt x="7035" y="9099"/>
                </a:lnTo>
                <a:lnTo>
                  <a:pt x="7038" y="9104"/>
                </a:lnTo>
                <a:lnTo>
                  <a:pt x="7042" y="9108"/>
                </a:lnTo>
                <a:lnTo>
                  <a:pt x="7048" y="9112"/>
                </a:lnTo>
                <a:lnTo>
                  <a:pt x="7058" y="9117"/>
                </a:lnTo>
                <a:lnTo>
                  <a:pt x="7071" y="9122"/>
                </a:lnTo>
                <a:lnTo>
                  <a:pt x="7088" y="9128"/>
                </a:lnTo>
                <a:lnTo>
                  <a:pt x="7110" y="9136"/>
                </a:lnTo>
                <a:lnTo>
                  <a:pt x="7132" y="9144"/>
                </a:lnTo>
                <a:lnTo>
                  <a:pt x="7153" y="9152"/>
                </a:lnTo>
                <a:lnTo>
                  <a:pt x="7174" y="9160"/>
                </a:lnTo>
                <a:lnTo>
                  <a:pt x="7195" y="9167"/>
                </a:lnTo>
                <a:lnTo>
                  <a:pt x="7216" y="9173"/>
                </a:lnTo>
                <a:lnTo>
                  <a:pt x="7239" y="9177"/>
                </a:lnTo>
                <a:lnTo>
                  <a:pt x="7262" y="9180"/>
                </a:lnTo>
                <a:lnTo>
                  <a:pt x="7264" y="9173"/>
                </a:lnTo>
                <a:lnTo>
                  <a:pt x="7266" y="9168"/>
                </a:lnTo>
                <a:lnTo>
                  <a:pt x="7269" y="9163"/>
                </a:lnTo>
                <a:lnTo>
                  <a:pt x="7271" y="9159"/>
                </a:lnTo>
                <a:lnTo>
                  <a:pt x="7274" y="9156"/>
                </a:lnTo>
                <a:lnTo>
                  <a:pt x="7277" y="9153"/>
                </a:lnTo>
                <a:lnTo>
                  <a:pt x="7281" y="9151"/>
                </a:lnTo>
                <a:lnTo>
                  <a:pt x="7284" y="9150"/>
                </a:lnTo>
                <a:lnTo>
                  <a:pt x="7291" y="9149"/>
                </a:lnTo>
                <a:lnTo>
                  <a:pt x="7299" y="9151"/>
                </a:lnTo>
                <a:lnTo>
                  <a:pt x="7307" y="9153"/>
                </a:lnTo>
                <a:lnTo>
                  <a:pt x="7315" y="9157"/>
                </a:lnTo>
                <a:lnTo>
                  <a:pt x="7332" y="9168"/>
                </a:lnTo>
                <a:lnTo>
                  <a:pt x="7349" y="9179"/>
                </a:lnTo>
                <a:lnTo>
                  <a:pt x="7357" y="9183"/>
                </a:lnTo>
                <a:lnTo>
                  <a:pt x="7364" y="9187"/>
                </a:lnTo>
                <a:lnTo>
                  <a:pt x="7372" y="9190"/>
                </a:lnTo>
                <a:lnTo>
                  <a:pt x="7379" y="9191"/>
                </a:lnTo>
                <a:lnTo>
                  <a:pt x="7385" y="9201"/>
                </a:lnTo>
                <a:lnTo>
                  <a:pt x="7390" y="9207"/>
                </a:lnTo>
                <a:lnTo>
                  <a:pt x="7395" y="9210"/>
                </a:lnTo>
                <a:lnTo>
                  <a:pt x="7400" y="9212"/>
                </a:lnTo>
                <a:lnTo>
                  <a:pt x="7404" y="9213"/>
                </a:lnTo>
                <a:lnTo>
                  <a:pt x="7409" y="9216"/>
                </a:lnTo>
                <a:lnTo>
                  <a:pt x="7414" y="9222"/>
                </a:lnTo>
                <a:lnTo>
                  <a:pt x="7420" y="9233"/>
                </a:lnTo>
                <a:lnTo>
                  <a:pt x="7437" y="9247"/>
                </a:lnTo>
                <a:lnTo>
                  <a:pt x="7450" y="9258"/>
                </a:lnTo>
                <a:lnTo>
                  <a:pt x="7460" y="9269"/>
                </a:lnTo>
                <a:lnTo>
                  <a:pt x="7467" y="9277"/>
                </a:lnTo>
                <a:lnTo>
                  <a:pt x="7472" y="9284"/>
                </a:lnTo>
                <a:lnTo>
                  <a:pt x="7475" y="9290"/>
                </a:lnTo>
                <a:lnTo>
                  <a:pt x="7477" y="9295"/>
                </a:lnTo>
                <a:lnTo>
                  <a:pt x="7478" y="9300"/>
                </a:lnTo>
                <a:lnTo>
                  <a:pt x="7478" y="9310"/>
                </a:lnTo>
                <a:lnTo>
                  <a:pt x="7479" y="9324"/>
                </a:lnTo>
                <a:lnTo>
                  <a:pt x="7480" y="9332"/>
                </a:lnTo>
                <a:lnTo>
                  <a:pt x="7483" y="9343"/>
                </a:lnTo>
                <a:lnTo>
                  <a:pt x="7487" y="9355"/>
                </a:lnTo>
                <a:lnTo>
                  <a:pt x="7494" y="9370"/>
                </a:lnTo>
                <a:lnTo>
                  <a:pt x="7503" y="9377"/>
                </a:lnTo>
                <a:lnTo>
                  <a:pt x="7511" y="9385"/>
                </a:lnTo>
                <a:lnTo>
                  <a:pt x="7518" y="9396"/>
                </a:lnTo>
                <a:lnTo>
                  <a:pt x="7524" y="9406"/>
                </a:lnTo>
                <a:lnTo>
                  <a:pt x="7530" y="9418"/>
                </a:lnTo>
                <a:lnTo>
                  <a:pt x="7535" y="9431"/>
                </a:lnTo>
                <a:lnTo>
                  <a:pt x="7540" y="9445"/>
                </a:lnTo>
                <a:lnTo>
                  <a:pt x="7544" y="9459"/>
                </a:lnTo>
                <a:lnTo>
                  <a:pt x="7552" y="9488"/>
                </a:lnTo>
                <a:lnTo>
                  <a:pt x="7558" y="9519"/>
                </a:lnTo>
                <a:lnTo>
                  <a:pt x="7564" y="9546"/>
                </a:lnTo>
                <a:lnTo>
                  <a:pt x="7569" y="9571"/>
                </a:lnTo>
                <a:lnTo>
                  <a:pt x="7565" y="9572"/>
                </a:lnTo>
                <a:lnTo>
                  <a:pt x="7562" y="9573"/>
                </a:lnTo>
                <a:lnTo>
                  <a:pt x="7560" y="9575"/>
                </a:lnTo>
                <a:lnTo>
                  <a:pt x="7557" y="9578"/>
                </a:lnTo>
                <a:lnTo>
                  <a:pt x="7554" y="9585"/>
                </a:lnTo>
                <a:lnTo>
                  <a:pt x="7551" y="9594"/>
                </a:lnTo>
                <a:lnTo>
                  <a:pt x="7549" y="9605"/>
                </a:lnTo>
                <a:lnTo>
                  <a:pt x="7549" y="9618"/>
                </a:lnTo>
                <a:lnTo>
                  <a:pt x="7549" y="9631"/>
                </a:lnTo>
                <a:lnTo>
                  <a:pt x="7549" y="9646"/>
                </a:lnTo>
                <a:lnTo>
                  <a:pt x="7551" y="9674"/>
                </a:lnTo>
                <a:lnTo>
                  <a:pt x="7554" y="9700"/>
                </a:lnTo>
                <a:lnTo>
                  <a:pt x="7557" y="9719"/>
                </a:lnTo>
                <a:lnTo>
                  <a:pt x="7558" y="9730"/>
                </a:lnTo>
                <a:lnTo>
                  <a:pt x="7554" y="9730"/>
                </a:lnTo>
                <a:lnTo>
                  <a:pt x="7552" y="9731"/>
                </a:lnTo>
                <a:lnTo>
                  <a:pt x="7550" y="9732"/>
                </a:lnTo>
                <a:lnTo>
                  <a:pt x="7550" y="9733"/>
                </a:lnTo>
                <a:lnTo>
                  <a:pt x="7552" y="9737"/>
                </a:lnTo>
                <a:lnTo>
                  <a:pt x="7557" y="9742"/>
                </a:lnTo>
                <a:lnTo>
                  <a:pt x="7564" y="9747"/>
                </a:lnTo>
                <a:lnTo>
                  <a:pt x="7574" y="9752"/>
                </a:lnTo>
                <a:lnTo>
                  <a:pt x="7586" y="9756"/>
                </a:lnTo>
                <a:lnTo>
                  <a:pt x="7599" y="9760"/>
                </a:lnTo>
                <a:lnTo>
                  <a:pt x="7612" y="9762"/>
                </a:lnTo>
                <a:lnTo>
                  <a:pt x="7626" y="9763"/>
                </a:lnTo>
                <a:lnTo>
                  <a:pt x="7632" y="9763"/>
                </a:lnTo>
                <a:lnTo>
                  <a:pt x="7639" y="9762"/>
                </a:lnTo>
                <a:lnTo>
                  <a:pt x="7644" y="9760"/>
                </a:lnTo>
                <a:lnTo>
                  <a:pt x="7650" y="9758"/>
                </a:lnTo>
                <a:lnTo>
                  <a:pt x="7655" y="9755"/>
                </a:lnTo>
                <a:lnTo>
                  <a:pt x="7660" y="9751"/>
                </a:lnTo>
                <a:lnTo>
                  <a:pt x="7664" y="9746"/>
                </a:lnTo>
                <a:lnTo>
                  <a:pt x="7668" y="9741"/>
                </a:lnTo>
                <a:lnTo>
                  <a:pt x="7671" y="9734"/>
                </a:lnTo>
                <a:lnTo>
                  <a:pt x="7673" y="9727"/>
                </a:lnTo>
                <a:lnTo>
                  <a:pt x="7674" y="9719"/>
                </a:lnTo>
                <a:lnTo>
                  <a:pt x="7675" y="9709"/>
                </a:lnTo>
                <a:lnTo>
                  <a:pt x="7687" y="9712"/>
                </a:lnTo>
                <a:lnTo>
                  <a:pt x="7698" y="9716"/>
                </a:lnTo>
                <a:lnTo>
                  <a:pt x="7710" y="9721"/>
                </a:lnTo>
                <a:lnTo>
                  <a:pt x="7720" y="9727"/>
                </a:lnTo>
                <a:lnTo>
                  <a:pt x="7741" y="9740"/>
                </a:lnTo>
                <a:lnTo>
                  <a:pt x="7761" y="9755"/>
                </a:lnTo>
                <a:lnTo>
                  <a:pt x="7780" y="9770"/>
                </a:lnTo>
                <a:lnTo>
                  <a:pt x="7798" y="9782"/>
                </a:lnTo>
                <a:lnTo>
                  <a:pt x="7806" y="9787"/>
                </a:lnTo>
                <a:lnTo>
                  <a:pt x="7815" y="9791"/>
                </a:lnTo>
                <a:lnTo>
                  <a:pt x="7824" y="9793"/>
                </a:lnTo>
                <a:lnTo>
                  <a:pt x="7833" y="9794"/>
                </a:lnTo>
                <a:lnTo>
                  <a:pt x="7831" y="9800"/>
                </a:lnTo>
                <a:lnTo>
                  <a:pt x="7829" y="9805"/>
                </a:lnTo>
                <a:lnTo>
                  <a:pt x="7828" y="9811"/>
                </a:lnTo>
                <a:lnTo>
                  <a:pt x="7828" y="9816"/>
                </a:lnTo>
                <a:lnTo>
                  <a:pt x="7829" y="9822"/>
                </a:lnTo>
                <a:lnTo>
                  <a:pt x="7829" y="9827"/>
                </a:lnTo>
                <a:lnTo>
                  <a:pt x="7831" y="9832"/>
                </a:lnTo>
                <a:lnTo>
                  <a:pt x="7833" y="9836"/>
                </a:lnTo>
                <a:lnTo>
                  <a:pt x="7838" y="9844"/>
                </a:lnTo>
                <a:lnTo>
                  <a:pt x="7844" y="9851"/>
                </a:lnTo>
                <a:lnTo>
                  <a:pt x="7851" y="9857"/>
                </a:lnTo>
                <a:lnTo>
                  <a:pt x="7859" y="9860"/>
                </a:lnTo>
                <a:lnTo>
                  <a:pt x="7863" y="9862"/>
                </a:lnTo>
                <a:lnTo>
                  <a:pt x="7868" y="9862"/>
                </a:lnTo>
                <a:lnTo>
                  <a:pt x="7872" y="9862"/>
                </a:lnTo>
                <a:lnTo>
                  <a:pt x="7877" y="9862"/>
                </a:lnTo>
                <a:lnTo>
                  <a:pt x="7881" y="9861"/>
                </a:lnTo>
                <a:lnTo>
                  <a:pt x="7885" y="9859"/>
                </a:lnTo>
                <a:lnTo>
                  <a:pt x="7889" y="9857"/>
                </a:lnTo>
                <a:lnTo>
                  <a:pt x="7892" y="9854"/>
                </a:lnTo>
                <a:lnTo>
                  <a:pt x="7895" y="9850"/>
                </a:lnTo>
                <a:lnTo>
                  <a:pt x="7898" y="9846"/>
                </a:lnTo>
                <a:lnTo>
                  <a:pt x="7901" y="9841"/>
                </a:lnTo>
                <a:lnTo>
                  <a:pt x="7903" y="9836"/>
                </a:lnTo>
                <a:lnTo>
                  <a:pt x="7905" y="9829"/>
                </a:lnTo>
                <a:lnTo>
                  <a:pt x="7906" y="9822"/>
                </a:lnTo>
                <a:lnTo>
                  <a:pt x="7907" y="9814"/>
                </a:lnTo>
                <a:lnTo>
                  <a:pt x="7907" y="9805"/>
                </a:lnTo>
                <a:lnTo>
                  <a:pt x="7916" y="9806"/>
                </a:lnTo>
                <a:lnTo>
                  <a:pt x="7925" y="9808"/>
                </a:lnTo>
                <a:lnTo>
                  <a:pt x="7932" y="9811"/>
                </a:lnTo>
                <a:lnTo>
                  <a:pt x="7939" y="9815"/>
                </a:lnTo>
                <a:lnTo>
                  <a:pt x="7945" y="9819"/>
                </a:lnTo>
                <a:lnTo>
                  <a:pt x="7951" y="9824"/>
                </a:lnTo>
                <a:lnTo>
                  <a:pt x="7956" y="9829"/>
                </a:lnTo>
                <a:lnTo>
                  <a:pt x="7961" y="9835"/>
                </a:lnTo>
                <a:lnTo>
                  <a:pt x="7965" y="9841"/>
                </a:lnTo>
                <a:lnTo>
                  <a:pt x="7968" y="9848"/>
                </a:lnTo>
                <a:lnTo>
                  <a:pt x="7971" y="9855"/>
                </a:lnTo>
                <a:lnTo>
                  <a:pt x="7974" y="9862"/>
                </a:lnTo>
                <a:lnTo>
                  <a:pt x="7978" y="9878"/>
                </a:lnTo>
                <a:lnTo>
                  <a:pt x="7980" y="9896"/>
                </a:lnTo>
                <a:lnTo>
                  <a:pt x="7981" y="9913"/>
                </a:lnTo>
                <a:lnTo>
                  <a:pt x="7981" y="9930"/>
                </a:lnTo>
                <a:lnTo>
                  <a:pt x="7980" y="9947"/>
                </a:lnTo>
                <a:lnTo>
                  <a:pt x="7979" y="9963"/>
                </a:lnTo>
                <a:lnTo>
                  <a:pt x="7975" y="9993"/>
                </a:lnTo>
                <a:lnTo>
                  <a:pt x="7970" y="10016"/>
                </a:lnTo>
                <a:lnTo>
                  <a:pt x="7985" y="10015"/>
                </a:lnTo>
                <a:lnTo>
                  <a:pt x="7998" y="10013"/>
                </a:lnTo>
                <a:lnTo>
                  <a:pt x="8011" y="10010"/>
                </a:lnTo>
                <a:lnTo>
                  <a:pt x="8022" y="10007"/>
                </a:lnTo>
                <a:lnTo>
                  <a:pt x="8041" y="9998"/>
                </a:lnTo>
                <a:lnTo>
                  <a:pt x="8059" y="9987"/>
                </a:lnTo>
                <a:lnTo>
                  <a:pt x="8068" y="9982"/>
                </a:lnTo>
                <a:lnTo>
                  <a:pt x="8077" y="9977"/>
                </a:lnTo>
                <a:lnTo>
                  <a:pt x="8086" y="9972"/>
                </a:lnTo>
                <a:lnTo>
                  <a:pt x="8096" y="9968"/>
                </a:lnTo>
                <a:lnTo>
                  <a:pt x="8107" y="9965"/>
                </a:lnTo>
                <a:lnTo>
                  <a:pt x="8120" y="9962"/>
                </a:lnTo>
                <a:lnTo>
                  <a:pt x="8134" y="9961"/>
                </a:lnTo>
                <a:lnTo>
                  <a:pt x="8149" y="9961"/>
                </a:lnTo>
                <a:lnTo>
                  <a:pt x="8186" y="9966"/>
                </a:lnTo>
                <a:lnTo>
                  <a:pt x="8219" y="9972"/>
                </a:lnTo>
                <a:lnTo>
                  <a:pt x="8227" y="9973"/>
                </a:lnTo>
                <a:lnTo>
                  <a:pt x="8234" y="9972"/>
                </a:lnTo>
                <a:lnTo>
                  <a:pt x="8241" y="9971"/>
                </a:lnTo>
                <a:lnTo>
                  <a:pt x="8247" y="9968"/>
                </a:lnTo>
                <a:lnTo>
                  <a:pt x="8254" y="9964"/>
                </a:lnTo>
                <a:lnTo>
                  <a:pt x="8259" y="9959"/>
                </a:lnTo>
                <a:lnTo>
                  <a:pt x="8264" y="9951"/>
                </a:lnTo>
                <a:lnTo>
                  <a:pt x="8267" y="9942"/>
                </a:lnTo>
                <a:lnTo>
                  <a:pt x="8289" y="9949"/>
                </a:lnTo>
                <a:lnTo>
                  <a:pt x="8309" y="9957"/>
                </a:lnTo>
                <a:lnTo>
                  <a:pt x="8327" y="9964"/>
                </a:lnTo>
                <a:lnTo>
                  <a:pt x="8344" y="9972"/>
                </a:lnTo>
                <a:lnTo>
                  <a:pt x="8361" y="9980"/>
                </a:lnTo>
                <a:lnTo>
                  <a:pt x="8376" y="9988"/>
                </a:lnTo>
                <a:lnTo>
                  <a:pt x="8392" y="9996"/>
                </a:lnTo>
                <a:lnTo>
                  <a:pt x="8406" y="10005"/>
                </a:lnTo>
                <a:lnTo>
                  <a:pt x="8433" y="10024"/>
                </a:lnTo>
                <a:lnTo>
                  <a:pt x="8459" y="10044"/>
                </a:lnTo>
                <a:lnTo>
                  <a:pt x="8486" y="10067"/>
                </a:lnTo>
                <a:lnTo>
                  <a:pt x="8515" y="10092"/>
                </a:lnTo>
                <a:lnTo>
                  <a:pt x="8528" y="10104"/>
                </a:lnTo>
                <a:lnTo>
                  <a:pt x="8540" y="10116"/>
                </a:lnTo>
                <a:lnTo>
                  <a:pt x="8550" y="10130"/>
                </a:lnTo>
                <a:lnTo>
                  <a:pt x="8561" y="10146"/>
                </a:lnTo>
                <a:lnTo>
                  <a:pt x="8570" y="10161"/>
                </a:lnTo>
                <a:lnTo>
                  <a:pt x="8579" y="10178"/>
                </a:lnTo>
                <a:lnTo>
                  <a:pt x="8587" y="10195"/>
                </a:lnTo>
                <a:lnTo>
                  <a:pt x="8595" y="10212"/>
                </a:lnTo>
                <a:lnTo>
                  <a:pt x="8602" y="10230"/>
                </a:lnTo>
                <a:lnTo>
                  <a:pt x="8607" y="10249"/>
                </a:lnTo>
                <a:lnTo>
                  <a:pt x="8613" y="10268"/>
                </a:lnTo>
                <a:lnTo>
                  <a:pt x="8617" y="10288"/>
                </a:lnTo>
                <a:lnTo>
                  <a:pt x="8621" y="10307"/>
                </a:lnTo>
                <a:lnTo>
                  <a:pt x="8624" y="10327"/>
                </a:lnTo>
                <a:lnTo>
                  <a:pt x="8626" y="10347"/>
                </a:lnTo>
                <a:lnTo>
                  <a:pt x="8627" y="10366"/>
                </a:lnTo>
                <a:lnTo>
                  <a:pt x="8628" y="10386"/>
                </a:lnTo>
                <a:lnTo>
                  <a:pt x="8627" y="10407"/>
                </a:lnTo>
                <a:lnTo>
                  <a:pt x="8626" y="10426"/>
                </a:lnTo>
                <a:lnTo>
                  <a:pt x="8624" y="10445"/>
                </a:lnTo>
                <a:lnTo>
                  <a:pt x="8621" y="10464"/>
                </a:lnTo>
                <a:lnTo>
                  <a:pt x="8617" y="10482"/>
                </a:lnTo>
                <a:lnTo>
                  <a:pt x="8613" y="10500"/>
                </a:lnTo>
                <a:lnTo>
                  <a:pt x="8607" y="10518"/>
                </a:lnTo>
                <a:lnTo>
                  <a:pt x="8601" y="10535"/>
                </a:lnTo>
                <a:lnTo>
                  <a:pt x="8594" y="10551"/>
                </a:lnTo>
                <a:lnTo>
                  <a:pt x="8586" y="10567"/>
                </a:lnTo>
                <a:lnTo>
                  <a:pt x="8577" y="10581"/>
                </a:lnTo>
                <a:lnTo>
                  <a:pt x="8567" y="10595"/>
                </a:lnTo>
                <a:lnTo>
                  <a:pt x="8556" y="10607"/>
                </a:lnTo>
                <a:lnTo>
                  <a:pt x="8544" y="10619"/>
                </a:lnTo>
                <a:lnTo>
                  <a:pt x="8532" y="10629"/>
                </a:lnTo>
                <a:lnTo>
                  <a:pt x="8530" y="10635"/>
                </a:lnTo>
                <a:lnTo>
                  <a:pt x="8525" y="10643"/>
                </a:lnTo>
                <a:lnTo>
                  <a:pt x="8518" y="10655"/>
                </a:lnTo>
                <a:lnTo>
                  <a:pt x="8508" y="10668"/>
                </a:lnTo>
                <a:lnTo>
                  <a:pt x="8482" y="10699"/>
                </a:lnTo>
                <a:lnTo>
                  <a:pt x="8454" y="10732"/>
                </a:lnTo>
                <a:lnTo>
                  <a:pt x="8425" y="10765"/>
                </a:lnTo>
                <a:lnTo>
                  <a:pt x="8400" y="10794"/>
                </a:lnTo>
                <a:lnTo>
                  <a:pt x="8382" y="10813"/>
                </a:lnTo>
                <a:lnTo>
                  <a:pt x="8373" y="10821"/>
                </a:lnTo>
                <a:lnTo>
                  <a:pt x="8372" y="10836"/>
                </a:lnTo>
                <a:lnTo>
                  <a:pt x="8372" y="10865"/>
                </a:lnTo>
                <a:lnTo>
                  <a:pt x="8371" y="10904"/>
                </a:lnTo>
                <a:lnTo>
                  <a:pt x="8369" y="10945"/>
                </a:lnTo>
                <a:lnTo>
                  <a:pt x="8368" y="10985"/>
                </a:lnTo>
                <a:lnTo>
                  <a:pt x="8366" y="11019"/>
                </a:lnTo>
                <a:lnTo>
                  <a:pt x="8365" y="11034"/>
                </a:lnTo>
                <a:lnTo>
                  <a:pt x="8364" y="11044"/>
                </a:lnTo>
                <a:lnTo>
                  <a:pt x="8363" y="11051"/>
                </a:lnTo>
                <a:lnTo>
                  <a:pt x="8362" y="11053"/>
                </a:lnTo>
                <a:lnTo>
                  <a:pt x="8360" y="11077"/>
                </a:lnTo>
                <a:lnTo>
                  <a:pt x="8356" y="11114"/>
                </a:lnTo>
                <a:lnTo>
                  <a:pt x="8350" y="11159"/>
                </a:lnTo>
                <a:lnTo>
                  <a:pt x="8342" y="11207"/>
                </a:lnTo>
                <a:lnTo>
                  <a:pt x="8337" y="11230"/>
                </a:lnTo>
                <a:lnTo>
                  <a:pt x="8332" y="11252"/>
                </a:lnTo>
                <a:lnTo>
                  <a:pt x="8327" y="11272"/>
                </a:lnTo>
                <a:lnTo>
                  <a:pt x="8322" y="11292"/>
                </a:lnTo>
                <a:lnTo>
                  <a:pt x="8316" y="11307"/>
                </a:lnTo>
                <a:lnTo>
                  <a:pt x="8310" y="11318"/>
                </a:lnTo>
                <a:lnTo>
                  <a:pt x="8307" y="11323"/>
                </a:lnTo>
                <a:lnTo>
                  <a:pt x="8305" y="11326"/>
                </a:lnTo>
                <a:lnTo>
                  <a:pt x="8302" y="11328"/>
                </a:lnTo>
                <a:lnTo>
                  <a:pt x="8299" y="11328"/>
                </a:lnTo>
                <a:lnTo>
                  <a:pt x="8298" y="11350"/>
                </a:lnTo>
                <a:lnTo>
                  <a:pt x="8295" y="11369"/>
                </a:lnTo>
                <a:lnTo>
                  <a:pt x="8292" y="11386"/>
                </a:lnTo>
                <a:lnTo>
                  <a:pt x="8286" y="11402"/>
                </a:lnTo>
                <a:lnTo>
                  <a:pt x="8280" y="11418"/>
                </a:lnTo>
                <a:lnTo>
                  <a:pt x="8273" y="11432"/>
                </a:lnTo>
                <a:lnTo>
                  <a:pt x="8265" y="11445"/>
                </a:lnTo>
                <a:lnTo>
                  <a:pt x="8257" y="11458"/>
                </a:lnTo>
                <a:lnTo>
                  <a:pt x="8238" y="11484"/>
                </a:lnTo>
                <a:lnTo>
                  <a:pt x="8221" y="11512"/>
                </a:lnTo>
                <a:lnTo>
                  <a:pt x="8213" y="11527"/>
                </a:lnTo>
                <a:lnTo>
                  <a:pt x="8206" y="11544"/>
                </a:lnTo>
                <a:lnTo>
                  <a:pt x="8199" y="11563"/>
                </a:lnTo>
                <a:lnTo>
                  <a:pt x="8193" y="11582"/>
                </a:lnTo>
                <a:lnTo>
                  <a:pt x="8165" y="11602"/>
                </a:lnTo>
                <a:lnTo>
                  <a:pt x="8129" y="11623"/>
                </a:lnTo>
                <a:lnTo>
                  <a:pt x="8088" y="11646"/>
                </a:lnTo>
                <a:lnTo>
                  <a:pt x="8047" y="11671"/>
                </a:lnTo>
                <a:lnTo>
                  <a:pt x="8027" y="11683"/>
                </a:lnTo>
                <a:lnTo>
                  <a:pt x="8007" y="11695"/>
                </a:lnTo>
                <a:lnTo>
                  <a:pt x="7988" y="11707"/>
                </a:lnTo>
                <a:lnTo>
                  <a:pt x="7972" y="11719"/>
                </a:lnTo>
                <a:lnTo>
                  <a:pt x="7957" y="11730"/>
                </a:lnTo>
                <a:lnTo>
                  <a:pt x="7945" y="11741"/>
                </a:lnTo>
                <a:lnTo>
                  <a:pt x="7940" y="11747"/>
                </a:lnTo>
                <a:lnTo>
                  <a:pt x="7935" y="11752"/>
                </a:lnTo>
                <a:lnTo>
                  <a:pt x="7931" y="11757"/>
                </a:lnTo>
                <a:lnTo>
                  <a:pt x="7928" y="11762"/>
                </a:lnTo>
                <a:lnTo>
                  <a:pt x="7919" y="11762"/>
                </a:lnTo>
                <a:lnTo>
                  <a:pt x="7910" y="11764"/>
                </a:lnTo>
                <a:lnTo>
                  <a:pt x="7902" y="11766"/>
                </a:lnTo>
                <a:lnTo>
                  <a:pt x="7893" y="11769"/>
                </a:lnTo>
                <a:lnTo>
                  <a:pt x="7877" y="11775"/>
                </a:lnTo>
                <a:lnTo>
                  <a:pt x="7859" y="11784"/>
                </a:lnTo>
                <a:lnTo>
                  <a:pt x="7843" y="11792"/>
                </a:lnTo>
                <a:lnTo>
                  <a:pt x="7826" y="11798"/>
                </a:lnTo>
                <a:lnTo>
                  <a:pt x="7818" y="11801"/>
                </a:lnTo>
                <a:lnTo>
                  <a:pt x="7809" y="11803"/>
                </a:lnTo>
                <a:lnTo>
                  <a:pt x="7800" y="11804"/>
                </a:lnTo>
                <a:lnTo>
                  <a:pt x="7791" y="11805"/>
                </a:lnTo>
                <a:lnTo>
                  <a:pt x="7784" y="11814"/>
                </a:lnTo>
                <a:lnTo>
                  <a:pt x="7770" y="11829"/>
                </a:lnTo>
                <a:lnTo>
                  <a:pt x="7753" y="11848"/>
                </a:lnTo>
                <a:lnTo>
                  <a:pt x="7733" y="11868"/>
                </a:lnTo>
                <a:lnTo>
                  <a:pt x="7715" y="11888"/>
                </a:lnTo>
                <a:lnTo>
                  <a:pt x="7701" y="11904"/>
                </a:lnTo>
                <a:lnTo>
                  <a:pt x="7696" y="11912"/>
                </a:lnTo>
                <a:lnTo>
                  <a:pt x="7694" y="11917"/>
                </a:lnTo>
                <a:lnTo>
                  <a:pt x="7693" y="11919"/>
                </a:lnTo>
                <a:lnTo>
                  <a:pt x="7693" y="11920"/>
                </a:lnTo>
                <a:lnTo>
                  <a:pt x="7694" y="11921"/>
                </a:lnTo>
                <a:lnTo>
                  <a:pt x="7695" y="11921"/>
                </a:lnTo>
                <a:lnTo>
                  <a:pt x="7693" y="11954"/>
                </a:lnTo>
                <a:lnTo>
                  <a:pt x="7692" y="11993"/>
                </a:lnTo>
                <a:lnTo>
                  <a:pt x="7691" y="12037"/>
                </a:lnTo>
                <a:lnTo>
                  <a:pt x="7690" y="12081"/>
                </a:lnTo>
                <a:lnTo>
                  <a:pt x="7689" y="12103"/>
                </a:lnTo>
                <a:lnTo>
                  <a:pt x="7687" y="12125"/>
                </a:lnTo>
                <a:lnTo>
                  <a:pt x="7685" y="12145"/>
                </a:lnTo>
                <a:lnTo>
                  <a:pt x="7682" y="12165"/>
                </a:lnTo>
                <a:lnTo>
                  <a:pt x="7678" y="12183"/>
                </a:lnTo>
                <a:lnTo>
                  <a:pt x="7673" y="12198"/>
                </a:lnTo>
                <a:lnTo>
                  <a:pt x="7670" y="12205"/>
                </a:lnTo>
                <a:lnTo>
                  <a:pt x="7667" y="12212"/>
                </a:lnTo>
                <a:lnTo>
                  <a:pt x="7664" y="12217"/>
                </a:lnTo>
                <a:lnTo>
                  <a:pt x="7660" y="12222"/>
                </a:lnTo>
                <a:lnTo>
                  <a:pt x="7650" y="12233"/>
                </a:lnTo>
                <a:lnTo>
                  <a:pt x="7639" y="12241"/>
                </a:lnTo>
                <a:lnTo>
                  <a:pt x="7629" y="12248"/>
                </a:lnTo>
                <a:lnTo>
                  <a:pt x="7619" y="12255"/>
                </a:lnTo>
                <a:lnTo>
                  <a:pt x="7615" y="12259"/>
                </a:lnTo>
                <a:lnTo>
                  <a:pt x="7612" y="12263"/>
                </a:lnTo>
                <a:lnTo>
                  <a:pt x="7609" y="12267"/>
                </a:lnTo>
                <a:lnTo>
                  <a:pt x="7607" y="12273"/>
                </a:lnTo>
                <a:lnTo>
                  <a:pt x="7607" y="12278"/>
                </a:lnTo>
                <a:lnTo>
                  <a:pt x="7607" y="12286"/>
                </a:lnTo>
                <a:lnTo>
                  <a:pt x="7608" y="12294"/>
                </a:lnTo>
                <a:lnTo>
                  <a:pt x="7611" y="12303"/>
                </a:lnTo>
                <a:lnTo>
                  <a:pt x="7601" y="12303"/>
                </a:lnTo>
                <a:lnTo>
                  <a:pt x="7594" y="12304"/>
                </a:lnTo>
                <a:lnTo>
                  <a:pt x="7588" y="12306"/>
                </a:lnTo>
                <a:lnTo>
                  <a:pt x="7585" y="12309"/>
                </a:lnTo>
                <a:lnTo>
                  <a:pt x="7581" y="12316"/>
                </a:lnTo>
                <a:lnTo>
                  <a:pt x="7579" y="12323"/>
                </a:lnTo>
                <a:lnTo>
                  <a:pt x="7577" y="12327"/>
                </a:lnTo>
                <a:lnTo>
                  <a:pt x="7575" y="12331"/>
                </a:lnTo>
                <a:lnTo>
                  <a:pt x="7571" y="12335"/>
                </a:lnTo>
                <a:lnTo>
                  <a:pt x="7566" y="12338"/>
                </a:lnTo>
                <a:lnTo>
                  <a:pt x="7559" y="12340"/>
                </a:lnTo>
                <a:lnTo>
                  <a:pt x="7549" y="12343"/>
                </a:lnTo>
                <a:lnTo>
                  <a:pt x="7537" y="12344"/>
                </a:lnTo>
                <a:lnTo>
                  <a:pt x="7521" y="12344"/>
                </a:lnTo>
                <a:lnTo>
                  <a:pt x="7510" y="12345"/>
                </a:lnTo>
                <a:lnTo>
                  <a:pt x="7496" y="12348"/>
                </a:lnTo>
                <a:lnTo>
                  <a:pt x="7483" y="12353"/>
                </a:lnTo>
                <a:lnTo>
                  <a:pt x="7470" y="12359"/>
                </a:lnTo>
                <a:lnTo>
                  <a:pt x="7456" y="12366"/>
                </a:lnTo>
                <a:lnTo>
                  <a:pt x="7443" y="12375"/>
                </a:lnTo>
                <a:lnTo>
                  <a:pt x="7429" y="12384"/>
                </a:lnTo>
                <a:lnTo>
                  <a:pt x="7416" y="12395"/>
                </a:lnTo>
                <a:lnTo>
                  <a:pt x="7404" y="12407"/>
                </a:lnTo>
                <a:lnTo>
                  <a:pt x="7392" y="12420"/>
                </a:lnTo>
                <a:lnTo>
                  <a:pt x="7382" y="12433"/>
                </a:lnTo>
                <a:lnTo>
                  <a:pt x="7373" y="12446"/>
                </a:lnTo>
                <a:lnTo>
                  <a:pt x="7364" y="12460"/>
                </a:lnTo>
                <a:lnTo>
                  <a:pt x="7359" y="12473"/>
                </a:lnTo>
                <a:lnTo>
                  <a:pt x="7356" y="12480"/>
                </a:lnTo>
                <a:lnTo>
                  <a:pt x="7355" y="12487"/>
                </a:lnTo>
                <a:lnTo>
                  <a:pt x="7354" y="12493"/>
                </a:lnTo>
                <a:lnTo>
                  <a:pt x="7353" y="12500"/>
                </a:lnTo>
                <a:lnTo>
                  <a:pt x="7352" y="12516"/>
                </a:lnTo>
                <a:lnTo>
                  <a:pt x="7350" y="12531"/>
                </a:lnTo>
                <a:lnTo>
                  <a:pt x="7348" y="12547"/>
                </a:lnTo>
                <a:lnTo>
                  <a:pt x="7346" y="12562"/>
                </a:lnTo>
                <a:lnTo>
                  <a:pt x="7343" y="12576"/>
                </a:lnTo>
                <a:lnTo>
                  <a:pt x="7339" y="12589"/>
                </a:lnTo>
                <a:lnTo>
                  <a:pt x="7334" y="12602"/>
                </a:lnTo>
                <a:lnTo>
                  <a:pt x="7329" y="12615"/>
                </a:lnTo>
                <a:lnTo>
                  <a:pt x="7322" y="12627"/>
                </a:lnTo>
                <a:lnTo>
                  <a:pt x="7315" y="12639"/>
                </a:lnTo>
                <a:lnTo>
                  <a:pt x="7307" y="12651"/>
                </a:lnTo>
                <a:lnTo>
                  <a:pt x="7298" y="12662"/>
                </a:lnTo>
                <a:lnTo>
                  <a:pt x="7288" y="12674"/>
                </a:lnTo>
                <a:lnTo>
                  <a:pt x="7277" y="12684"/>
                </a:lnTo>
                <a:lnTo>
                  <a:pt x="7265" y="12694"/>
                </a:lnTo>
                <a:lnTo>
                  <a:pt x="7251" y="12705"/>
                </a:lnTo>
                <a:lnTo>
                  <a:pt x="7251" y="12707"/>
                </a:lnTo>
                <a:lnTo>
                  <a:pt x="7250" y="12710"/>
                </a:lnTo>
                <a:lnTo>
                  <a:pt x="7248" y="12712"/>
                </a:lnTo>
                <a:lnTo>
                  <a:pt x="7246" y="12715"/>
                </a:lnTo>
                <a:lnTo>
                  <a:pt x="7238" y="12720"/>
                </a:lnTo>
                <a:lnTo>
                  <a:pt x="7229" y="12724"/>
                </a:lnTo>
                <a:lnTo>
                  <a:pt x="7207" y="12734"/>
                </a:lnTo>
                <a:lnTo>
                  <a:pt x="7182" y="12744"/>
                </a:lnTo>
                <a:lnTo>
                  <a:pt x="7169" y="12751"/>
                </a:lnTo>
                <a:lnTo>
                  <a:pt x="7157" y="12757"/>
                </a:lnTo>
                <a:lnTo>
                  <a:pt x="7146" y="12765"/>
                </a:lnTo>
                <a:lnTo>
                  <a:pt x="7135" y="12773"/>
                </a:lnTo>
                <a:lnTo>
                  <a:pt x="7131" y="12778"/>
                </a:lnTo>
                <a:lnTo>
                  <a:pt x="7127" y="12783"/>
                </a:lnTo>
                <a:lnTo>
                  <a:pt x="7123" y="12788"/>
                </a:lnTo>
                <a:lnTo>
                  <a:pt x="7120" y="12795"/>
                </a:lnTo>
                <a:lnTo>
                  <a:pt x="7116" y="12801"/>
                </a:lnTo>
                <a:lnTo>
                  <a:pt x="7114" y="12807"/>
                </a:lnTo>
                <a:lnTo>
                  <a:pt x="7113" y="12814"/>
                </a:lnTo>
                <a:lnTo>
                  <a:pt x="7113" y="12821"/>
                </a:lnTo>
                <a:lnTo>
                  <a:pt x="7115" y="12822"/>
                </a:lnTo>
                <a:lnTo>
                  <a:pt x="7117" y="12827"/>
                </a:lnTo>
                <a:lnTo>
                  <a:pt x="7118" y="12834"/>
                </a:lnTo>
                <a:lnTo>
                  <a:pt x="7118" y="12843"/>
                </a:lnTo>
                <a:lnTo>
                  <a:pt x="7120" y="12867"/>
                </a:lnTo>
                <a:lnTo>
                  <a:pt x="7118" y="12894"/>
                </a:lnTo>
                <a:lnTo>
                  <a:pt x="7116" y="12923"/>
                </a:lnTo>
                <a:lnTo>
                  <a:pt x="7115" y="12949"/>
                </a:lnTo>
                <a:lnTo>
                  <a:pt x="7113" y="12968"/>
                </a:lnTo>
                <a:lnTo>
                  <a:pt x="7113" y="12979"/>
                </a:lnTo>
                <a:lnTo>
                  <a:pt x="7105" y="12980"/>
                </a:lnTo>
                <a:lnTo>
                  <a:pt x="7095" y="12981"/>
                </a:lnTo>
                <a:lnTo>
                  <a:pt x="7085" y="12983"/>
                </a:lnTo>
                <a:lnTo>
                  <a:pt x="7074" y="12986"/>
                </a:lnTo>
                <a:lnTo>
                  <a:pt x="7050" y="12993"/>
                </a:lnTo>
                <a:lnTo>
                  <a:pt x="7025" y="13003"/>
                </a:lnTo>
                <a:lnTo>
                  <a:pt x="7014" y="13008"/>
                </a:lnTo>
                <a:lnTo>
                  <a:pt x="7002" y="13014"/>
                </a:lnTo>
                <a:lnTo>
                  <a:pt x="6990" y="13021"/>
                </a:lnTo>
                <a:lnTo>
                  <a:pt x="6981" y="13027"/>
                </a:lnTo>
                <a:lnTo>
                  <a:pt x="6972" y="13033"/>
                </a:lnTo>
                <a:lnTo>
                  <a:pt x="6964" y="13040"/>
                </a:lnTo>
                <a:lnTo>
                  <a:pt x="6959" y="13047"/>
                </a:lnTo>
                <a:lnTo>
                  <a:pt x="6954" y="13054"/>
                </a:lnTo>
                <a:lnTo>
                  <a:pt x="6930" y="13054"/>
                </a:lnTo>
                <a:lnTo>
                  <a:pt x="6910" y="13054"/>
                </a:lnTo>
                <a:lnTo>
                  <a:pt x="6892" y="13055"/>
                </a:lnTo>
                <a:lnTo>
                  <a:pt x="6876" y="13057"/>
                </a:lnTo>
                <a:lnTo>
                  <a:pt x="6862" y="13059"/>
                </a:lnTo>
                <a:lnTo>
                  <a:pt x="6850" y="13061"/>
                </a:lnTo>
                <a:lnTo>
                  <a:pt x="6840" y="13064"/>
                </a:lnTo>
                <a:lnTo>
                  <a:pt x="6830" y="13068"/>
                </a:lnTo>
                <a:lnTo>
                  <a:pt x="6822" y="13073"/>
                </a:lnTo>
                <a:lnTo>
                  <a:pt x="6813" y="13078"/>
                </a:lnTo>
                <a:lnTo>
                  <a:pt x="6804" y="13084"/>
                </a:lnTo>
                <a:lnTo>
                  <a:pt x="6795" y="13091"/>
                </a:lnTo>
                <a:lnTo>
                  <a:pt x="6773" y="13107"/>
                </a:lnTo>
                <a:lnTo>
                  <a:pt x="6743" y="13127"/>
                </a:lnTo>
                <a:lnTo>
                  <a:pt x="6743" y="13136"/>
                </a:lnTo>
                <a:lnTo>
                  <a:pt x="6740" y="13148"/>
                </a:lnTo>
                <a:lnTo>
                  <a:pt x="6738" y="13162"/>
                </a:lnTo>
                <a:lnTo>
                  <a:pt x="6734" y="13177"/>
                </a:lnTo>
                <a:lnTo>
                  <a:pt x="6729" y="13191"/>
                </a:lnTo>
                <a:lnTo>
                  <a:pt x="6724" y="13202"/>
                </a:lnTo>
                <a:lnTo>
                  <a:pt x="6721" y="13206"/>
                </a:lnTo>
                <a:lnTo>
                  <a:pt x="6718" y="13209"/>
                </a:lnTo>
                <a:lnTo>
                  <a:pt x="6715" y="13211"/>
                </a:lnTo>
                <a:lnTo>
                  <a:pt x="6711" y="13212"/>
                </a:lnTo>
                <a:lnTo>
                  <a:pt x="6711" y="13222"/>
                </a:lnTo>
                <a:lnTo>
                  <a:pt x="6710" y="13230"/>
                </a:lnTo>
                <a:lnTo>
                  <a:pt x="6709" y="13237"/>
                </a:lnTo>
                <a:lnTo>
                  <a:pt x="6708" y="13243"/>
                </a:lnTo>
                <a:lnTo>
                  <a:pt x="6706" y="13249"/>
                </a:lnTo>
                <a:lnTo>
                  <a:pt x="6704" y="13253"/>
                </a:lnTo>
                <a:lnTo>
                  <a:pt x="6701" y="13257"/>
                </a:lnTo>
                <a:lnTo>
                  <a:pt x="6698" y="13259"/>
                </a:lnTo>
                <a:lnTo>
                  <a:pt x="6695" y="13262"/>
                </a:lnTo>
                <a:lnTo>
                  <a:pt x="6692" y="13263"/>
                </a:lnTo>
                <a:lnTo>
                  <a:pt x="6688" y="13264"/>
                </a:lnTo>
                <a:lnTo>
                  <a:pt x="6684" y="13265"/>
                </a:lnTo>
                <a:lnTo>
                  <a:pt x="6675" y="13265"/>
                </a:lnTo>
                <a:lnTo>
                  <a:pt x="6666" y="13264"/>
                </a:lnTo>
                <a:lnTo>
                  <a:pt x="6645" y="13260"/>
                </a:lnTo>
                <a:lnTo>
                  <a:pt x="6622" y="13258"/>
                </a:lnTo>
                <a:lnTo>
                  <a:pt x="6609" y="13259"/>
                </a:lnTo>
                <a:lnTo>
                  <a:pt x="6597" y="13262"/>
                </a:lnTo>
                <a:lnTo>
                  <a:pt x="6591" y="13264"/>
                </a:lnTo>
                <a:lnTo>
                  <a:pt x="6585" y="13267"/>
                </a:lnTo>
                <a:lnTo>
                  <a:pt x="6579" y="13271"/>
                </a:lnTo>
                <a:lnTo>
                  <a:pt x="6574" y="13275"/>
                </a:lnTo>
                <a:lnTo>
                  <a:pt x="6578" y="13277"/>
                </a:lnTo>
                <a:lnTo>
                  <a:pt x="6583" y="13280"/>
                </a:lnTo>
                <a:lnTo>
                  <a:pt x="6587" y="13285"/>
                </a:lnTo>
                <a:lnTo>
                  <a:pt x="6592" y="13292"/>
                </a:lnTo>
                <a:lnTo>
                  <a:pt x="6596" y="13301"/>
                </a:lnTo>
                <a:lnTo>
                  <a:pt x="6601" y="13310"/>
                </a:lnTo>
                <a:lnTo>
                  <a:pt x="6605" y="13319"/>
                </a:lnTo>
                <a:lnTo>
                  <a:pt x="6608" y="13329"/>
                </a:lnTo>
                <a:lnTo>
                  <a:pt x="6614" y="13348"/>
                </a:lnTo>
                <a:lnTo>
                  <a:pt x="6619" y="13365"/>
                </a:lnTo>
                <a:lnTo>
                  <a:pt x="6619" y="13371"/>
                </a:lnTo>
                <a:lnTo>
                  <a:pt x="6619" y="13377"/>
                </a:lnTo>
                <a:lnTo>
                  <a:pt x="6619" y="13380"/>
                </a:lnTo>
                <a:lnTo>
                  <a:pt x="6617" y="13381"/>
                </a:lnTo>
                <a:lnTo>
                  <a:pt x="6616" y="13398"/>
                </a:lnTo>
                <a:lnTo>
                  <a:pt x="6613" y="13412"/>
                </a:lnTo>
                <a:lnTo>
                  <a:pt x="6610" y="13426"/>
                </a:lnTo>
                <a:lnTo>
                  <a:pt x="6606" y="13438"/>
                </a:lnTo>
                <a:lnTo>
                  <a:pt x="6601" y="13448"/>
                </a:lnTo>
                <a:lnTo>
                  <a:pt x="6594" y="13458"/>
                </a:lnTo>
                <a:lnTo>
                  <a:pt x="6587" y="13467"/>
                </a:lnTo>
                <a:lnTo>
                  <a:pt x="6580" y="13475"/>
                </a:lnTo>
                <a:lnTo>
                  <a:pt x="6562" y="13492"/>
                </a:lnTo>
                <a:lnTo>
                  <a:pt x="6543" y="13508"/>
                </a:lnTo>
                <a:lnTo>
                  <a:pt x="6532" y="13517"/>
                </a:lnTo>
                <a:lnTo>
                  <a:pt x="6522" y="13527"/>
                </a:lnTo>
                <a:lnTo>
                  <a:pt x="6511" y="13538"/>
                </a:lnTo>
                <a:lnTo>
                  <a:pt x="6500" y="13551"/>
                </a:lnTo>
                <a:lnTo>
                  <a:pt x="6495" y="13555"/>
                </a:lnTo>
                <a:lnTo>
                  <a:pt x="6490" y="13561"/>
                </a:lnTo>
                <a:lnTo>
                  <a:pt x="6484" y="13567"/>
                </a:lnTo>
                <a:lnTo>
                  <a:pt x="6479" y="13574"/>
                </a:lnTo>
                <a:lnTo>
                  <a:pt x="6469" y="13589"/>
                </a:lnTo>
                <a:lnTo>
                  <a:pt x="6459" y="13606"/>
                </a:lnTo>
                <a:lnTo>
                  <a:pt x="6450" y="13621"/>
                </a:lnTo>
                <a:lnTo>
                  <a:pt x="6442" y="13634"/>
                </a:lnTo>
                <a:lnTo>
                  <a:pt x="6437" y="13639"/>
                </a:lnTo>
                <a:lnTo>
                  <a:pt x="6433" y="13642"/>
                </a:lnTo>
                <a:lnTo>
                  <a:pt x="6429" y="13645"/>
                </a:lnTo>
                <a:lnTo>
                  <a:pt x="6426" y="13646"/>
                </a:lnTo>
                <a:lnTo>
                  <a:pt x="6425" y="13657"/>
                </a:lnTo>
                <a:lnTo>
                  <a:pt x="6424" y="13669"/>
                </a:lnTo>
                <a:lnTo>
                  <a:pt x="6423" y="13681"/>
                </a:lnTo>
                <a:lnTo>
                  <a:pt x="6421" y="13693"/>
                </a:lnTo>
                <a:lnTo>
                  <a:pt x="6416" y="13715"/>
                </a:lnTo>
                <a:lnTo>
                  <a:pt x="6410" y="13737"/>
                </a:lnTo>
                <a:lnTo>
                  <a:pt x="6404" y="13759"/>
                </a:lnTo>
                <a:lnTo>
                  <a:pt x="6399" y="13781"/>
                </a:lnTo>
                <a:lnTo>
                  <a:pt x="6397" y="13792"/>
                </a:lnTo>
                <a:lnTo>
                  <a:pt x="6396" y="13804"/>
                </a:lnTo>
                <a:lnTo>
                  <a:pt x="6395" y="13815"/>
                </a:lnTo>
                <a:lnTo>
                  <a:pt x="6394" y="13826"/>
                </a:lnTo>
                <a:lnTo>
                  <a:pt x="6397" y="13827"/>
                </a:lnTo>
                <a:lnTo>
                  <a:pt x="6398" y="13828"/>
                </a:lnTo>
                <a:lnTo>
                  <a:pt x="6399" y="13829"/>
                </a:lnTo>
                <a:lnTo>
                  <a:pt x="6400" y="13831"/>
                </a:lnTo>
                <a:lnTo>
                  <a:pt x="6401" y="13836"/>
                </a:lnTo>
                <a:lnTo>
                  <a:pt x="6401" y="13843"/>
                </a:lnTo>
                <a:lnTo>
                  <a:pt x="6401" y="13851"/>
                </a:lnTo>
                <a:lnTo>
                  <a:pt x="6401" y="13860"/>
                </a:lnTo>
                <a:lnTo>
                  <a:pt x="6402" y="13869"/>
                </a:lnTo>
                <a:lnTo>
                  <a:pt x="6405" y="13878"/>
                </a:lnTo>
                <a:lnTo>
                  <a:pt x="6410" y="13877"/>
                </a:lnTo>
                <a:lnTo>
                  <a:pt x="6414" y="13874"/>
                </a:lnTo>
                <a:lnTo>
                  <a:pt x="6418" y="13871"/>
                </a:lnTo>
                <a:lnTo>
                  <a:pt x="6422" y="13868"/>
                </a:lnTo>
                <a:lnTo>
                  <a:pt x="6428" y="13862"/>
                </a:lnTo>
                <a:lnTo>
                  <a:pt x="6432" y="13854"/>
                </a:lnTo>
                <a:lnTo>
                  <a:pt x="6436" y="13848"/>
                </a:lnTo>
                <a:lnTo>
                  <a:pt x="6439" y="13842"/>
                </a:lnTo>
                <a:lnTo>
                  <a:pt x="6441" y="13840"/>
                </a:lnTo>
                <a:lnTo>
                  <a:pt x="6443" y="13838"/>
                </a:lnTo>
                <a:lnTo>
                  <a:pt x="6445" y="13837"/>
                </a:lnTo>
                <a:lnTo>
                  <a:pt x="6447" y="13837"/>
                </a:lnTo>
                <a:lnTo>
                  <a:pt x="6447" y="13832"/>
                </a:lnTo>
                <a:lnTo>
                  <a:pt x="6448" y="13828"/>
                </a:lnTo>
                <a:lnTo>
                  <a:pt x="6449" y="13825"/>
                </a:lnTo>
                <a:lnTo>
                  <a:pt x="6450" y="13823"/>
                </a:lnTo>
                <a:lnTo>
                  <a:pt x="6452" y="13821"/>
                </a:lnTo>
                <a:lnTo>
                  <a:pt x="6454" y="13820"/>
                </a:lnTo>
                <a:lnTo>
                  <a:pt x="6456" y="13820"/>
                </a:lnTo>
                <a:lnTo>
                  <a:pt x="6459" y="13820"/>
                </a:lnTo>
                <a:lnTo>
                  <a:pt x="6464" y="13821"/>
                </a:lnTo>
                <a:lnTo>
                  <a:pt x="6470" y="13824"/>
                </a:lnTo>
                <a:lnTo>
                  <a:pt x="6476" y="13828"/>
                </a:lnTo>
                <a:lnTo>
                  <a:pt x="6482" y="13833"/>
                </a:lnTo>
                <a:lnTo>
                  <a:pt x="6487" y="13838"/>
                </a:lnTo>
                <a:lnTo>
                  <a:pt x="6492" y="13844"/>
                </a:lnTo>
                <a:lnTo>
                  <a:pt x="6495" y="13850"/>
                </a:lnTo>
                <a:lnTo>
                  <a:pt x="6496" y="13856"/>
                </a:lnTo>
                <a:lnTo>
                  <a:pt x="6496" y="13858"/>
                </a:lnTo>
                <a:lnTo>
                  <a:pt x="6495" y="13861"/>
                </a:lnTo>
                <a:lnTo>
                  <a:pt x="6494" y="13863"/>
                </a:lnTo>
                <a:lnTo>
                  <a:pt x="6493" y="13865"/>
                </a:lnTo>
                <a:lnTo>
                  <a:pt x="6490" y="13866"/>
                </a:lnTo>
                <a:lnTo>
                  <a:pt x="6486" y="13867"/>
                </a:lnTo>
                <a:lnTo>
                  <a:pt x="6483" y="13868"/>
                </a:lnTo>
                <a:lnTo>
                  <a:pt x="6478" y="13868"/>
                </a:lnTo>
                <a:lnTo>
                  <a:pt x="6470" y="13880"/>
                </a:lnTo>
                <a:lnTo>
                  <a:pt x="6462" y="13890"/>
                </a:lnTo>
                <a:lnTo>
                  <a:pt x="6454" y="13899"/>
                </a:lnTo>
                <a:lnTo>
                  <a:pt x="6445" y="13908"/>
                </a:lnTo>
                <a:lnTo>
                  <a:pt x="6429" y="13924"/>
                </a:lnTo>
                <a:lnTo>
                  <a:pt x="6414" y="13938"/>
                </a:lnTo>
                <a:lnTo>
                  <a:pt x="6406" y="13946"/>
                </a:lnTo>
                <a:lnTo>
                  <a:pt x="6399" y="13954"/>
                </a:lnTo>
                <a:lnTo>
                  <a:pt x="6392" y="13963"/>
                </a:lnTo>
                <a:lnTo>
                  <a:pt x="6385" y="13973"/>
                </a:lnTo>
                <a:lnTo>
                  <a:pt x="6379" y="13984"/>
                </a:lnTo>
                <a:lnTo>
                  <a:pt x="6373" y="13997"/>
                </a:lnTo>
                <a:lnTo>
                  <a:pt x="6368" y="14011"/>
                </a:lnTo>
                <a:lnTo>
                  <a:pt x="6361" y="14027"/>
                </a:lnTo>
                <a:lnTo>
                  <a:pt x="6354" y="14027"/>
                </a:lnTo>
                <a:lnTo>
                  <a:pt x="6348" y="14029"/>
                </a:lnTo>
                <a:lnTo>
                  <a:pt x="6341" y="14031"/>
                </a:lnTo>
                <a:lnTo>
                  <a:pt x="6334" y="14035"/>
                </a:lnTo>
                <a:lnTo>
                  <a:pt x="6327" y="14039"/>
                </a:lnTo>
                <a:lnTo>
                  <a:pt x="6321" y="14044"/>
                </a:lnTo>
                <a:lnTo>
                  <a:pt x="6315" y="14051"/>
                </a:lnTo>
                <a:lnTo>
                  <a:pt x="6309" y="14057"/>
                </a:lnTo>
                <a:lnTo>
                  <a:pt x="6297" y="14072"/>
                </a:lnTo>
                <a:lnTo>
                  <a:pt x="6287" y="14088"/>
                </a:lnTo>
                <a:lnTo>
                  <a:pt x="6278" y="14105"/>
                </a:lnTo>
                <a:lnTo>
                  <a:pt x="6270" y="14122"/>
                </a:lnTo>
                <a:lnTo>
                  <a:pt x="6265" y="14140"/>
                </a:lnTo>
                <a:lnTo>
                  <a:pt x="6261" y="14157"/>
                </a:lnTo>
                <a:lnTo>
                  <a:pt x="6260" y="14165"/>
                </a:lnTo>
                <a:lnTo>
                  <a:pt x="6259" y="14173"/>
                </a:lnTo>
                <a:lnTo>
                  <a:pt x="6259" y="14181"/>
                </a:lnTo>
                <a:lnTo>
                  <a:pt x="6259" y="14188"/>
                </a:lnTo>
                <a:lnTo>
                  <a:pt x="6261" y="14195"/>
                </a:lnTo>
                <a:lnTo>
                  <a:pt x="6262" y="14200"/>
                </a:lnTo>
                <a:lnTo>
                  <a:pt x="6265" y="14205"/>
                </a:lnTo>
                <a:lnTo>
                  <a:pt x="6268" y="14210"/>
                </a:lnTo>
                <a:lnTo>
                  <a:pt x="6272" y="14213"/>
                </a:lnTo>
                <a:lnTo>
                  <a:pt x="6276" y="14216"/>
                </a:lnTo>
                <a:lnTo>
                  <a:pt x="6282" y="14217"/>
                </a:lnTo>
                <a:lnTo>
                  <a:pt x="6288" y="14218"/>
                </a:lnTo>
                <a:lnTo>
                  <a:pt x="6289" y="14230"/>
                </a:lnTo>
                <a:lnTo>
                  <a:pt x="6290" y="14242"/>
                </a:lnTo>
                <a:lnTo>
                  <a:pt x="6293" y="14254"/>
                </a:lnTo>
                <a:lnTo>
                  <a:pt x="6296" y="14265"/>
                </a:lnTo>
                <a:lnTo>
                  <a:pt x="6300" y="14276"/>
                </a:lnTo>
                <a:lnTo>
                  <a:pt x="6305" y="14287"/>
                </a:lnTo>
                <a:lnTo>
                  <a:pt x="6311" y="14297"/>
                </a:lnTo>
                <a:lnTo>
                  <a:pt x="6317" y="14308"/>
                </a:lnTo>
                <a:lnTo>
                  <a:pt x="6253" y="14289"/>
                </a:lnTo>
                <a:lnTo>
                  <a:pt x="6188" y="14270"/>
                </a:lnTo>
                <a:lnTo>
                  <a:pt x="6124" y="14251"/>
                </a:lnTo>
                <a:lnTo>
                  <a:pt x="6060" y="14231"/>
                </a:lnTo>
                <a:lnTo>
                  <a:pt x="5997" y="14210"/>
                </a:lnTo>
                <a:lnTo>
                  <a:pt x="5934" y="14189"/>
                </a:lnTo>
                <a:lnTo>
                  <a:pt x="5871" y="14166"/>
                </a:lnTo>
                <a:lnTo>
                  <a:pt x="5808" y="14143"/>
                </a:lnTo>
                <a:lnTo>
                  <a:pt x="5806" y="14058"/>
                </a:lnTo>
                <a:lnTo>
                  <a:pt x="5806" y="13953"/>
                </a:lnTo>
                <a:lnTo>
                  <a:pt x="5807" y="13895"/>
                </a:lnTo>
                <a:lnTo>
                  <a:pt x="5808" y="13837"/>
                </a:lnTo>
                <a:lnTo>
                  <a:pt x="5810" y="13778"/>
                </a:lnTo>
                <a:lnTo>
                  <a:pt x="5813" y="13722"/>
                </a:lnTo>
                <a:lnTo>
                  <a:pt x="5817" y="13666"/>
                </a:lnTo>
                <a:lnTo>
                  <a:pt x="5822" y="13615"/>
                </a:lnTo>
                <a:lnTo>
                  <a:pt x="5828" y="13568"/>
                </a:lnTo>
                <a:lnTo>
                  <a:pt x="5834" y="13527"/>
                </a:lnTo>
                <a:lnTo>
                  <a:pt x="5838" y="13509"/>
                </a:lnTo>
                <a:lnTo>
                  <a:pt x="5843" y="13493"/>
                </a:lnTo>
                <a:lnTo>
                  <a:pt x="5847" y="13479"/>
                </a:lnTo>
                <a:lnTo>
                  <a:pt x="5852" y="13467"/>
                </a:lnTo>
                <a:lnTo>
                  <a:pt x="5857" y="13458"/>
                </a:lnTo>
                <a:lnTo>
                  <a:pt x="5864" y="13451"/>
                </a:lnTo>
                <a:lnTo>
                  <a:pt x="5869" y="13447"/>
                </a:lnTo>
                <a:lnTo>
                  <a:pt x="5876" y="13445"/>
                </a:lnTo>
                <a:lnTo>
                  <a:pt x="5877" y="13429"/>
                </a:lnTo>
                <a:lnTo>
                  <a:pt x="5880" y="13404"/>
                </a:lnTo>
                <a:lnTo>
                  <a:pt x="5886" y="13377"/>
                </a:lnTo>
                <a:lnTo>
                  <a:pt x="5893" y="13348"/>
                </a:lnTo>
                <a:lnTo>
                  <a:pt x="5896" y="13334"/>
                </a:lnTo>
                <a:lnTo>
                  <a:pt x="5901" y="13321"/>
                </a:lnTo>
                <a:lnTo>
                  <a:pt x="5905" y="13309"/>
                </a:lnTo>
                <a:lnTo>
                  <a:pt x="5909" y="13298"/>
                </a:lnTo>
                <a:lnTo>
                  <a:pt x="5914" y="13288"/>
                </a:lnTo>
                <a:lnTo>
                  <a:pt x="5919" y="13281"/>
                </a:lnTo>
                <a:lnTo>
                  <a:pt x="5921" y="13279"/>
                </a:lnTo>
                <a:lnTo>
                  <a:pt x="5923" y="13277"/>
                </a:lnTo>
                <a:lnTo>
                  <a:pt x="5926" y="13276"/>
                </a:lnTo>
                <a:lnTo>
                  <a:pt x="5928" y="13275"/>
                </a:lnTo>
                <a:lnTo>
                  <a:pt x="5929" y="13243"/>
                </a:lnTo>
                <a:lnTo>
                  <a:pt x="5930" y="13210"/>
                </a:lnTo>
                <a:lnTo>
                  <a:pt x="5931" y="13175"/>
                </a:lnTo>
                <a:lnTo>
                  <a:pt x="5932" y="13139"/>
                </a:lnTo>
                <a:lnTo>
                  <a:pt x="5933" y="13103"/>
                </a:lnTo>
                <a:lnTo>
                  <a:pt x="5932" y="13066"/>
                </a:lnTo>
                <a:lnTo>
                  <a:pt x="5931" y="13027"/>
                </a:lnTo>
                <a:lnTo>
                  <a:pt x="5928" y="12990"/>
                </a:lnTo>
                <a:lnTo>
                  <a:pt x="5925" y="12984"/>
                </a:lnTo>
                <a:lnTo>
                  <a:pt x="5923" y="12978"/>
                </a:lnTo>
                <a:lnTo>
                  <a:pt x="5922" y="12972"/>
                </a:lnTo>
                <a:lnTo>
                  <a:pt x="5921" y="12966"/>
                </a:lnTo>
                <a:lnTo>
                  <a:pt x="5920" y="12953"/>
                </a:lnTo>
                <a:lnTo>
                  <a:pt x="5922" y="12940"/>
                </a:lnTo>
                <a:lnTo>
                  <a:pt x="5924" y="12926"/>
                </a:lnTo>
                <a:lnTo>
                  <a:pt x="5928" y="12911"/>
                </a:lnTo>
                <a:lnTo>
                  <a:pt x="5934" y="12896"/>
                </a:lnTo>
                <a:lnTo>
                  <a:pt x="5940" y="12882"/>
                </a:lnTo>
                <a:lnTo>
                  <a:pt x="5953" y="12851"/>
                </a:lnTo>
                <a:lnTo>
                  <a:pt x="5968" y="12818"/>
                </a:lnTo>
                <a:lnTo>
                  <a:pt x="5974" y="12801"/>
                </a:lnTo>
                <a:lnTo>
                  <a:pt x="5981" y="12783"/>
                </a:lnTo>
                <a:lnTo>
                  <a:pt x="5987" y="12765"/>
                </a:lnTo>
                <a:lnTo>
                  <a:pt x="5992" y="12747"/>
                </a:lnTo>
                <a:lnTo>
                  <a:pt x="6003" y="12739"/>
                </a:lnTo>
                <a:lnTo>
                  <a:pt x="6012" y="12729"/>
                </a:lnTo>
                <a:lnTo>
                  <a:pt x="6021" y="12716"/>
                </a:lnTo>
                <a:lnTo>
                  <a:pt x="6028" y="12700"/>
                </a:lnTo>
                <a:lnTo>
                  <a:pt x="6035" y="12682"/>
                </a:lnTo>
                <a:lnTo>
                  <a:pt x="6041" y="12661"/>
                </a:lnTo>
                <a:lnTo>
                  <a:pt x="6046" y="12639"/>
                </a:lnTo>
                <a:lnTo>
                  <a:pt x="6050" y="12615"/>
                </a:lnTo>
                <a:lnTo>
                  <a:pt x="6054" y="12589"/>
                </a:lnTo>
                <a:lnTo>
                  <a:pt x="6057" y="12563"/>
                </a:lnTo>
                <a:lnTo>
                  <a:pt x="6059" y="12534"/>
                </a:lnTo>
                <a:lnTo>
                  <a:pt x="6061" y="12505"/>
                </a:lnTo>
                <a:lnTo>
                  <a:pt x="6064" y="12446"/>
                </a:lnTo>
                <a:lnTo>
                  <a:pt x="6066" y="12385"/>
                </a:lnTo>
                <a:lnTo>
                  <a:pt x="6068" y="12325"/>
                </a:lnTo>
                <a:lnTo>
                  <a:pt x="6070" y="12267"/>
                </a:lnTo>
                <a:lnTo>
                  <a:pt x="6073" y="12214"/>
                </a:lnTo>
                <a:lnTo>
                  <a:pt x="6077" y="12167"/>
                </a:lnTo>
                <a:lnTo>
                  <a:pt x="6080" y="12145"/>
                </a:lnTo>
                <a:lnTo>
                  <a:pt x="6083" y="12126"/>
                </a:lnTo>
                <a:lnTo>
                  <a:pt x="6087" y="12110"/>
                </a:lnTo>
                <a:lnTo>
                  <a:pt x="6092" y="12096"/>
                </a:lnTo>
                <a:lnTo>
                  <a:pt x="6097" y="12085"/>
                </a:lnTo>
                <a:lnTo>
                  <a:pt x="6103" y="12076"/>
                </a:lnTo>
                <a:lnTo>
                  <a:pt x="6110" y="12071"/>
                </a:lnTo>
                <a:lnTo>
                  <a:pt x="6119" y="12070"/>
                </a:lnTo>
                <a:lnTo>
                  <a:pt x="6120" y="12013"/>
                </a:lnTo>
                <a:lnTo>
                  <a:pt x="6122" y="11959"/>
                </a:lnTo>
                <a:lnTo>
                  <a:pt x="6125" y="11909"/>
                </a:lnTo>
                <a:lnTo>
                  <a:pt x="6129" y="11859"/>
                </a:lnTo>
                <a:lnTo>
                  <a:pt x="6134" y="11811"/>
                </a:lnTo>
                <a:lnTo>
                  <a:pt x="6138" y="11764"/>
                </a:lnTo>
                <a:lnTo>
                  <a:pt x="6143" y="11719"/>
                </a:lnTo>
                <a:lnTo>
                  <a:pt x="6147" y="11675"/>
                </a:lnTo>
                <a:lnTo>
                  <a:pt x="6151" y="11630"/>
                </a:lnTo>
                <a:lnTo>
                  <a:pt x="6154" y="11586"/>
                </a:lnTo>
                <a:lnTo>
                  <a:pt x="6156" y="11541"/>
                </a:lnTo>
                <a:lnTo>
                  <a:pt x="6157" y="11494"/>
                </a:lnTo>
                <a:lnTo>
                  <a:pt x="6156" y="11448"/>
                </a:lnTo>
                <a:lnTo>
                  <a:pt x="6153" y="11399"/>
                </a:lnTo>
                <a:lnTo>
                  <a:pt x="6150" y="11374"/>
                </a:lnTo>
                <a:lnTo>
                  <a:pt x="6148" y="11349"/>
                </a:lnTo>
                <a:lnTo>
                  <a:pt x="6144" y="11323"/>
                </a:lnTo>
                <a:lnTo>
                  <a:pt x="6140" y="11297"/>
                </a:lnTo>
                <a:lnTo>
                  <a:pt x="6142" y="11296"/>
                </a:lnTo>
                <a:lnTo>
                  <a:pt x="6142" y="11295"/>
                </a:lnTo>
                <a:lnTo>
                  <a:pt x="6142" y="11293"/>
                </a:lnTo>
                <a:lnTo>
                  <a:pt x="6141" y="11290"/>
                </a:lnTo>
                <a:lnTo>
                  <a:pt x="6136" y="11281"/>
                </a:lnTo>
                <a:lnTo>
                  <a:pt x="6128" y="11269"/>
                </a:lnTo>
                <a:lnTo>
                  <a:pt x="6106" y="11242"/>
                </a:lnTo>
                <a:lnTo>
                  <a:pt x="6079" y="11211"/>
                </a:lnTo>
                <a:lnTo>
                  <a:pt x="6051" y="11180"/>
                </a:lnTo>
                <a:lnTo>
                  <a:pt x="6026" y="11153"/>
                </a:lnTo>
                <a:lnTo>
                  <a:pt x="6009" y="11133"/>
                </a:lnTo>
                <a:lnTo>
                  <a:pt x="6002" y="11127"/>
                </a:lnTo>
                <a:lnTo>
                  <a:pt x="5988" y="11126"/>
                </a:lnTo>
                <a:lnTo>
                  <a:pt x="5973" y="11124"/>
                </a:lnTo>
                <a:lnTo>
                  <a:pt x="5959" y="11121"/>
                </a:lnTo>
                <a:lnTo>
                  <a:pt x="5946" y="11116"/>
                </a:lnTo>
                <a:lnTo>
                  <a:pt x="5933" y="11110"/>
                </a:lnTo>
                <a:lnTo>
                  <a:pt x="5920" y="11103"/>
                </a:lnTo>
                <a:lnTo>
                  <a:pt x="5907" y="11095"/>
                </a:lnTo>
                <a:lnTo>
                  <a:pt x="5895" y="11087"/>
                </a:lnTo>
                <a:lnTo>
                  <a:pt x="5884" y="11077"/>
                </a:lnTo>
                <a:lnTo>
                  <a:pt x="5872" y="11066"/>
                </a:lnTo>
                <a:lnTo>
                  <a:pt x="5861" y="11055"/>
                </a:lnTo>
                <a:lnTo>
                  <a:pt x="5850" y="11043"/>
                </a:lnTo>
                <a:lnTo>
                  <a:pt x="5840" y="11030"/>
                </a:lnTo>
                <a:lnTo>
                  <a:pt x="5830" y="11016"/>
                </a:lnTo>
                <a:lnTo>
                  <a:pt x="5820" y="11002"/>
                </a:lnTo>
                <a:lnTo>
                  <a:pt x="5812" y="10988"/>
                </a:lnTo>
                <a:lnTo>
                  <a:pt x="5795" y="10959"/>
                </a:lnTo>
                <a:lnTo>
                  <a:pt x="5781" y="10930"/>
                </a:lnTo>
                <a:lnTo>
                  <a:pt x="5768" y="10900"/>
                </a:lnTo>
                <a:lnTo>
                  <a:pt x="5758" y="10870"/>
                </a:lnTo>
                <a:lnTo>
                  <a:pt x="5749" y="10841"/>
                </a:lnTo>
                <a:lnTo>
                  <a:pt x="5743" y="10815"/>
                </a:lnTo>
                <a:lnTo>
                  <a:pt x="5741" y="10802"/>
                </a:lnTo>
                <a:lnTo>
                  <a:pt x="5740" y="10790"/>
                </a:lnTo>
                <a:lnTo>
                  <a:pt x="5739" y="10779"/>
                </a:lnTo>
                <a:lnTo>
                  <a:pt x="5738" y="10767"/>
                </a:lnTo>
                <a:lnTo>
                  <a:pt x="5731" y="10748"/>
                </a:lnTo>
                <a:lnTo>
                  <a:pt x="5723" y="10727"/>
                </a:lnTo>
                <a:lnTo>
                  <a:pt x="5714" y="10705"/>
                </a:lnTo>
                <a:lnTo>
                  <a:pt x="5705" y="10682"/>
                </a:lnTo>
                <a:lnTo>
                  <a:pt x="5697" y="10658"/>
                </a:lnTo>
                <a:lnTo>
                  <a:pt x="5691" y="10634"/>
                </a:lnTo>
                <a:lnTo>
                  <a:pt x="5688" y="10622"/>
                </a:lnTo>
                <a:lnTo>
                  <a:pt x="5686" y="10610"/>
                </a:lnTo>
                <a:lnTo>
                  <a:pt x="5685" y="10599"/>
                </a:lnTo>
                <a:lnTo>
                  <a:pt x="5685" y="10587"/>
                </a:lnTo>
                <a:lnTo>
                  <a:pt x="5687" y="10586"/>
                </a:lnTo>
                <a:lnTo>
                  <a:pt x="5688" y="10583"/>
                </a:lnTo>
                <a:lnTo>
                  <a:pt x="5687" y="10578"/>
                </a:lnTo>
                <a:lnTo>
                  <a:pt x="5685" y="10571"/>
                </a:lnTo>
                <a:lnTo>
                  <a:pt x="5677" y="10553"/>
                </a:lnTo>
                <a:lnTo>
                  <a:pt x="5665" y="10529"/>
                </a:lnTo>
                <a:lnTo>
                  <a:pt x="5649" y="10500"/>
                </a:lnTo>
                <a:lnTo>
                  <a:pt x="5630" y="10468"/>
                </a:lnTo>
                <a:lnTo>
                  <a:pt x="5610" y="10434"/>
                </a:lnTo>
                <a:lnTo>
                  <a:pt x="5587" y="10400"/>
                </a:lnTo>
                <a:lnTo>
                  <a:pt x="5542" y="10331"/>
                </a:lnTo>
                <a:lnTo>
                  <a:pt x="5503" y="10272"/>
                </a:lnTo>
                <a:lnTo>
                  <a:pt x="5473" y="10230"/>
                </a:lnTo>
                <a:lnTo>
                  <a:pt x="5462" y="10217"/>
                </a:lnTo>
                <a:lnTo>
                  <a:pt x="5450" y="10210"/>
                </a:lnTo>
                <a:lnTo>
                  <a:pt x="5440" y="10203"/>
                </a:lnTo>
                <a:lnTo>
                  <a:pt x="5431" y="10195"/>
                </a:lnTo>
                <a:lnTo>
                  <a:pt x="5424" y="10187"/>
                </a:lnTo>
                <a:lnTo>
                  <a:pt x="5418" y="10180"/>
                </a:lnTo>
                <a:lnTo>
                  <a:pt x="5413" y="10172"/>
                </a:lnTo>
                <a:lnTo>
                  <a:pt x="5409" y="10163"/>
                </a:lnTo>
                <a:lnTo>
                  <a:pt x="5406" y="10155"/>
                </a:lnTo>
                <a:lnTo>
                  <a:pt x="5405" y="10147"/>
                </a:lnTo>
                <a:lnTo>
                  <a:pt x="5404" y="10137"/>
                </a:lnTo>
                <a:lnTo>
                  <a:pt x="5405" y="10128"/>
                </a:lnTo>
                <a:lnTo>
                  <a:pt x="5406" y="10119"/>
                </a:lnTo>
                <a:lnTo>
                  <a:pt x="5408" y="10110"/>
                </a:lnTo>
                <a:lnTo>
                  <a:pt x="5410" y="10101"/>
                </a:lnTo>
                <a:lnTo>
                  <a:pt x="5413" y="10092"/>
                </a:lnTo>
                <a:lnTo>
                  <a:pt x="5417" y="10082"/>
                </a:lnTo>
                <a:lnTo>
                  <a:pt x="5435" y="10042"/>
                </a:lnTo>
                <a:lnTo>
                  <a:pt x="5455" y="10000"/>
                </a:lnTo>
                <a:lnTo>
                  <a:pt x="5465" y="9978"/>
                </a:lnTo>
                <a:lnTo>
                  <a:pt x="5473" y="9956"/>
                </a:lnTo>
                <a:lnTo>
                  <a:pt x="5476" y="9945"/>
                </a:lnTo>
                <a:lnTo>
                  <a:pt x="5479" y="9934"/>
                </a:lnTo>
                <a:lnTo>
                  <a:pt x="5483" y="9922"/>
                </a:lnTo>
                <a:lnTo>
                  <a:pt x="5484" y="9911"/>
                </a:lnTo>
                <a:lnTo>
                  <a:pt x="5473" y="9906"/>
                </a:lnTo>
                <a:lnTo>
                  <a:pt x="5464" y="9900"/>
                </a:lnTo>
                <a:lnTo>
                  <a:pt x="5456" y="9893"/>
                </a:lnTo>
                <a:lnTo>
                  <a:pt x="5450" y="9883"/>
                </a:lnTo>
                <a:lnTo>
                  <a:pt x="5444" y="9873"/>
                </a:lnTo>
                <a:lnTo>
                  <a:pt x="5440" y="9862"/>
                </a:lnTo>
                <a:lnTo>
                  <a:pt x="5437" y="9850"/>
                </a:lnTo>
                <a:lnTo>
                  <a:pt x="5435" y="9837"/>
                </a:lnTo>
                <a:lnTo>
                  <a:pt x="5434" y="9824"/>
                </a:lnTo>
                <a:lnTo>
                  <a:pt x="5433" y="9809"/>
                </a:lnTo>
                <a:lnTo>
                  <a:pt x="5434" y="9795"/>
                </a:lnTo>
                <a:lnTo>
                  <a:pt x="5435" y="9779"/>
                </a:lnTo>
                <a:lnTo>
                  <a:pt x="5437" y="9763"/>
                </a:lnTo>
                <a:lnTo>
                  <a:pt x="5439" y="9747"/>
                </a:lnTo>
                <a:lnTo>
                  <a:pt x="5443" y="9731"/>
                </a:lnTo>
                <a:lnTo>
                  <a:pt x="5446" y="9715"/>
                </a:lnTo>
                <a:lnTo>
                  <a:pt x="5455" y="9684"/>
                </a:lnTo>
                <a:lnTo>
                  <a:pt x="5466" y="9654"/>
                </a:lnTo>
                <a:lnTo>
                  <a:pt x="5477" y="9625"/>
                </a:lnTo>
                <a:lnTo>
                  <a:pt x="5490" y="9601"/>
                </a:lnTo>
                <a:lnTo>
                  <a:pt x="5497" y="9590"/>
                </a:lnTo>
                <a:lnTo>
                  <a:pt x="5503" y="9580"/>
                </a:lnTo>
                <a:lnTo>
                  <a:pt x="5509" y="9572"/>
                </a:lnTo>
                <a:lnTo>
                  <a:pt x="5515" y="9564"/>
                </a:lnTo>
                <a:lnTo>
                  <a:pt x="5521" y="9558"/>
                </a:lnTo>
                <a:lnTo>
                  <a:pt x="5526" y="9554"/>
                </a:lnTo>
                <a:lnTo>
                  <a:pt x="5532" y="9551"/>
                </a:lnTo>
                <a:lnTo>
                  <a:pt x="5537" y="9551"/>
                </a:lnTo>
                <a:lnTo>
                  <a:pt x="5539" y="9536"/>
                </a:lnTo>
                <a:lnTo>
                  <a:pt x="5544" y="9523"/>
                </a:lnTo>
                <a:lnTo>
                  <a:pt x="5549" y="9510"/>
                </a:lnTo>
                <a:lnTo>
                  <a:pt x="5556" y="9499"/>
                </a:lnTo>
                <a:lnTo>
                  <a:pt x="5565" y="9489"/>
                </a:lnTo>
                <a:lnTo>
                  <a:pt x="5575" y="9480"/>
                </a:lnTo>
                <a:lnTo>
                  <a:pt x="5587" y="9472"/>
                </a:lnTo>
                <a:lnTo>
                  <a:pt x="5600" y="9466"/>
                </a:lnTo>
                <a:lnTo>
                  <a:pt x="5603" y="9475"/>
                </a:lnTo>
                <a:lnTo>
                  <a:pt x="5606" y="9482"/>
                </a:lnTo>
                <a:lnTo>
                  <a:pt x="5610" y="9489"/>
                </a:lnTo>
                <a:lnTo>
                  <a:pt x="5614" y="9494"/>
                </a:lnTo>
                <a:lnTo>
                  <a:pt x="5619" y="9497"/>
                </a:lnTo>
                <a:lnTo>
                  <a:pt x="5623" y="9500"/>
                </a:lnTo>
                <a:lnTo>
                  <a:pt x="5628" y="9501"/>
                </a:lnTo>
                <a:lnTo>
                  <a:pt x="5633" y="9502"/>
                </a:lnTo>
                <a:lnTo>
                  <a:pt x="5639" y="9501"/>
                </a:lnTo>
                <a:lnTo>
                  <a:pt x="5644" y="9500"/>
                </a:lnTo>
                <a:lnTo>
                  <a:pt x="5649" y="9498"/>
                </a:lnTo>
                <a:lnTo>
                  <a:pt x="5654" y="9495"/>
                </a:lnTo>
                <a:lnTo>
                  <a:pt x="5659" y="9492"/>
                </a:lnTo>
                <a:lnTo>
                  <a:pt x="5664" y="9488"/>
                </a:lnTo>
                <a:lnTo>
                  <a:pt x="5668" y="9484"/>
                </a:lnTo>
                <a:lnTo>
                  <a:pt x="5673" y="9479"/>
                </a:lnTo>
                <a:lnTo>
                  <a:pt x="5680" y="9468"/>
                </a:lnTo>
                <a:lnTo>
                  <a:pt x="5686" y="9457"/>
                </a:lnTo>
                <a:lnTo>
                  <a:pt x="5687" y="9452"/>
                </a:lnTo>
                <a:lnTo>
                  <a:pt x="5689" y="9447"/>
                </a:lnTo>
                <a:lnTo>
                  <a:pt x="5689" y="9441"/>
                </a:lnTo>
                <a:lnTo>
                  <a:pt x="5689" y="9436"/>
                </a:lnTo>
                <a:lnTo>
                  <a:pt x="5688" y="9431"/>
                </a:lnTo>
                <a:lnTo>
                  <a:pt x="5686" y="9427"/>
                </a:lnTo>
                <a:lnTo>
                  <a:pt x="5683" y="9423"/>
                </a:lnTo>
                <a:lnTo>
                  <a:pt x="5679" y="9420"/>
                </a:lnTo>
                <a:lnTo>
                  <a:pt x="5675" y="9417"/>
                </a:lnTo>
                <a:lnTo>
                  <a:pt x="5669" y="9415"/>
                </a:lnTo>
                <a:lnTo>
                  <a:pt x="5661" y="9414"/>
                </a:lnTo>
                <a:lnTo>
                  <a:pt x="5653" y="9413"/>
                </a:lnTo>
                <a:lnTo>
                  <a:pt x="5653" y="9383"/>
                </a:lnTo>
                <a:lnTo>
                  <a:pt x="5652" y="9348"/>
                </a:lnTo>
                <a:lnTo>
                  <a:pt x="5651" y="9311"/>
                </a:lnTo>
                <a:lnTo>
                  <a:pt x="5650" y="9273"/>
                </a:lnTo>
                <a:lnTo>
                  <a:pt x="5650" y="9236"/>
                </a:lnTo>
                <a:lnTo>
                  <a:pt x="5650" y="9203"/>
                </a:lnTo>
                <a:lnTo>
                  <a:pt x="5651" y="9177"/>
                </a:lnTo>
                <a:lnTo>
                  <a:pt x="5653" y="9159"/>
                </a:lnTo>
                <a:lnTo>
                  <a:pt x="5652" y="9138"/>
                </a:lnTo>
                <a:lnTo>
                  <a:pt x="5649" y="9114"/>
                </a:lnTo>
                <a:lnTo>
                  <a:pt x="5644" y="9091"/>
                </a:lnTo>
                <a:lnTo>
                  <a:pt x="5637" y="9067"/>
                </a:lnTo>
                <a:lnTo>
                  <a:pt x="5629" y="9044"/>
                </a:lnTo>
                <a:lnTo>
                  <a:pt x="5619" y="9023"/>
                </a:lnTo>
                <a:lnTo>
                  <a:pt x="5614" y="9013"/>
                </a:lnTo>
                <a:lnTo>
                  <a:pt x="5609" y="9003"/>
                </a:lnTo>
                <a:lnTo>
                  <a:pt x="5602" y="8994"/>
                </a:lnTo>
                <a:lnTo>
                  <a:pt x="5596" y="8987"/>
                </a:lnTo>
                <a:lnTo>
                  <a:pt x="5590" y="8980"/>
                </a:lnTo>
                <a:lnTo>
                  <a:pt x="5583" y="8975"/>
                </a:lnTo>
                <a:lnTo>
                  <a:pt x="5576" y="8970"/>
                </a:lnTo>
                <a:lnTo>
                  <a:pt x="5570" y="8967"/>
                </a:lnTo>
                <a:lnTo>
                  <a:pt x="5563" y="8965"/>
                </a:lnTo>
                <a:lnTo>
                  <a:pt x="5556" y="8965"/>
                </a:lnTo>
                <a:lnTo>
                  <a:pt x="5549" y="8966"/>
                </a:lnTo>
                <a:lnTo>
                  <a:pt x="5542" y="8969"/>
                </a:lnTo>
                <a:lnTo>
                  <a:pt x="5534" y="8974"/>
                </a:lnTo>
                <a:lnTo>
                  <a:pt x="5527" y="8980"/>
                </a:lnTo>
                <a:lnTo>
                  <a:pt x="5520" y="8988"/>
                </a:lnTo>
                <a:lnTo>
                  <a:pt x="5513" y="8999"/>
                </a:lnTo>
                <a:lnTo>
                  <a:pt x="5506" y="9012"/>
                </a:lnTo>
                <a:lnTo>
                  <a:pt x="5498" y="9027"/>
                </a:lnTo>
                <a:lnTo>
                  <a:pt x="5491" y="9044"/>
                </a:lnTo>
                <a:lnTo>
                  <a:pt x="5484" y="9064"/>
                </a:lnTo>
                <a:lnTo>
                  <a:pt x="5467" y="9057"/>
                </a:lnTo>
                <a:lnTo>
                  <a:pt x="5449" y="9051"/>
                </a:lnTo>
                <a:lnTo>
                  <a:pt x="5428" y="9045"/>
                </a:lnTo>
                <a:lnTo>
                  <a:pt x="5407" y="9040"/>
                </a:lnTo>
                <a:lnTo>
                  <a:pt x="5360" y="9030"/>
                </a:lnTo>
                <a:lnTo>
                  <a:pt x="5312" y="9017"/>
                </a:lnTo>
                <a:lnTo>
                  <a:pt x="5289" y="9010"/>
                </a:lnTo>
                <a:lnTo>
                  <a:pt x="5268" y="9000"/>
                </a:lnTo>
                <a:lnTo>
                  <a:pt x="5258" y="8995"/>
                </a:lnTo>
                <a:lnTo>
                  <a:pt x="5248" y="8989"/>
                </a:lnTo>
                <a:lnTo>
                  <a:pt x="5239" y="8984"/>
                </a:lnTo>
                <a:lnTo>
                  <a:pt x="5230" y="8977"/>
                </a:lnTo>
                <a:lnTo>
                  <a:pt x="5221" y="8970"/>
                </a:lnTo>
                <a:lnTo>
                  <a:pt x="5214" y="8963"/>
                </a:lnTo>
                <a:lnTo>
                  <a:pt x="5207" y="8955"/>
                </a:lnTo>
                <a:lnTo>
                  <a:pt x="5201" y="8946"/>
                </a:lnTo>
                <a:lnTo>
                  <a:pt x="5196" y="8937"/>
                </a:lnTo>
                <a:lnTo>
                  <a:pt x="5192" y="8927"/>
                </a:lnTo>
                <a:lnTo>
                  <a:pt x="5189" y="8917"/>
                </a:lnTo>
                <a:lnTo>
                  <a:pt x="5187" y="8905"/>
                </a:lnTo>
                <a:lnTo>
                  <a:pt x="5188" y="8899"/>
                </a:lnTo>
                <a:lnTo>
                  <a:pt x="5188" y="8893"/>
                </a:lnTo>
                <a:lnTo>
                  <a:pt x="5187" y="8886"/>
                </a:lnTo>
                <a:lnTo>
                  <a:pt x="5186" y="8878"/>
                </a:lnTo>
                <a:lnTo>
                  <a:pt x="5181" y="8864"/>
                </a:lnTo>
                <a:lnTo>
                  <a:pt x="5174" y="8849"/>
                </a:lnTo>
                <a:lnTo>
                  <a:pt x="5165" y="8833"/>
                </a:lnTo>
                <a:lnTo>
                  <a:pt x="5154" y="8817"/>
                </a:lnTo>
                <a:lnTo>
                  <a:pt x="5143" y="8800"/>
                </a:lnTo>
                <a:lnTo>
                  <a:pt x="5130" y="8784"/>
                </a:lnTo>
                <a:lnTo>
                  <a:pt x="5116" y="8769"/>
                </a:lnTo>
                <a:lnTo>
                  <a:pt x="5101" y="8753"/>
                </a:lnTo>
                <a:lnTo>
                  <a:pt x="5087" y="8739"/>
                </a:lnTo>
                <a:lnTo>
                  <a:pt x="5074" y="8727"/>
                </a:lnTo>
                <a:lnTo>
                  <a:pt x="5061" y="8715"/>
                </a:lnTo>
                <a:lnTo>
                  <a:pt x="5049" y="8706"/>
                </a:lnTo>
                <a:lnTo>
                  <a:pt x="5038" y="8698"/>
                </a:lnTo>
                <a:lnTo>
                  <a:pt x="5029" y="8693"/>
                </a:lnTo>
                <a:lnTo>
                  <a:pt x="5032" y="8683"/>
                </a:lnTo>
                <a:lnTo>
                  <a:pt x="5033" y="8672"/>
                </a:lnTo>
                <a:lnTo>
                  <a:pt x="5033" y="8662"/>
                </a:lnTo>
                <a:lnTo>
                  <a:pt x="5031" y="8651"/>
                </a:lnTo>
                <a:lnTo>
                  <a:pt x="5028" y="8641"/>
                </a:lnTo>
                <a:lnTo>
                  <a:pt x="5024" y="8629"/>
                </a:lnTo>
                <a:lnTo>
                  <a:pt x="5018" y="8618"/>
                </a:lnTo>
                <a:lnTo>
                  <a:pt x="5011" y="8607"/>
                </a:lnTo>
                <a:lnTo>
                  <a:pt x="5004" y="8597"/>
                </a:lnTo>
                <a:lnTo>
                  <a:pt x="4995" y="8586"/>
                </a:lnTo>
                <a:lnTo>
                  <a:pt x="4985" y="8575"/>
                </a:lnTo>
                <a:lnTo>
                  <a:pt x="4974" y="8565"/>
                </a:lnTo>
                <a:lnTo>
                  <a:pt x="4962" y="8555"/>
                </a:lnTo>
                <a:lnTo>
                  <a:pt x="4951" y="8545"/>
                </a:lnTo>
                <a:lnTo>
                  <a:pt x="4938" y="8535"/>
                </a:lnTo>
                <a:lnTo>
                  <a:pt x="4925" y="8526"/>
                </a:lnTo>
                <a:lnTo>
                  <a:pt x="4898" y="8508"/>
                </a:lnTo>
                <a:lnTo>
                  <a:pt x="4871" y="8490"/>
                </a:lnTo>
                <a:lnTo>
                  <a:pt x="4842" y="8476"/>
                </a:lnTo>
                <a:lnTo>
                  <a:pt x="4814" y="8463"/>
                </a:lnTo>
                <a:lnTo>
                  <a:pt x="4788" y="8453"/>
                </a:lnTo>
                <a:lnTo>
                  <a:pt x="4763" y="8446"/>
                </a:lnTo>
                <a:lnTo>
                  <a:pt x="4752" y="8443"/>
                </a:lnTo>
                <a:lnTo>
                  <a:pt x="4741" y="8441"/>
                </a:lnTo>
                <a:lnTo>
                  <a:pt x="4731" y="8440"/>
                </a:lnTo>
                <a:lnTo>
                  <a:pt x="4721" y="8439"/>
                </a:lnTo>
                <a:lnTo>
                  <a:pt x="4721" y="8435"/>
                </a:lnTo>
                <a:lnTo>
                  <a:pt x="4719" y="8432"/>
                </a:lnTo>
                <a:lnTo>
                  <a:pt x="4717" y="8429"/>
                </a:lnTo>
                <a:lnTo>
                  <a:pt x="4713" y="8427"/>
                </a:lnTo>
                <a:lnTo>
                  <a:pt x="4705" y="8423"/>
                </a:lnTo>
                <a:lnTo>
                  <a:pt x="4695" y="8420"/>
                </a:lnTo>
                <a:lnTo>
                  <a:pt x="4685" y="8417"/>
                </a:lnTo>
                <a:lnTo>
                  <a:pt x="4674" y="8413"/>
                </a:lnTo>
                <a:lnTo>
                  <a:pt x="4670" y="8410"/>
                </a:lnTo>
                <a:lnTo>
                  <a:pt x="4665" y="8406"/>
                </a:lnTo>
                <a:lnTo>
                  <a:pt x="4661" y="8402"/>
                </a:lnTo>
                <a:lnTo>
                  <a:pt x="4658" y="8397"/>
                </a:lnTo>
                <a:lnTo>
                  <a:pt x="4650" y="8397"/>
                </a:lnTo>
                <a:lnTo>
                  <a:pt x="4642" y="8396"/>
                </a:lnTo>
                <a:lnTo>
                  <a:pt x="4634" y="8394"/>
                </a:lnTo>
                <a:lnTo>
                  <a:pt x="4626" y="8392"/>
                </a:lnTo>
                <a:lnTo>
                  <a:pt x="4619" y="8389"/>
                </a:lnTo>
                <a:lnTo>
                  <a:pt x="4612" y="8386"/>
                </a:lnTo>
                <a:lnTo>
                  <a:pt x="4606" y="8382"/>
                </a:lnTo>
                <a:lnTo>
                  <a:pt x="4598" y="8376"/>
                </a:lnTo>
                <a:lnTo>
                  <a:pt x="4586" y="8367"/>
                </a:lnTo>
                <a:lnTo>
                  <a:pt x="4574" y="8356"/>
                </a:lnTo>
                <a:lnTo>
                  <a:pt x="4563" y="8345"/>
                </a:lnTo>
                <a:lnTo>
                  <a:pt x="4552" y="8333"/>
                </a:lnTo>
                <a:lnTo>
                  <a:pt x="4540" y="8321"/>
                </a:lnTo>
                <a:lnTo>
                  <a:pt x="4528" y="8310"/>
                </a:lnTo>
                <a:lnTo>
                  <a:pt x="4516" y="8299"/>
                </a:lnTo>
                <a:lnTo>
                  <a:pt x="4503" y="8290"/>
                </a:lnTo>
                <a:lnTo>
                  <a:pt x="4496" y="8286"/>
                </a:lnTo>
                <a:lnTo>
                  <a:pt x="4488" y="8282"/>
                </a:lnTo>
                <a:lnTo>
                  <a:pt x="4481" y="8278"/>
                </a:lnTo>
                <a:lnTo>
                  <a:pt x="4472" y="8276"/>
                </a:lnTo>
                <a:lnTo>
                  <a:pt x="4463" y="8273"/>
                </a:lnTo>
                <a:lnTo>
                  <a:pt x="4455" y="8272"/>
                </a:lnTo>
                <a:lnTo>
                  <a:pt x="4445" y="8271"/>
                </a:lnTo>
                <a:lnTo>
                  <a:pt x="4436" y="8270"/>
                </a:lnTo>
                <a:lnTo>
                  <a:pt x="4413" y="8269"/>
                </a:lnTo>
                <a:lnTo>
                  <a:pt x="4390" y="8267"/>
                </a:lnTo>
                <a:lnTo>
                  <a:pt x="4367" y="8262"/>
                </a:lnTo>
                <a:lnTo>
                  <a:pt x="4343" y="8257"/>
                </a:lnTo>
                <a:lnTo>
                  <a:pt x="4298" y="8243"/>
                </a:lnTo>
                <a:lnTo>
                  <a:pt x="4253" y="8227"/>
                </a:lnTo>
                <a:lnTo>
                  <a:pt x="4207" y="8212"/>
                </a:lnTo>
                <a:lnTo>
                  <a:pt x="4163" y="8198"/>
                </a:lnTo>
                <a:lnTo>
                  <a:pt x="4141" y="8193"/>
                </a:lnTo>
                <a:lnTo>
                  <a:pt x="4119" y="8189"/>
                </a:lnTo>
                <a:lnTo>
                  <a:pt x="4098" y="8186"/>
                </a:lnTo>
                <a:lnTo>
                  <a:pt x="4076" y="8185"/>
                </a:lnTo>
                <a:lnTo>
                  <a:pt x="4072" y="8179"/>
                </a:lnTo>
                <a:lnTo>
                  <a:pt x="4067" y="8172"/>
                </a:lnTo>
                <a:lnTo>
                  <a:pt x="4062" y="8167"/>
                </a:lnTo>
                <a:lnTo>
                  <a:pt x="4056" y="8162"/>
                </a:lnTo>
                <a:lnTo>
                  <a:pt x="4049" y="8157"/>
                </a:lnTo>
                <a:lnTo>
                  <a:pt x="4042" y="8153"/>
                </a:lnTo>
                <a:lnTo>
                  <a:pt x="4034" y="8149"/>
                </a:lnTo>
                <a:lnTo>
                  <a:pt x="4026" y="8145"/>
                </a:lnTo>
                <a:lnTo>
                  <a:pt x="4009" y="8139"/>
                </a:lnTo>
                <a:lnTo>
                  <a:pt x="3990" y="8134"/>
                </a:lnTo>
                <a:lnTo>
                  <a:pt x="3971" y="8129"/>
                </a:lnTo>
                <a:lnTo>
                  <a:pt x="3950" y="8123"/>
                </a:lnTo>
                <a:lnTo>
                  <a:pt x="3930" y="8119"/>
                </a:lnTo>
                <a:lnTo>
                  <a:pt x="3910" y="8114"/>
                </a:lnTo>
                <a:lnTo>
                  <a:pt x="3892" y="8108"/>
                </a:lnTo>
                <a:lnTo>
                  <a:pt x="3874" y="8101"/>
                </a:lnTo>
                <a:lnTo>
                  <a:pt x="3866" y="8097"/>
                </a:lnTo>
                <a:lnTo>
                  <a:pt x="3858" y="8093"/>
                </a:lnTo>
                <a:lnTo>
                  <a:pt x="3850" y="8089"/>
                </a:lnTo>
                <a:lnTo>
                  <a:pt x="3844" y="8084"/>
                </a:lnTo>
                <a:lnTo>
                  <a:pt x="3837" y="8078"/>
                </a:lnTo>
                <a:lnTo>
                  <a:pt x="3831" y="8072"/>
                </a:lnTo>
                <a:lnTo>
                  <a:pt x="3826" y="8065"/>
                </a:lnTo>
                <a:lnTo>
                  <a:pt x="3822" y="8058"/>
                </a:lnTo>
                <a:lnTo>
                  <a:pt x="3814" y="8058"/>
                </a:lnTo>
                <a:lnTo>
                  <a:pt x="3805" y="8056"/>
                </a:lnTo>
                <a:lnTo>
                  <a:pt x="3798" y="8054"/>
                </a:lnTo>
                <a:lnTo>
                  <a:pt x="3790" y="8051"/>
                </a:lnTo>
                <a:lnTo>
                  <a:pt x="3783" y="8047"/>
                </a:lnTo>
                <a:lnTo>
                  <a:pt x="3776" y="8042"/>
                </a:lnTo>
                <a:lnTo>
                  <a:pt x="3770" y="8036"/>
                </a:lnTo>
                <a:lnTo>
                  <a:pt x="3763" y="8030"/>
                </a:lnTo>
                <a:lnTo>
                  <a:pt x="3758" y="8023"/>
                </a:lnTo>
                <a:lnTo>
                  <a:pt x="3752" y="8016"/>
                </a:lnTo>
                <a:lnTo>
                  <a:pt x="3747" y="8008"/>
                </a:lnTo>
                <a:lnTo>
                  <a:pt x="3741" y="7999"/>
                </a:lnTo>
                <a:lnTo>
                  <a:pt x="3732" y="7981"/>
                </a:lnTo>
                <a:lnTo>
                  <a:pt x="3724" y="7962"/>
                </a:lnTo>
                <a:lnTo>
                  <a:pt x="3716" y="7943"/>
                </a:lnTo>
                <a:lnTo>
                  <a:pt x="3709" y="7923"/>
                </a:lnTo>
                <a:lnTo>
                  <a:pt x="3704" y="7903"/>
                </a:lnTo>
                <a:lnTo>
                  <a:pt x="3700" y="7884"/>
                </a:lnTo>
                <a:lnTo>
                  <a:pt x="3696" y="7864"/>
                </a:lnTo>
                <a:lnTo>
                  <a:pt x="3694" y="7847"/>
                </a:lnTo>
                <a:lnTo>
                  <a:pt x="3692" y="7832"/>
                </a:lnTo>
                <a:lnTo>
                  <a:pt x="3691" y="7818"/>
                </a:lnTo>
                <a:lnTo>
                  <a:pt x="3690" y="7802"/>
                </a:lnTo>
                <a:lnTo>
                  <a:pt x="3687" y="7781"/>
                </a:lnTo>
                <a:lnTo>
                  <a:pt x="3683" y="7757"/>
                </a:lnTo>
                <a:lnTo>
                  <a:pt x="3678" y="7730"/>
                </a:lnTo>
                <a:lnTo>
                  <a:pt x="3671" y="7702"/>
                </a:lnTo>
                <a:lnTo>
                  <a:pt x="3663" y="7673"/>
                </a:lnTo>
                <a:lnTo>
                  <a:pt x="3654" y="7643"/>
                </a:lnTo>
                <a:lnTo>
                  <a:pt x="3643" y="7612"/>
                </a:lnTo>
                <a:lnTo>
                  <a:pt x="3632" y="7584"/>
                </a:lnTo>
                <a:lnTo>
                  <a:pt x="3619" y="7557"/>
                </a:lnTo>
                <a:lnTo>
                  <a:pt x="3612" y="7544"/>
                </a:lnTo>
                <a:lnTo>
                  <a:pt x="3605" y="7532"/>
                </a:lnTo>
                <a:lnTo>
                  <a:pt x="3597" y="7521"/>
                </a:lnTo>
                <a:lnTo>
                  <a:pt x="3588" y="7510"/>
                </a:lnTo>
                <a:lnTo>
                  <a:pt x="3580" y="7501"/>
                </a:lnTo>
                <a:lnTo>
                  <a:pt x="3572" y="7491"/>
                </a:lnTo>
                <a:lnTo>
                  <a:pt x="3563" y="7484"/>
                </a:lnTo>
                <a:lnTo>
                  <a:pt x="3554" y="7477"/>
                </a:lnTo>
                <a:lnTo>
                  <a:pt x="3545" y="7472"/>
                </a:lnTo>
                <a:lnTo>
                  <a:pt x="3535" y="7469"/>
                </a:lnTo>
                <a:lnTo>
                  <a:pt x="3526" y="7466"/>
                </a:lnTo>
                <a:lnTo>
                  <a:pt x="3515" y="7466"/>
                </a:lnTo>
                <a:lnTo>
                  <a:pt x="3515" y="7459"/>
                </a:lnTo>
                <a:lnTo>
                  <a:pt x="3514" y="7453"/>
                </a:lnTo>
                <a:lnTo>
                  <a:pt x="3512" y="7446"/>
                </a:lnTo>
                <a:lnTo>
                  <a:pt x="3509" y="7439"/>
                </a:lnTo>
                <a:lnTo>
                  <a:pt x="3501" y="7424"/>
                </a:lnTo>
                <a:lnTo>
                  <a:pt x="3491" y="7410"/>
                </a:lnTo>
                <a:lnTo>
                  <a:pt x="3479" y="7395"/>
                </a:lnTo>
                <a:lnTo>
                  <a:pt x="3466" y="7380"/>
                </a:lnTo>
                <a:lnTo>
                  <a:pt x="3450" y="7364"/>
                </a:lnTo>
                <a:lnTo>
                  <a:pt x="3434" y="7350"/>
                </a:lnTo>
                <a:lnTo>
                  <a:pt x="3418" y="7337"/>
                </a:lnTo>
                <a:lnTo>
                  <a:pt x="3402" y="7325"/>
                </a:lnTo>
                <a:lnTo>
                  <a:pt x="3386" y="7314"/>
                </a:lnTo>
                <a:lnTo>
                  <a:pt x="3371" y="7304"/>
                </a:lnTo>
                <a:lnTo>
                  <a:pt x="3357" y="7297"/>
                </a:lnTo>
                <a:lnTo>
                  <a:pt x="3345" y="7291"/>
                </a:lnTo>
                <a:lnTo>
                  <a:pt x="3333" y="7287"/>
                </a:lnTo>
                <a:lnTo>
                  <a:pt x="3324" y="7286"/>
                </a:lnTo>
                <a:lnTo>
                  <a:pt x="3322" y="7276"/>
                </a:lnTo>
                <a:lnTo>
                  <a:pt x="3315" y="7258"/>
                </a:lnTo>
                <a:lnTo>
                  <a:pt x="3304" y="7233"/>
                </a:lnTo>
                <a:lnTo>
                  <a:pt x="3291" y="7207"/>
                </a:lnTo>
                <a:lnTo>
                  <a:pt x="3277" y="7181"/>
                </a:lnTo>
                <a:lnTo>
                  <a:pt x="3263" y="7159"/>
                </a:lnTo>
                <a:lnTo>
                  <a:pt x="3257" y="7150"/>
                </a:lnTo>
                <a:lnTo>
                  <a:pt x="3250" y="7144"/>
                </a:lnTo>
                <a:lnTo>
                  <a:pt x="3248" y="7141"/>
                </a:lnTo>
                <a:lnTo>
                  <a:pt x="3245" y="7139"/>
                </a:lnTo>
                <a:lnTo>
                  <a:pt x="3242" y="7138"/>
                </a:lnTo>
                <a:lnTo>
                  <a:pt x="3240" y="7138"/>
                </a:lnTo>
                <a:lnTo>
                  <a:pt x="3240" y="7133"/>
                </a:lnTo>
                <a:lnTo>
                  <a:pt x="3238" y="7128"/>
                </a:lnTo>
                <a:lnTo>
                  <a:pt x="3236" y="7121"/>
                </a:lnTo>
                <a:lnTo>
                  <a:pt x="3233" y="7113"/>
                </a:lnTo>
                <a:lnTo>
                  <a:pt x="3225" y="7098"/>
                </a:lnTo>
                <a:lnTo>
                  <a:pt x="3215" y="7080"/>
                </a:lnTo>
                <a:lnTo>
                  <a:pt x="3201" y="7061"/>
                </a:lnTo>
                <a:lnTo>
                  <a:pt x="3187" y="7043"/>
                </a:lnTo>
                <a:lnTo>
                  <a:pt x="3172" y="7024"/>
                </a:lnTo>
                <a:lnTo>
                  <a:pt x="3156" y="7006"/>
                </a:lnTo>
                <a:lnTo>
                  <a:pt x="3140" y="6989"/>
                </a:lnTo>
                <a:lnTo>
                  <a:pt x="3124" y="6975"/>
                </a:lnTo>
                <a:lnTo>
                  <a:pt x="3116" y="6969"/>
                </a:lnTo>
                <a:lnTo>
                  <a:pt x="3109" y="6964"/>
                </a:lnTo>
                <a:lnTo>
                  <a:pt x="3101" y="6959"/>
                </a:lnTo>
                <a:lnTo>
                  <a:pt x="3094" y="6956"/>
                </a:lnTo>
                <a:lnTo>
                  <a:pt x="3086" y="6954"/>
                </a:lnTo>
                <a:lnTo>
                  <a:pt x="3080" y="6953"/>
                </a:lnTo>
                <a:lnTo>
                  <a:pt x="3074" y="6953"/>
                </a:lnTo>
                <a:lnTo>
                  <a:pt x="3069" y="6955"/>
                </a:lnTo>
                <a:lnTo>
                  <a:pt x="3064" y="6957"/>
                </a:lnTo>
                <a:lnTo>
                  <a:pt x="3060" y="6962"/>
                </a:lnTo>
                <a:lnTo>
                  <a:pt x="3056" y="6968"/>
                </a:lnTo>
                <a:lnTo>
                  <a:pt x="3053" y="6975"/>
                </a:lnTo>
                <a:lnTo>
                  <a:pt x="3052" y="6981"/>
                </a:lnTo>
                <a:lnTo>
                  <a:pt x="3052" y="6986"/>
                </a:lnTo>
                <a:lnTo>
                  <a:pt x="3052" y="6992"/>
                </a:lnTo>
                <a:lnTo>
                  <a:pt x="3054" y="6999"/>
                </a:lnTo>
                <a:lnTo>
                  <a:pt x="3058" y="7011"/>
                </a:lnTo>
                <a:lnTo>
                  <a:pt x="3065" y="7023"/>
                </a:lnTo>
                <a:lnTo>
                  <a:pt x="3074" y="7035"/>
                </a:lnTo>
                <a:lnTo>
                  <a:pt x="3085" y="7048"/>
                </a:lnTo>
                <a:lnTo>
                  <a:pt x="3097" y="7061"/>
                </a:lnTo>
                <a:lnTo>
                  <a:pt x="3109" y="7074"/>
                </a:lnTo>
                <a:lnTo>
                  <a:pt x="3121" y="7087"/>
                </a:lnTo>
                <a:lnTo>
                  <a:pt x="3133" y="7101"/>
                </a:lnTo>
                <a:lnTo>
                  <a:pt x="3145" y="7114"/>
                </a:lnTo>
                <a:lnTo>
                  <a:pt x="3155" y="7128"/>
                </a:lnTo>
                <a:lnTo>
                  <a:pt x="3164" y="7141"/>
                </a:lnTo>
                <a:lnTo>
                  <a:pt x="3170" y="7154"/>
                </a:lnTo>
                <a:lnTo>
                  <a:pt x="3173" y="7161"/>
                </a:lnTo>
                <a:lnTo>
                  <a:pt x="3175" y="7167"/>
                </a:lnTo>
                <a:lnTo>
                  <a:pt x="3176" y="7174"/>
                </a:lnTo>
                <a:lnTo>
                  <a:pt x="3176" y="7180"/>
                </a:lnTo>
                <a:lnTo>
                  <a:pt x="3179" y="7181"/>
                </a:lnTo>
                <a:lnTo>
                  <a:pt x="3182" y="7182"/>
                </a:lnTo>
                <a:lnTo>
                  <a:pt x="3186" y="7185"/>
                </a:lnTo>
                <a:lnTo>
                  <a:pt x="3189" y="7189"/>
                </a:lnTo>
                <a:lnTo>
                  <a:pt x="3198" y="7199"/>
                </a:lnTo>
                <a:lnTo>
                  <a:pt x="3208" y="7213"/>
                </a:lnTo>
                <a:lnTo>
                  <a:pt x="3232" y="7248"/>
                </a:lnTo>
                <a:lnTo>
                  <a:pt x="3257" y="7288"/>
                </a:lnTo>
                <a:lnTo>
                  <a:pt x="3281" y="7331"/>
                </a:lnTo>
                <a:lnTo>
                  <a:pt x="3303" y="7370"/>
                </a:lnTo>
                <a:lnTo>
                  <a:pt x="3321" y="7403"/>
                </a:lnTo>
                <a:lnTo>
                  <a:pt x="3333" y="7424"/>
                </a:lnTo>
                <a:lnTo>
                  <a:pt x="3354" y="7460"/>
                </a:lnTo>
                <a:lnTo>
                  <a:pt x="3371" y="7492"/>
                </a:lnTo>
                <a:lnTo>
                  <a:pt x="3384" y="7521"/>
                </a:lnTo>
                <a:lnTo>
                  <a:pt x="3394" y="7545"/>
                </a:lnTo>
                <a:lnTo>
                  <a:pt x="3401" y="7567"/>
                </a:lnTo>
                <a:lnTo>
                  <a:pt x="3406" y="7585"/>
                </a:lnTo>
                <a:lnTo>
                  <a:pt x="3407" y="7600"/>
                </a:lnTo>
                <a:lnTo>
                  <a:pt x="3406" y="7611"/>
                </a:lnTo>
                <a:lnTo>
                  <a:pt x="3403" y="7621"/>
                </a:lnTo>
                <a:lnTo>
                  <a:pt x="3398" y="7628"/>
                </a:lnTo>
                <a:lnTo>
                  <a:pt x="3391" y="7632"/>
                </a:lnTo>
                <a:lnTo>
                  <a:pt x="3382" y="7634"/>
                </a:lnTo>
                <a:lnTo>
                  <a:pt x="3372" y="7633"/>
                </a:lnTo>
                <a:lnTo>
                  <a:pt x="3360" y="7630"/>
                </a:lnTo>
                <a:lnTo>
                  <a:pt x="3348" y="7625"/>
                </a:lnTo>
                <a:lnTo>
                  <a:pt x="3333" y="7618"/>
                </a:lnTo>
                <a:lnTo>
                  <a:pt x="3319" y="7610"/>
                </a:lnTo>
                <a:lnTo>
                  <a:pt x="3305" y="7600"/>
                </a:lnTo>
                <a:lnTo>
                  <a:pt x="3290" y="7589"/>
                </a:lnTo>
                <a:lnTo>
                  <a:pt x="3275" y="7576"/>
                </a:lnTo>
                <a:lnTo>
                  <a:pt x="3260" y="7563"/>
                </a:lnTo>
                <a:lnTo>
                  <a:pt x="3245" y="7548"/>
                </a:lnTo>
                <a:lnTo>
                  <a:pt x="3231" y="7533"/>
                </a:lnTo>
                <a:lnTo>
                  <a:pt x="3217" y="7517"/>
                </a:lnTo>
                <a:lnTo>
                  <a:pt x="3203" y="7501"/>
                </a:lnTo>
                <a:lnTo>
                  <a:pt x="3192" y="7483"/>
                </a:lnTo>
                <a:lnTo>
                  <a:pt x="3181" y="7466"/>
                </a:lnTo>
                <a:lnTo>
                  <a:pt x="3173" y="7448"/>
                </a:lnTo>
                <a:lnTo>
                  <a:pt x="3165" y="7431"/>
                </a:lnTo>
                <a:lnTo>
                  <a:pt x="3160" y="7414"/>
                </a:lnTo>
                <a:lnTo>
                  <a:pt x="3156" y="7398"/>
                </a:lnTo>
                <a:lnTo>
                  <a:pt x="3155" y="7381"/>
                </a:lnTo>
                <a:lnTo>
                  <a:pt x="3150" y="7378"/>
                </a:lnTo>
                <a:lnTo>
                  <a:pt x="3145" y="7374"/>
                </a:lnTo>
                <a:lnTo>
                  <a:pt x="3140" y="7369"/>
                </a:lnTo>
                <a:lnTo>
                  <a:pt x="3134" y="7363"/>
                </a:lnTo>
                <a:lnTo>
                  <a:pt x="3123" y="7349"/>
                </a:lnTo>
                <a:lnTo>
                  <a:pt x="3112" y="7333"/>
                </a:lnTo>
                <a:lnTo>
                  <a:pt x="3100" y="7314"/>
                </a:lnTo>
                <a:lnTo>
                  <a:pt x="3089" y="7294"/>
                </a:lnTo>
                <a:lnTo>
                  <a:pt x="3077" y="7272"/>
                </a:lnTo>
                <a:lnTo>
                  <a:pt x="3066" y="7249"/>
                </a:lnTo>
                <a:lnTo>
                  <a:pt x="3056" y="7226"/>
                </a:lnTo>
                <a:lnTo>
                  <a:pt x="3047" y="7203"/>
                </a:lnTo>
                <a:lnTo>
                  <a:pt x="3039" y="7181"/>
                </a:lnTo>
                <a:lnTo>
                  <a:pt x="3032" y="7160"/>
                </a:lnTo>
                <a:lnTo>
                  <a:pt x="3026" y="7140"/>
                </a:lnTo>
                <a:lnTo>
                  <a:pt x="3021" y="7123"/>
                </a:lnTo>
                <a:lnTo>
                  <a:pt x="3019" y="7107"/>
                </a:lnTo>
                <a:lnTo>
                  <a:pt x="3018" y="7095"/>
                </a:lnTo>
                <a:lnTo>
                  <a:pt x="3011" y="7088"/>
                </a:lnTo>
                <a:lnTo>
                  <a:pt x="3004" y="7078"/>
                </a:lnTo>
                <a:lnTo>
                  <a:pt x="2995" y="7065"/>
                </a:lnTo>
                <a:lnTo>
                  <a:pt x="2986" y="7050"/>
                </a:lnTo>
                <a:lnTo>
                  <a:pt x="2966" y="7014"/>
                </a:lnTo>
                <a:lnTo>
                  <a:pt x="2945" y="6974"/>
                </a:lnTo>
                <a:lnTo>
                  <a:pt x="2926" y="6937"/>
                </a:lnTo>
                <a:lnTo>
                  <a:pt x="2912" y="6905"/>
                </a:lnTo>
                <a:lnTo>
                  <a:pt x="2907" y="6892"/>
                </a:lnTo>
                <a:lnTo>
                  <a:pt x="2903" y="6882"/>
                </a:lnTo>
                <a:lnTo>
                  <a:pt x="2901" y="6876"/>
                </a:lnTo>
                <a:lnTo>
                  <a:pt x="2901" y="6874"/>
                </a:lnTo>
                <a:lnTo>
                  <a:pt x="2901" y="6849"/>
                </a:lnTo>
                <a:lnTo>
                  <a:pt x="2898" y="6828"/>
                </a:lnTo>
                <a:lnTo>
                  <a:pt x="2894" y="6808"/>
                </a:lnTo>
                <a:lnTo>
                  <a:pt x="2888" y="6789"/>
                </a:lnTo>
                <a:lnTo>
                  <a:pt x="2885" y="6780"/>
                </a:lnTo>
                <a:lnTo>
                  <a:pt x="2881" y="6772"/>
                </a:lnTo>
                <a:lnTo>
                  <a:pt x="2877" y="6764"/>
                </a:lnTo>
                <a:lnTo>
                  <a:pt x="2872" y="6756"/>
                </a:lnTo>
                <a:lnTo>
                  <a:pt x="2867" y="6749"/>
                </a:lnTo>
                <a:lnTo>
                  <a:pt x="2861" y="6742"/>
                </a:lnTo>
                <a:lnTo>
                  <a:pt x="2855" y="6735"/>
                </a:lnTo>
                <a:lnTo>
                  <a:pt x="2849" y="6729"/>
                </a:lnTo>
                <a:lnTo>
                  <a:pt x="2842" y="6723"/>
                </a:lnTo>
                <a:lnTo>
                  <a:pt x="2834" y="6718"/>
                </a:lnTo>
                <a:lnTo>
                  <a:pt x="2826" y="6713"/>
                </a:lnTo>
                <a:lnTo>
                  <a:pt x="2818" y="6708"/>
                </a:lnTo>
                <a:lnTo>
                  <a:pt x="2801" y="6700"/>
                </a:lnTo>
                <a:lnTo>
                  <a:pt x="2782" y="6694"/>
                </a:lnTo>
                <a:lnTo>
                  <a:pt x="2762" y="6689"/>
                </a:lnTo>
                <a:lnTo>
                  <a:pt x="2740" y="6685"/>
                </a:lnTo>
                <a:lnTo>
                  <a:pt x="2716" y="6683"/>
                </a:lnTo>
                <a:lnTo>
                  <a:pt x="2689" y="6682"/>
                </a:lnTo>
                <a:lnTo>
                  <a:pt x="2682" y="6671"/>
                </a:lnTo>
                <a:lnTo>
                  <a:pt x="2667" y="6649"/>
                </a:lnTo>
                <a:lnTo>
                  <a:pt x="2647" y="6620"/>
                </a:lnTo>
                <a:lnTo>
                  <a:pt x="2625" y="6587"/>
                </a:lnTo>
                <a:lnTo>
                  <a:pt x="2602" y="6556"/>
                </a:lnTo>
                <a:lnTo>
                  <a:pt x="2582" y="6529"/>
                </a:lnTo>
                <a:lnTo>
                  <a:pt x="2568" y="6510"/>
                </a:lnTo>
                <a:lnTo>
                  <a:pt x="2562" y="6503"/>
                </a:lnTo>
                <a:lnTo>
                  <a:pt x="2561" y="6492"/>
                </a:lnTo>
                <a:lnTo>
                  <a:pt x="2558" y="6478"/>
                </a:lnTo>
                <a:lnTo>
                  <a:pt x="2553" y="6462"/>
                </a:lnTo>
                <a:lnTo>
                  <a:pt x="2547" y="6446"/>
                </a:lnTo>
                <a:lnTo>
                  <a:pt x="2539" y="6428"/>
                </a:lnTo>
                <a:lnTo>
                  <a:pt x="2529" y="6409"/>
                </a:lnTo>
                <a:lnTo>
                  <a:pt x="2519" y="6390"/>
                </a:lnTo>
                <a:lnTo>
                  <a:pt x="2508" y="6371"/>
                </a:lnTo>
                <a:lnTo>
                  <a:pt x="2497" y="6352"/>
                </a:lnTo>
                <a:lnTo>
                  <a:pt x="2485" y="6333"/>
                </a:lnTo>
                <a:lnTo>
                  <a:pt x="2473" y="6316"/>
                </a:lnTo>
                <a:lnTo>
                  <a:pt x="2460" y="6301"/>
                </a:lnTo>
                <a:lnTo>
                  <a:pt x="2447" y="6287"/>
                </a:lnTo>
                <a:lnTo>
                  <a:pt x="2436" y="6275"/>
                </a:lnTo>
                <a:lnTo>
                  <a:pt x="2425" y="6266"/>
                </a:lnTo>
                <a:lnTo>
                  <a:pt x="2414" y="6259"/>
                </a:lnTo>
                <a:lnTo>
                  <a:pt x="2414" y="6239"/>
                </a:lnTo>
                <a:lnTo>
                  <a:pt x="2412" y="6216"/>
                </a:lnTo>
                <a:lnTo>
                  <a:pt x="2409" y="6195"/>
                </a:lnTo>
                <a:lnTo>
                  <a:pt x="2406" y="6173"/>
                </a:lnTo>
                <a:lnTo>
                  <a:pt x="2398" y="6128"/>
                </a:lnTo>
                <a:lnTo>
                  <a:pt x="2389" y="6081"/>
                </a:lnTo>
                <a:lnTo>
                  <a:pt x="2385" y="6058"/>
                </a:lnTo>
                <a:lnTo>
                  <a:pt x="2382" y="6035"/>
                </a:lnTo>
                <a:lnTo>
                  <a:pt x="2379" y="6012"/>
                </a:lnTo>
                <a:lnTo>
                  <a:pt x="2377" y="5989"/>
                </a:lnTo>
                <a:lnTo>
                  <a:pt x="2377" y="5965"/>
                </a:lnTo>
                <a:lnTo>
                  <a:pt x="2377" y="5943"/>
                </a:lnTo>
                <a:lnTo>
                  <a:pt x="2379" y="5921"/>
                </a:lnTo>
                <a:lnTo>
                  <a:pt x="2383" y="5899"/>
                </a:lnTo>
                <a:lnTo>
                  <a:pt x="2383" y="5862"/>
                </a:lnTo>
                <a:lnTo>
                  <a:pt x="2383" y="5822"/>
                </a:lnTo>
                <a:lnTo>
                  <a:pt x="2382" y="5783"/>
                </a:lnTo>
                <a:lnTo>
                  <a:pt x="2380" y="5744"/>
                </a:lnTo>
                <a:lnTo>
                  <a:pt x="2377" y="5703"/>
                </a:lnTo>
                <a:lnTo>
                  <a:pt x="2373" y="5663"/>
                </a:lnTo>
                <a:lnTo>
                  <a:pt x="2367" y="5623"/>
                </a:lnTo>
                <a:lnTo>
                  <a:pt x="2359" y="5582"/>
                </a:lnTo>
                <a:lnTo>
                  <a:pt x="2354" y="5563"/>
                </a:lnTo>
                <a:lnTo>
                  <a:pt x="2349" y="5543"/>
                </a:lnTo>
                <a:lnTo>
                  <a:pt x="2343" y="5524"/>
                </a:lnTo>
                <a:lnTo>
                  <a:pt x="2337" y="5505"/>
                </a:lnTo>
                <a:lnTo>
                  <a:pt x="2329" y="5486"/>
                </a:lnTo>
                <a:lnTo>
                  <a:pt x="2321" y="5467"/>
                </a:lnTo>
                <a:lnTo>
                  <a:pt x="2313" y="5449"/>
                </a:lnTo>
                <a:lnTo>
                  <a:pt x="2303" y="5431"/>
                </a:lnTo>
                <a:lnTo>
                  <a:pt x="2293" y="5413"/>
                </a:lnTo>
                <a:lnTo>
                  <a:pt x="2283" y="5396"/>
                </a:lnTo>
                <a:lnTo>
                  <a:pt x="2271" y="5379"/>
                </a:lnTo>
                <a:lnTo>
                  <a:pt x="2258" y="5363"/>
                </a:lnTo>
                <a:lnTo>
                  <a:pt x="2245" y="5346"/>
                </a:lnTo>
                <a:lnTo>
                  <a:pt x="2231" y="5331"/>
                </a:lnTo>
                <a:lnTo>
                  <a:pt x="2215" y="5316"/>
                </a:lnTo>
                <a:lnTo>
                  <a:pt x="2198" y="5302"/>
                </a:lnTo>
                <a:lnTo>
                  <a:pt x="2232" y="5232"/>
                </a:lnTo>
                <a:lnTo>
                  <a:pt x="2267" y="5162"/>
                </a:lnTo>
                <a:lnTo>
                  <a:pt x="2302" y="5092"/>
                </a:lnTo>
                <a:lnTo>
                  <a:pt x="2339" y="5024"/>
                </a:lnTo>
                <a:lnTo>
                  <a:pt x="2375" y="4955"/>
                </a:lnTo>
                <a:lnTo>
                  <a:pt x="2413" y="4888"/>
                </a:lnTo>
                <a:lnTo>
                  <a:pt x="2451" y="4820"/>
                </a:lnTo>
                <a:lnTo>
                  <a:pt x="2491" y="4754"/>
                </a:lnTo>
                <a:lnTo>
                  <a:pt x="2530" y="4688"/>
                </a:lnTo>
                <a:lnTo>
                  <a:pt x="2571" y="4622"/>
                </a:lnTo>
                <a:lnTo>
                  <a:pt x="2613" y="4557"/>
                </a:lnTo>
                <a:lnTo>
                  <a:pt x="2655" y="4492"/>
                </a:lnTo>
                <a:lnTo>
                  <a:pt x="2698" y="4428"/>
                </a:lnTo>
                <a:lnTo>
                  <a:pt x="2742" y="4365"/>
                </a:lnTo>
                <a:lnTo>
                  <a:pt x="2786" y="4301"/>
                </a:lnTo>
                <a:lnTo>
                  <a:pt x="2831" y="4239"/>
                </a:lnTo>
                <a:lnTo>
                  <a:pt x="2878" y="4177"/>
                </a:lnTo>
                <a:lnTo>
                  <a:pt x="2924" y="4116"/>
                </a:lnTo>
                <a:lnTo>
                  <a:pt x="2972" y="4055"/>
                </a:lnTo>
                <a:lnTo>
                  <a:pt x="3020" y="3995"/>
                </a:lnTo>
                <a:lnTo>
                  <a:pt x="3069" y="3935"/>
                </a:lnTo>
                <a:lnTo>
                  <a:pt x="3119" y="3876"/>
                </a:lnTo>
                <a:lnTo>
                  <a:pt x="3169" y="3817"/>
                </a:lnTo>
                <a:lnTo>
                  <a:pt x="3220" y="3760"/>
                </a:lnTo>
                <a:lnTo>
                  <a:pt x="3271" y="3702"/>
                </a:lnTo>
                <a:lnTo>
                  <a:pt x="3323" y="3646"/>
                </a:lnTo>
                <a:lnTo>
                  <a:pt x="3376" y="3589"/>
                </a:lnTo>
                <a:lnTo>
                  <a:pt x="3429" y="3534"/>
                </a:lnTo>
                <a:lnTo>
                  <a:pt x="3484" y="3480"/>
                </a:lnTo>
                <a:lnTo>
                  <a:pt x="3539" y="3425"/>
                </a:lnTo>
                <a:lnTo>
                  <a:pt x="3594" y="3372"/>
                </a:lnTo>
                <a:lnTo>
                  <a:pt x="3650" y="3319"/>
                </a:lnTo>
                <a:close/>
                <a:moveTo>
                  <a:pt x="6848" y="5635"/>
                </a:moveTo>
                <a:lnTo>
                  <a:pt x="6848" y="5645"/>
                </a:lnTo>
                <a:lnTo>
                  <a:pt x="6847" y="5654"/>
                </a:lnTo>
                <a:lnTo>
                  <a:pt x="6846" y="5662"/>
                </a:lnTo>
                <a:lnTo>
                  <a:pt x="6844" y="5669"/>
                </a:lnTo>
                <a:lnTo>
                  <a:pt x="6841" y="5676"/>
                </a:lnTo>
                <a:lnTo>
                  <a:pt x="6837" y="5682"/>
                </a:lnTo>
                <a:lnTo>
                  <a:pt x="6833" y="5687"/>
                </a:lnTo>
                <a:lnTo>
                  <a:pt x="6828" y="5691"/>
                </a:lnTo>
                <a:lnTo>
                  <a:pt x="6823" y="5695"/>
                </a:lnTo>
                <a:lnTo>
                  <a:pt x="6817" y="5698"/>
                </a:lnTo>
                <a:lnTo>
                  <a:pt x="6810" y="5701"/>
                </a:lnTo>
                <a:lnTo>
                  <a:pt x="6802" y="5703"/>
                </a:lnTo>
                <a:lnTo>
                  <a:pt x="6785" y="5707"/>
                </a:lnTo>
                <a:lnTo>
                  <a:pt x="6765" y="5709"/>
                </a:lnTo>
                <a:lnTo>
                  <a:pt x="6767" y="5700"/>
                </a:lnTo>
                <a:lnTo>
                  <a:pt x="6770" y="5692"/>
                </a:lnTo>
                <a:lnTo>
                  <a:pt x="6773" y="5685"/>
                </a:lnTo>
                <a:lnTo>
                  <a:pt x="6776" y="5680"/>
                </a:lnTo>
                <a:lnTo>
                  <a:pt x="6779" y="5675"/>
                </a:lnTo>
                <a:lnTo>
                  <a:pt x="6783" y="5671"/>
                </a:lnTo>
                <a:lnTo>
                  <a:pt x="6787" y="5667"/>
                </a:lnTo>
                <a:lnTo>
                  <a:pt x="6791" y="5664"/>
                </a:lnTo>
                <a:lnTo>
                  <a:pt x="6815" y="5653"/>
                </a:lnTo>
                <a:lnTo>
                  <a:pt x="6848" y="5635"/>
                </a:lnTo>
                <a:close/>
                <a:moveTo>
                  <a:pt x="6511" y="8090"/>
                </a:moveTo>
                <a:lnTo>
                  <a:pt x="6485" y="8093"/>
                </a:lnTo>
                <a:lnTo>
                  <a:pt x="6464" y="8097"/>
                </a:lnTo>
                <a:lnTo>
                  <a:pt x="6460" y="8097"/>
                </a:lnTo>
                <a:lnTo>
                  <a:pt x="6456" y="8095"/>
                </a:lnTo>
                <a:lnTo>
                  <a:pt x="6454" y="8093"/>
                </a:lnTo>
                <a:lnTo>
                  <a:pt x="6452" y="8089"/>
                </a:lnTo>
                <a:lnTo>
                  <a:pt x="6451" y="8084"/>
                </a:lnTo>
                <a:lnTo>
                  <a:pt x="6452" y="8077"/>
                </a:lnTo>
                <a:lnTo>
                  <a:pt x="6454" y="8069"/>
                </a:lnTo>
                <a:lnTo>
                  <a:pt x="6457" y="8058"/>
                </a:lnTo>
                <a:lnTo>
                  <a:pt x="6466" y="8059"/>
                </a:lnTo>
                <a:lnTo>
                  <a:pt x="6475" y="8060"/>
                </a:lnTo>
                <a:lnTo>
                  <a:pt x="6484" y="8062"/>
                </a:lnTo>
                <a:lnTo>
                  <a:pt x="6493" y="8066"/>
                </a:lnTo>
                <a:lnTo>
                  <a:pt x="6500" y="8070"/>
                </a:lnTo>
                <a:lnTo>
                  <a:pt x="6506" y="8075"/>
                </a:lnTo>
                <a:lnTo>
                  <a:pt x="6508" y="8079"/>
                </a:lnTo>
                <a:lnTo>
                  <a:pt x="6510" y="8082"/>
                </a:lnTo>
                <a:lnTo>
                  <a:pt x="6510" y="8086"/>
                </a:lnTo>
                <a:lnTo>
                  <a:pt x="6511" y="8090"/>
                </a:lnTo>
                <a:close/>
                <a:moveTo>
                  <a:pt x="6055" y="8080"/>
                </a:moveTo>
                <a:lnTo>
                  <a:pt x="6053" y="8083"/>
                </a:lnTo>
                <a:lnTo>
                  <a:pt x="6051" y="8085"/>
                </a:lnTo>
                <a:lnTo>
                  <a:pt x="6047" y="8088"/>
                </a:lnTo>
                <a:lnTo>
                  <a:pt x="6043" y="8090"/>
                </a:lnTo>
                <a:lnTo>
                  <a:pt x="6034" y="8094"/>
                </a:lnTo>
                <a:lnTo>
                  <a:pt x="6023" y="8097"/>
                </a:lnTo>
                <a:lnTo>
                  <a:pt x="6010" y="8100"/>
                </a:lnTo>
                <a:lnTo>
                  <a:pt x="5996" y="8101"/>
                </a:lnTo>
                <a:lnTo>
                  <a:pt x="5981" y="8101"/>
                </a:lnTo>
                <a:lnTo>
                  <a:pt x="5966" y="8101"/>
                </a:lnTo>
                <a:lnTo>
                  <a:pt x="5951" y="8100"/>
                </a:lnTo>
                <a:lnTo>
                  <a:pt x="5936" y="8098"/>
                </a:lnTo>
                <a:lnTo>
                  <a:pt x="5922" y="8095"/>
                </a:lnTo>
                <a:lnTo>
                  <a:pt x="5909" y="8091"/>
                </a:lnTo>
                <a:lnTo>
                  <a:pt x="5898" y="8087"/>
                </a:lnTo>
                <a:lnTo>
                  <a:pt x="5888" y="8082"/>
                </a:lnTo>
                <a:lnTo>
                  <a:pt x="5884" y="8079"/>
                </a:lnTo>
                <a:lnTo>
                  <a:pt x="5881" y="8075"/>
                </a:lnTo>
                <a:lnTo>
                  <a:pt x="5878" y="8072"/>
                </a:lnTo>
                <a:lnTo>
                  <a:pt x="5876" y="8069"/>
                </a:lnTo>
                <a:lnTo>
                  <a:pt x="5895" y="8069"/>
                </a:lnTo>
                <a:lnTo>
                  <a:pt x="5913" y="8072"/>
                </a:lnTo>
                <a:lnTo>
                  <a:pt x="5931" y="8074"/>
                </a:lnTo>
                <a:lnTo>
                  <a:pt x="5949" y="8077"/>
                </a:lnTo>
                <a:lnTo>
                  <a:pt x="5966" y="8078"/>
                </a:lnTo>
                <a:lnTo>
                  <a:pt x="5984" y="8078"/>
                </a:lnTo>
                <a:lnTo>
                  <a:pt x="5994" y="8077"/>
                </a:lnTo>
                <a:lnTo>
                  <a:pt x="6004" y="8075"/>
                </a:lnTo>
                <a:lnTo>
                  <a:pt x="6014" y="8072"/>
                </a:lnTo>
                <a:lnTo>
                  <a:pt x="6024" y="8069"/>
                </a:lnTo>
                <a:lnTo>
                  <a:pt x="6022" y="8058"/>
                </a:lnTo>
                <a:lnTo>
                  <a:pt x="6019" y="8048"/>
                </a:lnTo>
                <a:lnTo>
                  <a:pt x="6015" y="8038"/>
                </a:lnTo>
                <a:lnTo>
                  <a:pt x="6009" y="8028"/>
                </a:lnTo>
                <a:lnTo>
                  <a:pt x="5996" y="8007"/>
                </a:lnTo>
                <a:lnTo>
                  <a:pt x="5981" y="7984"/>
                </a:lnTo>
                <a:lnTo>
                  <a:pt x="5992" y="7984"/>
                </a:lnTo>
                <a:lnTo>
                  <a:pt x="6003" y="7986"/>
                </a:lnTo>
                <a:lnTo>
                  <a:pt x="6015" y="7988"/>
                </a:lnTo>
                <a:lnTo>
                  <a:pt x="6026" y="7991"/>
                </a:lnTo>
                <a:lnTo>
                  <a:pt x="6049" y="7998"/>
                </a:lnTo>
                <a:lnTo>
                  <a:pt x="6074" y="8006"/>
                </a:lnTo>
                <a:lnTo>
                  <a:pt x="6099" y="8014"/>
                </a:lnTo>
                <a:lnTo>
                  <a:pt x="6126" y="8021"/>
                </a:lnTo>
                <a:lnTo>
                  <a:pt x="6140" y="8024"/>
                </a:lnTo>
                <a:lnTo>
                  <a:pt x="6153" y="8026"/>
                </a:lnTo>
                <a:lnTo>
                  <a:pt x="6168" y="8027"/>
                </a:lnTo>
                <a:lnTo>
                  <a:pt x="6182" y="8027"/>
                </a:lnTo>
                <a:lnTo>
                  <a:pt x="6182" y="8019"/>
                </a:lnTo>
                <a:lnTo>
                  <a:pt x="6181" y="8013"/>
                </a:lnTo>
                <a:lnTo>
                  <a:pt x="6180" y="8009"/>
                </a:lnTo>
                <a:lnTo>
                  <a:pt x="6179" y="8007"/>
                </a:lnTo>
                <a:lnTo>
                  <a:pt x="6176" y="8006"/>
                </a:lnTo>
                <a:lnTo>
                  <a:pt x="6174" y="8006"/>
                </a:lnTo>
                <a:lnTo>
                  <a:pt x="6173" y="8006"/>
                </a:lnTo>
                <a:lnTo>
                  <a:pt x="6173" y="8005"/>
                </a:lnTo>
                <a:lnTo>
                  <a:pt x="6173" y="8002"/>
                </a:lnTo>
                <a:lnTo>
                  <a:pt x="6176" y="7992"/>
                </a:lnTo>
                <a:lnTo>
                  <a:pt x="6182" y="7973"/>
                </a:lnTo>
                <a:lnTo>
                  <a:pt x="6189" y="7976"/>
                </a:lnTo>
                <a:lnTo>
                  <a:pt x="6196" y="7979"/>
                </a:lnTo>
                <a:lnTo>
                  <a:pt x="6205" y="7984"/>
                </a:lnTo>
                <a:lnTo>
                  <a:pt x="6213" y="7990"/>
                </a:lnTo>
                <a:lnTo>
                  <a:pt x="6232" y="8006"/>
                </a:lnTo>
                <a:lnTo>
                  <a:pt x="6252" y="8023"/>
                </a:lnTo>
                <a:lnTo>
                  <a:pt x="6269" y="8041"/>
                </a:lnTo>
                <a:lnTo>
                  <a:pt x="6284" y="8059"/>
                </a:lnTo>
                <a:lnTo>
                  <a:pt x="6289" y="8068"/>
                </a:lnTo>
                <a:lnTo>
                  <a:pt x="6294" y="8076"/>
                </a:lnTo>
                <a:lnTo>
                  <a:pt x="6297" y="8083"/>
                </a:lnTo>
                <a:lnTo>
                  <a:pt x="6299" y="8090"/>
                </a:lnTo>
                <a:lnTo>
                  <a:pt x="6260" y="8086"/>
                </a:lnTo>
                <a:lnTo>
                  <a:pt x="6228" y="8083"/>
                </a:lnTo>
                <a:lnTo>
                  <a:pt x="6203" y="8081"/>
                </a:lnTo>
                <a:lnTo>
                  <a:pt x="6179" y="8080"/>
                </a:lnTo>
                <a:lnTo>
                  <a:pt x="6155" y="8080"/>
                </a:lnTo>
                <a:lnTo>
                  <a:pt x="6129" y="8079"/>
                </a:lnTo>
                <a:lnTo>
                  <a:pt x="6096" y="8080"/>
                </a:lnTo>
                <a:lnTo>
                  <a:pt x="6055" y="8080"/>
                </a:lnTo>
                <a:close/>
                <a:moveTo>
                  <a:pt x="6140" y="8577"/>
                </a:moveTo>
                <a:lnTo>
                  <a:pt x="6137" y="8586"/>
                </a:lnTo>
                <a:lnTo>
                  <a:pt x="6135" y="8594"/>
                </a:lnTo>
                <a:lnTo>
                  <a:pt x="6132" y="8600"/>
                </a:lnTo>
                <a:lnTo>
                  <a:pt x="6129" y="8603"/>
                </a:lnTo>
                <a:lnTo>
                  <a:pt x="6125" y="8606"/>
                </a:lnTo>
                <a:lnTo>
                  <a:pt x="6118" y="8607"/>
                </a:lnTo>
                <a:lnTo>
                  <a:pt x="6109" y="8608"/>
                </a:lnTo>
                <a:lnTo>
                  <a:pt x="6097" y="8608"/>
                </a:lnTo>
                <a:lnTo>
                  <a:pt x="6100" y="8598"/>
                </a:lnTo>
                <a:lnTo>
                  <a:pt x="6102" y="8587"/>
                </a:lnTo>
                <a:lnTo>
                  <a:pt x="6105" y="8577"/>
                </a:lnTo>
                <a:lnTo>
                  <a:pt x="6107" y="8566"/>
                </a:lnTo>
                <a:lnTo>
                  <a:pt x="6116" y="8569"/>
                </a:lnTo>
                <a:lnTo>
                  <a:pt x="6124" y="8571"/>
                </a:lnTo>
                <a:lnTo>
                  <a:pt x="6132" y="8574"/>
                </a:lnTo>
                <a:lnTo>
                  <a:pt x="6140" y="8577"/>
                </a:lnTo>
                <a:close/>
                <a:moveTo>
                  <a:pt x="5589" y="7826"/>
                </a:moveTo>
                <a:lnTo>
                  <a:pt x="5579" y="7825"/>
                </a:lnTo>
                <a:lnTo>
                  <a:pt x="5567" y="7823"/>
                </a:lnTo>
                <a:lnTo>
                  <a:pt x="5555" y="7821"/>
                </a:lnTo>
                <a:lnTo>
                  <a:pt x="5542" y="7817"/>
                </a:lnTo>
                <a:lnTo>
                  <a:pt x="5528" y="7813"/>
                </a:lnTo>
                <a:lnTo>
                  <a:pt x="5514" y="7808"/>
                </a:lnTo>
                <a:lnTo>
                  <a:pt x="5500" y="7802"/>
                </a:lnTo>
                <a:lnTo>
                  <a:pt x="5487" y="7796"/>
                </a:lnTo>
                <a:lnTo>
                  <a:pt x="5472" y="7789"/>
                </a:lnTo>
                <a:lnTo>
                  <a:pt x="5459" y="7782"/>
                </a:lnTo>
                <a:lnTo>
                  <a:pt x="5446" y="7774"/>
                </a:lnTo>
                <a:lnTo>
                  <a:pt x="5435" y="7766"/>
                </a:lnTo>
                <a:lnTo>
                  <a:pt x="5424" y="7757"/>
                </a:lnTo>
                <a:lnTo>
                  <a:pt x="5414" y="7748"/>
                </a:lnTo>
                <a:lnTo>
                  <a:pt x="5406" y="7739"/>
                </a:lnTo>
                <a:lnTo>
                  <a:pt x="5399" y="7730"/>
                </a:lnTo>
                <a:lnTo>
                  <a:pt x="5438" y="7734"/>
                </a:lnTo>
                <a:lnTo>
                  <a:pt x="5475" y="7736"/>
                </a:lnTo>
                <a:lnTo>
                  <a:pt x="5484" y="7735"/>
                </a:lnTo>
                <a:lnTo>
                  <a:pt x="5493" y="7733"/>
                </a:lnTo>
                <a:lnTo>
                  <a:pt x="5501" y="7731"/>
                </a:lnTo>
                <a:lnTo>
                  <a:pt x="5509" y="7727"/>
                </a:lnTo>
                <a:lnTo>
                  <a:pt x="5516" y="7722"/>
                </a:lnTo>
                <a:lnTo>
                  <a:pt x="5524" y="7716"/>
                </a:lnTo>
                <a:lnTo>
                  <a:pt x="5530" y="7708"/>
                </a:lnTo>
                <a:lnTo>
                  <a:pt x="5537" y="7698"/>
                </a:lnTo>
                <a:lnTo>
                  <a:pt x="5549" y="7700"/>
                </a:lnTo>
                <a:lnTo>
                  <a:pt x="5560" y="7702"/>
                </a:lnTo>
                <a:lnTo>
                  <a:pt x="5571" y="7704"/>
                </a:lnTo>
                <a:lnTo>
                  <a:pt x="5581" y="7707"/>
                </a:lnTo>
                <a:lnTo>
                  <a:pt x="5600" y="7713"/>
                </a:lnTo>
                <a:lnTo>
                  <a:pt x="5618" y="7720"/>
                </a:lnTo>
                <a:lnTo>
                  <a:pt x="5633" y="7729"/>
                </a:lnTo>
                <a:lnTo>
                  <a:pt x="5648" y="7738"/>
                </a:lnTo>
                <a:lnTo>
                  <a:pt x="5661" y="7747"/>
                </a:lnTo>
                <a:lnTo>
                  <a:pt x="5673" y="7757"/>
                </a:lnTo>
                <a:lnTo>
                  <a:pt x="5686" y="7766"/>
                </a:lnTo>
                <a:lnTo>
                  <a:pt x="5698" y="7775"/>
                </a:lnTo>
                <a:lnTo>
                  <a:pt x="5711" y="7783"/>
                </a:lnTo>
                <a:lnTo>
                  <a:pt x="5724" y="7790"/>
                </a:lnTo>
                <a:lnTo>
                  <a:pt x="5739" y="7796"/>
                </a:lnTo>
                <a:lnTo>
                  <a:pt x="5754" y="7801"/>
                </a:lnTo>
                <a:lnTo>
                  <a:pt x="5763" y="7802"/>
                </a:lnTo>
                <a:lnTo>
                  <a:pt x="5772" y="7804"/>
                </a:lnTo>
                <a:lnTo>
                  <a:pt x="5781" y="7804"/>
                </a:lnTo>
                <a:lnTo>
                  <a:pt x="5791" y="7805"/>
                </a:lnTo>
                <a:lnTo>
                  <a:pt x="5795" y="7812"/>
                </a:lnTo>
                <a:lnTo>
                  <a:pt x="5802" y="7820"/>
                </a:lnTo>
                <a:lnTo>
                  <a:pt x="5810" y="7829"/>
                </a:lnTo>
                <a:lnTo>
                  <a:pt x="5818" y="7838"/>
                </a:lnTo>
                <a:lnTo>
                  <a:pt x="5836" y="7858"/>
                </a:lnTo>
                <a:lnTo>
                  <a:pt x="5852" y="7879"/>
                </a:lnTo>
                <a:lnTo>
                  <a:pt x="5857" y="7888"/>
                </a:lnTo>
                <a:lnTo>
                  <a:pt x="5862" y="7898"/>
                </a:lnTo>
                <a:lnTo>
                  <a:pt x="5863" y="7902"/>
                </a:lnTo>
                <a:lnTo>
                  <a:pt x="5863" y="7906"/>
                </a:lnTo>
                <a:lnTo>
                  <a:pt x="5863" y="7910"/>
                </a:lnTo>
                <a:lnTo>
                  <a:pt x="5861" y="7914"/>
                </a:lnTo>
                <a:lnTo>
                  <a:pt x="5858" y="7917"/>
                </a:lnTo>
                <a:lnTo>
                  <a:pt x="5855" y="7921"/>
                </a:lnTo>
                <a:lnTo>
                  <a:pt x="5851" y="7924"/>
                </a:lnTo>
                <a:lnTo>
                  <a:pt x="5846" y="7926"/>
                </a:lnTo>
                <a:lnTo>
                  <a:pt x="5840" y="7929"/>
                </a:lnTo>
                <a:lnTo>
                  <a:pt x="5833" y="7930"/>
                </a:lnTo>
                <a:lnTo>
                  <a:pt x="5824" y="7932"/>
                </a:lnTo>
                <a:lnTo>
                  <a:pt x="5815" y="7933"/>
                </a:lnTo>
                <a:lnTo>
                  <a:pt x="5799" y="7934"/>
                </a:lnTo>
                <a:lnTo>
                  <a:pt x="5783" y="7934"/>
                </a:lnTo>
                <a:lnTo>
                  <a:pt x="5766" y="7932"/>
                </a:lnTo>
                <a:lnTo>
                  <a:pt x="5750" y="7930"/>
                </a:lnTo>
                <a:lnTo>
                  <a:pt x="5732" y="7926"/>
                </a:lnTo>
                <a:lnTo>
                  <a:pt x="5716" y="7921"/>
                </a:lnTo>
                <a:lnTo>
                  <a:pt x="5699" y="7916"/>
                </a:lnTo>
                <a:lnTo>
                  <a:pt x="5684" y="7909"/>
                </a:lnTo>
                <a:lnTo>
                  <a:pt x="5669" y="7901"/>
                </a:lnTo>
                <a:lnTo>
                  <a:pt x="5654" y="7893"/>
                </a:lnTo>
                <a:lnTo>
                  <a:pt x="5641" y="7884"/>
                </a:lnTo>
                <a:lnTo>
                  <a:pt x="5628" y="7873"/>
                </a:lnTo>
                <a:lnTo>
                  <a:pt x="5617" y="7862"/>
                </a:lnTo>
                <a:lnTo>
                  <a:pt x="5605" y="7850"/>
                </a:lnTo>
                <a:lnTo>
                  <a:pt x="5597" y="7838"/>
                </a:lnTo>
                <a:lnTo>
                  <a:pt x="5589" y="7826"/>
                </a:lnTo>
                <a:close/>
                <a:moveTo>
                  <a:pt x="5749" y="8111"/>
                </a:moveTo>
                <a:lnTo>
                  <a:pt x="5732" y="8114"/>
                </a:lnTo>
                <a:lnTo>
                  <a:pt x="5716" y="8116"/>
                </a:lnTo>
                <a:lnTo>
                  <a:pt x="5700" y="8119"/>
                </a:lnTo>
                <a:lnTo>
                  <a:pt x="5685" y="8121"/>
                </a:lnTo>
                <a:lnTo>
                  <a:pt x="5686" y="8112"/>
                </a:lnTo>
                <a:lnTo>
                  <a:pt x="5689" y="8103"/>
                </a:lnTo>
                <a:lnTo>
                  <a:pt x="5692" y="8094"/>
                </a:lnTo>
                <a:lnTo>
                  <a:pt x="5695" y="8086"/>
                </a:lnTo>
                <a:lnTo>
                  <a:pt x="5700" y="8079"/>
                </a:lnTo>
                <a:lnTo>
                  <a:pt x="5704" y="8072"/>
                </a:lnTo>
                <a:lnTo>
                  <a:pt x="5709" y="8067"/>
                </a:lnTo>
                <a:lnTo>
                  <a:pt x="5714" y="8063"/>
                </a:lnTo>
                <a:lnTo>
                  <a:pt x="5719" y="8061"/>
                </a:lnTo>
                <a:lnTo>
                  <a:pt x="5724" y="8061"/>
                </a:lnTo>
                <a:lnTo>
                  <a:pt x="5727" y="8062"/>
                </a:lnTo>
                <a:lnTo>
                  <a:pt x="5729" y="8063"/>
                </a:lnTo>
                <a:lnTo>
                  <a:pt x="5732" y="8065"/>
                </a:lnTo>
                <a:lnTo>
                  <a:pt x="5735" y="8067"/>
                </a:lnTo>
                <a:lnTo>
                  <a:pt x="5739" y="8074"/>
                </a:lnTo>
                <a:lnTo>
                  <a:pt x="5743" y="8083"/>
                </a:lnTo>
                <a:lnTo>
                  <a:pt x="5746" y="8095"/>
                </a:lnTo>
                <a:lnTo>
                  <a:pt x="5749" y="8111"/>
                </a:lnTo>
                <a:close/>
                <a:moveTo>
                  <a:pt x="5674" y="8121"/>
                </a:moveTo>
                <a:lnTo>
                  <a:pt x="5659" y="8122"/>
                </a:lnTo>
                <a:lnTo>
                  <a:pt x="5642" y="8123"/>
                </a:lnTo>
                <a:lnTo>
                  <a:pt x="5634" y="8123"/>
                </a:lnTo>
                <a:lnTo>
                  <a:pt x="5626" y="8122"/>
                </a:lnTo>
                <a:lnTo>
                  <a:pt x="5619" y="8122"/>
                </a:lnTo>
                <a:lnTo>
                  <a:pt x="5612" y="8120"/>
                </a:lnTo>
                <a:lnTo>
                  <a:pt x="5605" y="8117"/>
                </a:lnTo>
                <a:lnTo>
                  <a:pt x="5600" y="8113"/>
                </a:lnTo>
                <a:lnTo>
                  <a:pt x="5596" y="8108"/>
                </a:lnTo>
                <a:lnTo>
                  <a:pt x="5593" y="8102"/>
                </a:lnTo>
                <a:lnTo>
                  <a:pt x="5592" y="8094"/>
                </a:lnTo>
                <a:lnTo>
                  <a:pt x="5593" y="8084"/>
                </a:lnTo>
                <a:lnTo>
                  <a:pt x="5595" y="8072"/>
                </a:lnTo>
                <a:lnTo>
                  <a:pt x="5600" y="8058"/>
                </a:lnTo>
                <a:lnTo>
                  <a:pt x="5619" y="8061"/>
                </a:lnTo>
                <a:lnTo>
                  <a:pt x="5634" y="8066"/>
                </a:lnTo>
                <a:lnTo>
                  <a:pt x="5641" y="8069"/>
                </a:lnTo>
                <a:lnTo>
                  <a:pt x="5647" y="8072"/>
                </a:lnTo>
                <a:lnTo>
                  <a:pt x="5653" y="8075"/>
                </a:lnTo>
                <a:lnTo>
                  <a:pt x="5658" y="8079"/>
                </a:lnTo>
                <a:lnTo>
                  <a:pt x="5662" y="8083"/>
                </a:lnTo>
                <a:lnTo>
                  <a:pt x="5666" y="8088"/>
                </a:lnTo>
                <a:lnTo>
                  <a:pt x="5669" y="8093"/>
                </a:lnTo>
                <a:lnTo>
                  <a:pt x="5671" y="8098"/>
                </a:lnTo>
                <a:lnTo>
                  <a:pt x="5673" y="8103"/>
                </a:lnTo>
                <a:lnTo>
                  <a:pt x="5674" y="8109"/>
                </a:lnTo>
                <a:lnTo>
                  <a:pt x="5675" y="8115"/>
                </a:lnTo>
                <a:lnTo>
                  <a:pt x="5674" y="8121"/>
                </a:lnTo>
                <a:close/>
                <a:moveTo>
                  <a:pt x="5293" y="7719"/>
                </a:moveTo>
                <a:lnTo>
                  <a:pt x="5293" y="7725"/>
                </a:lnTo>
                <a:lnTo>
                  <a:pt x="5292" y="7730"/>
                </a:lnTo>
                <a:lnTo>
                  <a:pt x="5290" y="7735"/>
                </a:lnTo>
                <a:lnTo>
                  <a:pt x="5287" y="7740"/>
                </a:lnTo>
                <a:lnTo>
                  <a:pt x="5284" y="7744"/>
                </a:lnTo>
                <a:lnTo>
                  <a:pt x="5280" y="7750"/>
                </a:lnTo>
                <a:lnTo>
                  <a:pt x="5276" y="7753"/>
                </a:lnTo>
                <a:lnTo>
                  <a:pt x="5272" y="7757"/>
                </a:lnTo>
                <a:lnTo>
                  <a:pt x="5261" y="7762"/>
                </a:lnTo>
                <a:lnTo>
                  <a:pt x="5250" y="7767"/>
                </a:lnTo>
                <a:lnTo>
                  <a:pt x="5239" y="7769"/>
                </a:lnTo>
                <a:lnTo>
                  <a:pt x="5226" y="7770"/>
                </a:lnTo>
                <a:lnTo>
                  <a:pt x="5220" y="7770"/>
                </a:lnTo>
                <a:lnTo>
                  <a:pt x="5215" y="7769"/>
                </a:lnTo>
                <a:lnTo>
                  <a:pt x="5210" y="7768"/>
                </a:lnTo>
                <a:lnTo>
                  <a:pt x="5204" y="7766"/>
                </a:lnTo>
                <a:lnTo>
                  <a:pt x="5200" y="7763"/>
                </a:lnTo>
                <a:lnTo>
                  <a:pt x="5195" y="7760"/>
                </a:lnTo>
                <a:lnTo>
                  <a:pt x="5192" y="7757"/>
                </a:lnTo>
                <a:lnTo>
                  <a:pt x="5188" y="7753"/>
                </a:lnTo>
                <a:lnTo>
                  <a:pt x="5186" y="7747"/>
                </a:lnTo>
                <a:lnTo>
                  <a:pt x="5183" y="7742"/>
                </a:lnTo>
                <a:lnTo>
                  <a:pt x="5182" y="7737"/>
                </a:lnTo>
                <a:lnTo>
                  <a:pt x="5181" y="7730"/>
                </a:lnTo>
                <a:lnTo>
                  <a:pt x="5181" y="7723"/>
                </a:lnTo>
                <a:lnTo>
                  <a:pt x="5182" y="7716"/>
                </a:lnTo>
                <a:lnTo>
                  <a:pt x="5184" y="7707"/>
                </a:lnTo>
                <a:lnTo>
                  <a:pt x="5187" y="7698"/>
                </a:lnTo>
                <a:lnTo>
                  <a:pt x="5195" y="7701"/>
                </a:lnTo>
                <a:lnTo>
                  <a:pt x="5203" y="7704"/>
                </a:lnTo>
                <a:lnTo>
                  <a:pt x="5211" y="7706"/>
                </a:lnTo>
                <a:lnTo>
                  <a:pt x="5219" y="7709"/>
                </a:lnTo>
                <a:lnTo>
                  <a:pt x="5221" y="7718"/>
                </a:lnTo>
                <a:lnTo>
                  <a:pt x="5224" y="7725"/>
                </a:lnTo>
                <a:lnTo>
                  <a:pt x="5228" y="7730"/>
                </a:lnTo>
                <a:lnTo>
                  <a:pt x="5232" y="7735"/>
                </a:lnTo>
                <a:lnTo>
                  <a:pt x="5236" y="7737"/>
                </a:lnTo>
                <a:lnTo>
                  <a:pt x="5240" y="7739"/>
                </a:lnTo>
                <a:lnTo>
                  <a:pt x="5245" y="7740"/>
                </a:lnTo>
                <a:lnTo>
                  <a:pt x="5250" y="7739"/>
                </a:lnTo>
                <a:lnTo>
                  <a:pt x="5260" y="7737"/>
                </a:lnTo>
                <a:lnTo>
                  <a:pt x="5270" y="7732"/>
                </a:lnTo>
                <a:lnTo>
                  <a:pt x="5281" y="7726"/>
                </a:lnTo>
                <a:lnTo>
                  <a:pt x="5293" y="771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17" name="Group 19"/>
          <p:cNvGrpSpPr>
            <a:grpSpLocks/>
          </p:cNvGrpSpPr>
          <p:nvPr/>
        </p:nvGrpSpPr>
        <p:grpSpPr bwMode="auto">
          <a:xfrm>
            <a:off x="5059363" y="6519863"/>
            <a:ext cx="387350" cy="357187"/>
            <a:chOff x="3923928" y="3291878"/>
            <a:chExt cx="432000" cy="432000"/>
          </a:xfrm>
        </p:grpSpPr>
        <p:sp>
          <p:nvSpPr>
            <p:cNvPr id="18" name="Oval 17"/>
            <p:cNvSpPr/>
            <p:nvPr userDrawn="1"/>
          </p:nvSpPr>
          <p:spPr>
            <a:xfrm>
              <a:off x="3923928" y="3291878"/>
              <a:ext cx="432000" cy="43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solidFill>
                  <a:prstClr val="white"/>
                </a:solidFill>
              </a:endParaRPr>
            </a:p>
          </p:txBody>
        </p:sp>
        <p:sp>
          <p:nvSpPr>
            <p:cNvPr id="20" name="Freeform 53"/>
            <p:cNvSpPr>
              <a:spLocks noEditPoints="1"/>
            </p:cNvSpPr>
            <p:nvPr userDrawn="1"/>
          </p:nvSpPr>
          <p:spPr bwMode="auto">
            <a:xfrm>
              <a:off x="4021304" y="3430118"/>
              <a:ext cx="247869" cy="155520"/>
            </a:xfrm>
            <a:custGeom>
              <a:avLst/>
              <a:gdLst>
                <a:gd name="T0" fmla="*/ 16113 w 16156"/>
                <a:gd name="T1" fmla="*/ 10223 h 10920"/>
                <a:gd name="T2" fmla="*/ 16133 w 16156"/>
                <a:gd name="T3" fmla="*/ 10148 h 10920"/>
                <a:gd name="T4" fmla="*/ 16147 w 16156"/>
                <a:gd name="T5" fmla="*/ 10071 h 10920"/>
                <a:gd name="T6" fmla="*/ 16155 w 16156"/>
                <a:gd name="T7" fmla="*/ 9992 h 10920"/>
                <a:gd name="T8" fmla="*/ 16156 w 16156"/>
                <a:gd name="T9" fmla="*/ 969 h 10920"/>
                <a:gd name="T10" fmla="*/ 16152 w 16156"/>
                <a:gd name="T11" fmla="*/ 893 h 10920"/>
                <a:gd name="T12" fmla="*/ 16142 w 16156"/>
                <a:gd name="T13" fmla="*/ 818 h 10920"/>
                <a:gd name="T14" fmla="*/ 16126 w 16156"/>
                <a:gd name="T15" fmla="*/ 746 h 10920"/>
                <a:gd name="T16" fmla="*/ 16106 w 16156"/>
                <a:gd name="T17" fmla="*/ 675 h 10920"/>
                <a:gd name="T18" fmla="*/ 16100 w 16156"/>
                <a:gd name="T19" fmla="*/ 10260 h 10920"/>
                <a:gd name="T20" fmla="*/ 39 w 16156"/>
                <a:gd name="T21" fmla="*/ 711 h 10920"/>
                <a:gd name="T22" fmla="*/ 21 w 16156"/>
                <a:gd name="T23" fmla="*/ 782 h 10920"/>
                <a:gd name="T24" fmla="*/ 8 w 16156"/>
                <a:gd name="T25" fmla="*/ 855 h 10920"/>
                <a:gd name="T26" fmla="*/ 1 w 16156"/>
                <a:gd name="T27" fmla="*/ 930 h 10920"/>
                <a:gd name="T28" fmla="*/ 0 w 16156"/>
                <a:gd name="T29" fmla="*/ 9951 h 10920"/>
                <a:gd name="T30" fmla="*/ 4 w 16156"/>
                <a:gd name="T31" fmla="*/ 10031 h 10920"/>
                <a:gd name="T32" fmla="*/ 15 w 16156"/>
                <a:gd name="T33" fmla="*/ 10110 h 10920"/>
                <a:gd name="T34" fmla="*/ 32 w 16156"/>
                <a:gd name="T35" fmla="*/ 10186 h 10920"/>
                <a:gd name="T36" fmla="*/ 56 w 16156"/>
                <a:gd name="T37" fmla="*/ 10260 h 10920"/>
                <a:gd name="T38" fmla="*/ 50 w 16156"/>
                <a:gd name="T39" fmla="*/ 675 h 10920"/>
                <a:gd name="T40" fmla="*/ 15222 w 16156"/>
                <a:gd name="T41" fmla="*/ 10919 h 10920"/>
                <a:gd name="T42" fmla="*/ 15289 w 16156"/>
                <a:gd name="T43" fmla="*/ 10913 h 10920"/>
                <a:gd name="T44" fmla="*/ 15354 w 16156"/>
                <a:gd name="T45" fmla="*/ 10903 h 10920"/>
                <a:gd name="T46" fmla="*/ 15418 w 16156"/>
                <a:gd name="T47" fmla="*/ 10888 h 10920"/>
                <a:gd name="T48" fmla="*/ 10133 w 16156"/>
                <a:gd name="T49" fmla="*/ 5765 h 10920"/>
                <a:gd name="T50" fmla="*/ 6026 w 16156"/>
                <a:gd name="T51" fmla="*/ 5768 h 10920"/>
                <a:gd name="T52" fmla="*/ 738 w 16156"/>
                <a:gd name="T53" fmla="*/ 10888 h 10920"/>
                <a:gd name="T54" fmla="*/ 802 w 16156"/>
                <a:gd name="T55" fmla="*/ 10903 h 10920"/>
                <a:gd name="T56" fmla="*/ 867 w 16156"/>
                <a:gd name="T57" fmla="*/ 10913 h 10920"/>
                <a:gd name="T58" fmla="*/ 934 w 16156"/>
                <a:gd name="T59" fmla="*/ 10919 h 10920"/>
                <a:gd name="T60" fmla="*/ 15189 w 16156"/>
                <a:gd name="T61" fmla="*/ 10920 h 10920"/>
                <a:gd name="T62" fmla="*/ 9465 w 16156"/>
                <a:gd name="T63" fmla="*/ 5153 h 10920"/>
                <a:gd name="T64" fmla="*/ 15460 w 16156"/>
                <a:gd name="T65" fmla="*/ 44 h 10920"/>
                <a:gd name="T66" fmla="*/ 15395 w 16156"/>
                <a:gd name="T67" fmla="*/ 26 h 10920"/>
                <a:gd name="T68" fmla="*/ 15327 w 16156"/>
                <a:gd name="T69" fmla="*/ 12 h 10920"/>
                <a:gd name="T70" fmla="*/ 15258 w 16156"/>
                <a:gd name="T71" fmla="*/ 3 h 10920"/>
                <a:gd name="T72" fmla="*/ 15189 w 16156"/>
                <a:gd name="T73" fmla="*/ 0 h 10920"/>
                <a:gd name="T74" fmla="*/ 932 w 16156"/>
                <a:gd name="T75" fmla="*/ 1 h 10920"/>
                <a:gd name="T76" fmla="*/ 862 w 16156"/>
                <a:gd name="T77" fmla="*/ 7 h 10920"/>
                <a:gd name="T78" fmla="*/ 795 w 16156"/>
                <a:gd name="T79" fmla="*/ 19 h 10920"/>
                <a:gd name="T80" fmla="*/ 728 w 16156"/>
                <a:gd name="T81" fmla="*/ 34 h 10920"/>
                <a:gd name="T82" fmla="*/ 5991 w 16156"/>
                <a:gd name="T83" fmla="*/ 4582 h 10920"/>
                <a:gd name="T84" fmla="*/ 8078 w 16156"/>
                <a:gd name="T85" fmla="*/ 6283 h 10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156" h="10920">
                  <a:moveTo>
                    <a:pt x="16100" y="10260"/>
                  </a:moveTo>
                  <a:lnTo>
                    <a:pt x="16113" y="10223"/>
                  </a:lnTo>
                  <a:lnTo>
                    <a:pt x="16124" y="10186"/>
                  </a:lnTo>
                  <a:lnTo>
                    <a:pt x="16133" y="10148"/>
                  </a:lnTo>
                  <a:lnTo>
                    <a:pt x="16141" y="10109"/>
                  </a:lnTo>
                  <a:lnTo>
                    <a:pt x="16147" y="10071"/>
                  </a:lnTo>
                  <a:lnTo>
                    <a:pt x="16152" y="10031"/>
                  </a:lnTo>
                  <a:lnTo>
                    <a:pt x="16155" y="9992"/>
                  </a:lnTo>
                  <a:lnTo>
                    <a:pt x="16156" y="9951"/>
                  </a:lnTo>
                  <a:lnTo>
                    <a:pt x="16156" y="969"/>
                  </a:lnTo>
                  <a:lnTo>
                    <a:pt x="16155" y="930"/>
                  </a:lnTo>
                  <a:lnTo>
                    <a:pt x="16152" y="893"/>
                  </a:lnTo>
                  <a:lnTo>
                    <a:pt x="16148" y="855"/>
                  </a:lnTo>
                  <a:lnTo>
                    <a:pt x="16142" y="818"/>
                  </a:lnTo>
                  <a:lnTo>
                    <a:pt x="16135" y="782"/>
                  </a:lnTo>
                  <a:lnTo>
                    <a:pt x="16126" y="746"/>
                  </a:lnTo>
                  <a:lnTo>
                    <a:pt x="16117" y="711"/>
                  </a:lnTo>
                  <a:lnTo>
                    <a:pt x="16106" y="675"/>
                  </a:lnTo>
                  <a:lnTo>
                    <a:pt x="10836" y="5193"/>
                  </a:lnTo>
                  <a:lnTo>
                    <a:pt x="16100" y="10260"/>
                  </a:lnTo>
                  <a:close/>
                  <a:moveTo>
                    <a:pt x="50" y="675"/>
                  </a:moveTo>
                  <a:lnTo>
                    <a:pt x="39" y="711"/>
                  </a:lnTo>
                  <a:lnTo>
                    <a:pt x="30" y="746"/>
                  </a:lnTo>
                  <a:lnTo>
                    <a:pt x="21" y="782"/>
                  </a:lnTo>
                  <a:lnTo>
                    <a:pt x="14" y="818"/>
                  </a:lnTo>
                  <a:lnTo>
                    <a:pt x="8" y="855"/>
                  </a:lnTo>
                  <a:lnTo>
                    <a:pt x="4" y="893"/>
                  </a:lnTo>
                  <a:lnTo>
                    <a:pt x="1" y="930"/>
                  </a:lnTo>
                  <a:lnTo>
                    <a:pt x="0" y="969"/>
                  </a:lnTo>
                  <a:lnTo>
                    <a:pt x="0" y="9951"/>
                  </a:lnTo>
                  <a:lnTo>
                    <a:pt x="1" y="9992"/>
                  </a:lnTo>
                  <a:lnTo>
                    <a:pt x="4" y="10031"/>
                  </a:lnTo>
                  <a:lnTo>
                    <a:pt x="9" y="10071"/>
                  </a:lnTo>
                  <a:lnTo>
                    <a:pt x="15" y="10110"/>
                  </a:lnTo>
                  <a:lnTo>
                    <a:pt x="23" y="10148"/>
                  </a:lnTo>
                  <a:lnTo>
                    <a:pt x="32" y="10186"/>
                  </a:lnTo>
                  <a:lnTo>
                    <a:pt x="43" y="10223"/>
                  </a:lnTo>
                  <a:lnTo>
                    <a:pt x="56" y="10260"/>
                  </a:lnTo>
                  <a:lnTo>
                    <a:pt x="5323" y="5196"/>
                  </a:lnTo>
                  <a:lnTo>
                    <a:pt x="50" y="675"/>
                  </a:lnTo>
                  <a:close/>
                  <a:moveTo>
                    <a:pt x="15189" y="10920"/>
                  </a:moveTo>
                  <a:lnTo>
                    <a:pt x="15222" y="10919"/>
                  </a:lnTo>
                  <a:lnTo>
                    <a:pt x="15256" y="10917"/>
                  </a:lnTo>
                  <a:lnTo>
                    <a:pt x="15289" y="10913"/>
                  </a:lnTo>
                  <a:lnTo>
                    <a:pt x="15322" y="10909"/>
                  </a:lnTo>
                  <a:lnTo>
                    <a:pt x="15354" y="10903"/>
                  </a:lnTo>
                  <a:lnTo>
                    <a:pt x="15387" y="10896"/>
                  </a:lnTo>
                  <a:lnTo>
                    <a:pt x="15418" y="10888"/>
                  </a:lnTo>
                  <a:lnTo>
                    <a:pt x="15449" y="10880"/>
                  </a:lnTo>
                  <a:lnTo>
                    <a:pt x="10133" y="5765"/>
                  </a:lnTo>
                  <a:lnTo>
                    <a:pt x="8078" y="7440"/>
                  </a:lnTo>
                  <a:lnTo>
                    <a:pt x="6026" y="5768"/>
                  </a:lnTo>
                  <a:lnTo>
                    <a:pt x="707" y="10880"/>
                  </a:lnTo>
                  <a:lnTo>
                    <a:pt x="738" y="10888"/>
                  </a:lnTo>
                  <a:lnTo>
                    <a:pt x="770" y="10896"/>
                  </a:lnTo>
                  <a:lnTo>
                    <a:pt x="802" y="10903"/>
                  </a:lnTo>
                  <a:lnTo>
                    <a:pt x="834" y="10909"/>
                  </a:lnTo>
                  <a:lnTo>
                    <a:pt x="867" y="10913"/>
                  </a:lnTo>
                  <a:lnTo>
                    <a:pt x="901" y="10917"/>
                  </a:lnTo>
                  <a:lnTo>
                    <a:pt x="934" y="10919"/>
                  </a:lnTo>
                  <a:lnTo>
                    <a:pt x="967" y="10920"/>
                  </a:lnTo>
                  <a:lnTo>
                    <a:pt x="15189" y="10920"/>
                  </a:lnTo>
                  <a:close/>
                  <a:moveTo>
                    <a:pt x="8078" y="6283"/>
                  </a:moveTo>
                  <a:lnTo>
                    <a:pt x="9465" y="5153"/>
                  </a:lnTo>
                  <a:lnTo>
                    <a:pt x="10168" y="4580"/>
                  </a:lnTo>
                  <a:lnTo>
                    <a:pt x="15460" y="44"/>
                  </a:lnTo>
                  <a:lnTo>
                    <a:pt x="15428" y="34"/>
                  </a:lnTo>
                  <a:lnTo>
                    <a:pt x="15395" y="26"/>
                  </a:lnTo>
                  <a:lnTo>
                    <a:pt x="15361" y="19"/>
                  </a:lnTo>
                  <a:lnTo>
                    <a:pt x="15327" y="12"/>
                  </a:lnTo>
                  <a:lnTo>
                    <a:pt x="15294" y="7"/>
                  </a:lnTo>
                  <a:lnTo>
                    <a:pt x="15258" y="3"/>
                  </a:lnTo>
                  <a:lnTo>
                    <a:pt x="15224" y="1"/>
                  </a:lnTo>
                  <a:lnTo>
                    <a:pt x="15189" y="0"/>
                  </a:lnTo>
                  <a:lnTo>
                    <a:pt x="967" y="0"/>
                  </a:lnTo>
                  <a:lnTo>
                    <a:pt x="932" y="1"/>
                  </a:lnTo>
                  <a:lnTo>
                    <a:pt x="897" y="3"/>
                  </a:lnTo>
                  <a:lnTo>
                    <a:pt x="862" y="7"/>
                  </a:lnTo>
                  <a:lnTo>
                    <a:pt x="828" y="12"/>
                  </a:lnTo>
                  <a:lnTo>
                    <a:pt x="795" y="19"/>
                  </a:lnTo>
                  <a:lnTo>
                    <a:pt x="761" y="26"/>
                  </a:lnTo>
                  <a:lnTo>
                    <a:pt x="728" y="34"/>
                  </a:lnTo>
                  <a:lnTo>
                    <a:pt x="695" y="44"/>
                  </a:lnTo>
                  <a:lnTo>
                    <a:pt x="5991" y="4582"/>
                  </a:lnTo>
                  <a:lnTo>
                    <a:pt x="6693" y="5155"/>
                  </a:lnTo>
                  <a:lnTo>
                    <a:pt x="8078" y="628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solidFill>
                  <a:prstClr val="black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279525" y="1450595"/>
            <a:ext cx="9794875" cy="4297362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Trebuchet MS" panose="020B0603020202020204" pitchFamily="34" charset="0"/>
              </a:defRPr>
            </a:lvl1pPr>
            <a:lvl2pPr>
              <a:defRPr sz="2400">
                <a:latin typeface="Trebuchet MS" panose="020B0603020202020204" pitchFamily="34" charset="0"/>
              </a:defRPr>
            </a:lvl2pPr>
            <a:lvl3pPr>
              <a:defRPr sz="1800">
                <a:latin typeface="Trebuchet MS" panose="020B0603020202020204" pitchFamily="34" charset="0"/>
              </a:defRPr>
            </a:lvl3pPr>
            <a:lvl4pPr>
              <a:defRPr sz="1600">
                <a:latin typeface="Trebuchet MS" panose="020B0603020202020204" pitchFamily="34" charset="0"/>
              </a:defRPr>
            </a:lvl4pPr>
            <a:lvl5pPr>
              <a:defRPr sz="160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21"/>
          <p:cNvSpPr>
            <a:spLocks noGrp="1"/>
          </p:cNvSpPr>
          <p:nvPr>
            <p:ph type="title"/>
          </p:nvPr>
        </p:nvSpPr>
        <p:spPr bwMode="auto">
          <a:xfrm>
            <a:off x="1345474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l">
              <a:defRPr sz="24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3461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7375" y="92075"/>
            <a:ext cx="1311275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196850"/>
            <a:ext cx="952501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3184525" y="6538913"/>
            <a:ext cx="1808163" cy="3698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id-ID">
                <a:solidFill>
                  <a:srgbClr val="7F7F7F"/>
                </a:solidFill>
                <a:ea typeface="+mn-ea"/>
                <a:cs typeface="+mn-cs"/>
              </a:rPr>
              <a:t>@ddbaccelerator</a:t>
            </a: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5554663" y="6538913"/>
            <a:ext cx="2978150" cy="36988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id-ID" dirty="0">
                <a:solidFill>
                  <a:srgbClr val="7F7F7F"/>
                </a:solidFill>
                <a:ea typeface="+mn-ea"/>
                <a:cs typeface="+mn-cs"/>
              </a:rPr>
              <a:t>support@ddbaccelerator.com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083675" y="6562725"/>
            <a:ext cx="2576513" cy="369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id-ID">
                <a:solidFill>
                  <a:srgbClr val="7F7F7F"/>
                </a:solidFill>
                <a:ea typeface="+mn-ea"/>
                <a:cs typeface="+mn-cs"/>
              </a:rPr>
              <a:t>www.ddbaccelerator.com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842963" y="6526213"/>
            <a:ext cx="1601787" cy="36830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id-ID">
                <a:solidFill>
                  <a:srgbClr val="7F7F7F"/>
                </a:solidFill>
                <a:ea typeface="+mn-ea"/>
                <a:cs typeface="+mn-cs"/>
              </a:rPr>
              <a:t>ddbaccelerator</a:t>
            </a:r>
          </a:p>
        </p:txBody>
      </p:sp>
      <p:grpSp>
        <p:nvGrpSpPr>
          <p:cNvPr id="8" name="Group 13"/>
          <p:cNvGrpSpPr>
            <a:grpSpLocks/>
          </p:cNvGrpSpPr>
          <p:nvPr userDrawn="1"/>
        </p:nvGrpSpPr>
        <p:grpSpPr bwMode="auto">
          <a:xfrm>
            <a:off x="5227638" y="6526213"/>
            <a:ext cx="344487" cy="319087"/>
            <a:chOff x="5359912" y="5824679"/>
            <a:chExt cx="432000" cy="432000"/>
          </a:xfrm>
        </p:grpSpPr>
        <p:sp>
          <p:nvSpPr>
            <p:cNvPr id="9" name="Oval 8"/>
            <p:cNvSpPr>
              <a:spLocks noChangeArrowheads="1"/>
            </p:cNvSpPr>
            <p:nvPr userDrawn="1"/>
          </p:nvSpPr>
          <p:spPr bwMode="auto">
            <a:xfrm>
              <a:off x="5359912" y="5824679"/>
              <a:ext cx="432000" cy="432000"/>
            </a:xfrm>
            <a:prstGeom prst="ellipse">
              <a:avLst/>
            </a:prstGeom>
            <a:solidFill>
              <a:srgbClr val="DA0000"/>
            </a:solidFill>
            <a:ln>
              <a:noFill/>
            </a:ln>
            <a:ex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defRPr/>
              </a:pPr>
              <a:endParaRPr lang="id-ID" altLang="id-ID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10" name="Freeform 53"/>
            <p:cNvSpPr>
              <a:spLocks noEditPoints="1"/>
            </p:cNvSpPr>
            <p:nvPr userDrawn="1"/>
          </p:nvSpPr>
          <p:spPr bwMode="auto">
            <a:xfrm>
              <a:off x="5457460" y="5962231"/>
              <a:ext cx="246858" cy="156895"/>
            </a:xfrm>
            <a:custGeom>
              <a:avLst/>
              <a:gdLst>
                <a:gd name="T0" fmla="*/ 2147483646 w 16156"/>
                <a:gd name="T1" fmla="*/ 2147483646 h 10920"/>
                <a:gd name="T2" fmla="*/ 2147483646 w 16156"/>
                <a:gd name="T3" fmla="*/ 2147483646 h 10920"/>
                <a:gd name="T4" fmla="*/ 2147483646 w 16156"/>
                <a:gd name="T5" fmla="*/ 2147483646 h 10920"/>
                <a:gd name="T6" fmla="*/ 2147483646 w 16156"/>
                <a:gd name="T7" fmla="*/ 2147483646 h 10920"/>
                <a:gd name="T8" fmla="*/ 2147483646 w 16156"/>
                <a:gd name="T9" fmla="*/ 2147483646 h 10920"/>
                <a:gd name="T10" fmla="*/ 2147483646 w 16156"/>
                <a:gd name="T11" fmla="*/ 2147483646 h 10920"/>
                <a:gd name="T12" fmla="*/ 2147483646 w 16156"/>
                <a:gd name="T13" fmla="*/ 2147483646 h 10920"/>
                <a:gd name="T14" fmla="*/ 2147483646 w 16156"/>
                <a:gd name="T15" fmla="*/ 2147483646 h 10920"/>
                <a:gd name="T16" fmla="*/ 2147483646 w 16156"/>
                <a:gd name="T17" fmla="*/ 2147483646 h 10920"/>
                <a:gd name="T18" fmla="*/ 2147483646 w 16156"/>
                <a:gd name="T19" fmla="*/ 2147483646 h 10920"/>
                <a:gd name="T20" fmla="*/ 2147483646 w 16156"/>
                <a:gd name="T21" fmla="*/ 2147483646 h 10920"/>
                <a:gd name="T22" fmla="*/ 2147483646 w 16156"/>
                <a:gd name="T23" fmla="*/ 2147483646 h 10920"/>
                <a:gd name="T24" fmla="*/ 2147483646 w 16156"/>
                <a:gd name="T25" fmla="*/ 2147483646 h 10920"/>
                <a:gd name="T26" fmla="*/ 2147483646 w 16156"/>
                <a:gd name="T27" fmla="*/ 2147483646 h 10920"/>
                <a:gd name="T28" fmla="*/ 0 w 16156"/>
                <a:gd name="T29" fmla="*/ 2147483646 h 10920"/>
                <a:gd name="T30" fmla="*/ 2147483646 w 16156"/>
                <a:gd name="T31" fmla="*/ 2147483646 h 10920"/>
                <a:gd name="T32" fmla="*/ 2147483646 w 16156"/>
                <a:gd name="T33" fmla="*/ 2147483646 h 10920"/>
                <a:gd name="T34" fmla="*/ 2147483646 w 16156"/>
                <a:gd name="T35" fmla="*/ 2147483646 h 10920"/>
                <a:gd name="T36" fmla="*/ 2147483646 w 16156"/>
                <a:gd name="T37" fmla="*/ 2147483646 h 10920"/>
                <a:gd name="T38" fmla="*/ 2147483646 w 16156"/>
                <a:gd name="T39" fmla="*/ 2147483646 h 10920"/>
                <a:gd name="T40" fmla="*/ 2147483646 w 16156"/>
                <a:gd name="T41" fmla="*/ 2147483646 h 10920"/>
                <a:gd name="T42" fmla="*/ 2147483646 w 16156"/>
                <a:gd name="T43" fmla="*/ 2147483646 h 10920"/>
                <a:gd name="T44" fmla="*/ 2147483646 w 16156"/>
                <a:gd name="T45" fmla="*/ 2147483646 h 10920"/>
                <a:gd name="T46" fmla="*/ 2147483646 w 16156"/>
                <a:gd name="T47" fmla="*/ 2147483646 h 10920"/>
                <a:gd name="T48" fmla="*/ 2147483646 w 16156"/>
                <a:gd name="T49" fmla="*/ 2147483646 h 10920"/>
                <a:gd name="T50" fmla="*/ 2147483646 w 16156"/>
                <a:gd name="T51" fmla="*/ 2147483646 h 10920"/>
                <a:gd name="T52" fmla="*/ 2147483646 w 16156"/>
                <a:gd name="T53" fmla="*/ 2147483646 h 10920"/>
                <a:gd name="T54" fmla="*/ 2147483646 w 16156"/>
                <a:gd name="T55" fmla="*/ 2147483646 h 10920"/>
                <a:gd name="T56" fmla="*/ 2147483646 w 16156"/>
                <a:gd name="T57" fmla="*/ 2147483646 h 10920"/>
                <a:gd name="T58" fmla="*/ 2147483646 w 16156"/>
                <a:gd name="T59" fmla="*/ 2147483646 h 10920"/>
                <a:gd name="T60" fmla="*/ 2147483646 w 16156"/>
                <a:gd name="T61" fmla="*/ 2147483646 h 10920"/>
                <a:gd name="T62" fmla="*/ 2147483646 w 16156"/>
                <a:gd name="T63" fmla="*/ 2147483646 h 10920"/>
                <a:gd name="T64" fmla="*/ 2147483646 w 16156"/>
                <a:gd name="T65" fmla="*/ 2147483646 h 10920"/>
                <a:gd name="T66" fmla="*/ 2147483646 w 16156"/>
                <a:gd name="T67" fmla="*/ 2147483646 h 10920"/>
                <a:gd name="T68" fmla="*/ 2147483646 w 16156"/>
                <a:gd name="T69" fmla="*/ 2147483646 h 10920"/>
                <a:gd name="T70" fmla="*/ 2147483646 w 16156"/>
                <a:gd name="T71" fmla="*/ 2147483646 h 10920"/>
                <a:gd name="T72" fmla="*/ 2147483646 w 16156"/>
                <a:gd name="T73" fmla="*/ 0 h 10920"/>
                <a:gd name="T74" fmla="*/ 2147483646 w 16156"/>
                <a:gd name="T75" fmla="*/ 2147483646 h 10920"/>
                <a:gd name="T76" fmla="*/ 2147483646 w 16156"/>
                <a:gd name="T77" fmla="*/ 2147483646 h 10920"/>
                <a:gd name="T78" fmla="*/ 2147483646 w 16156"/>
                <a:gd name="T79" fmla="*/ 2147483646 h 10920"/>
                <a:gd name="T80" fmla="*/ 2147483646 w 16156"/>
                <a:gd name="T81" fmla="*/ 2147483646 h 10920"/>
                <a:gd name="T82" fmla="*/ 2147483646 w 16156"/>
                <a:gd name="T83" fmla="*/ 2147483646 h 10920"/>
                <a:gd name="T84" fmla="*/ 2147483646 w 16156"/>
                <a:gd name="T85" fmla="*/ 2147483646 h 1092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6156" h="10920">
                  <a:moveTo>
                    <a:pt x="16100" y="10260"/>
                  </a:moveTo>
                  <a:lnTo>
                    <a:pt x="16113" y="10223"/>
                  </a:lnTo>
                  <a:lnTo>
                    <a:pt x="16124" y="10186"/>
                  </a:lnTo>
                  <a:lnTo>
                    <a:pt x="16133" y="10148"/>
                  </a:lnTo>
                  <a:lnTo>
                    <a:pt x="16141" y="10109"/>
                  </a:lnTo>
                  <a:lnTo>
                    <a:pt x="16147" y="10071"/>
                  </a:lnTo>
                  <a:lnTo>
                    <a:pt x="16152" y="10031"/>
                  </a:lnTo>
                  <a:lnTo>
                    <a:pt x="16155" y="9992"/>
                  </a:lnTo>
                  <a:lnTo>
                    <a:pt x="16156" y="9951"/>
                  </a:lnTo>
                  <a:lnTo>
                    <a:pt x="16156" y="969"/>
                  </a:lnTo>
                  <a:lnTo>
                    <a:pt x="16155" y="930"/>
                  </a:lnTo>
                  <a:lnTo>
                    <a:pt x="16152" y="893"/>
                  </a:lnTo>
                  <a:lnTo>
                    <a:pt x="16148" y="855"/>
                  </a:lnTo>
                  <a:lnTo>
                    <a:pt x="16142" y="818"/>
                  </a:lnTo>
                  <a:lnTo>
                    <a:pt x="16135" y="782"/>
                  </a:lnTo>
                  <a:lnTo>
                    <a:pt x="16126" y="746"/>
                  </a:lnTo>
                  <a:lnTo>
                    <a:pt x="16117" y="711"/>
                  </a:lnTo>
                  <a:lnTo>
                    <a:pt x="16106" y="675"/>
                  </a:lnTo>
                  <a:lnTo>
                    <a:pt x="10836" y="5193"/>
                  </a:lnTo>
                  <a:lnTo>
                    <a:pt x="16100" y="10260"/>
                  </a:lnTo>
                  <a:close/>
                  <a:moveTo>
                    <a:pt x="50" y="675"/>
                  </a:moveTo>
                  <a:lnTo>
                    <a:pt x="39" y="711"/>
                  </a:lnTo>
                  <a:lnTo>
                    <a:pt x="30" y="746"/>
                  </a:lnTo>
                  <a:lnTo>
                    <a:pt x="21" y="782"/>
                  </a:lnTo>
                  <a:lnTo>
                    <a:pt x="14" y="818"/>
                  </a:lnTo>
                  <a:lnTo>
                    <a:pt x="8" y="855"/>
                  </a:lnTo>
                  <a:lnTo>
                    <a:pt x="4" y="893"/>
                  </a:lnTo>
                  <a:lnTo>
                    <a:pt x="1" y="930"/>
                  </a:lnTo>
                  <a:lnTo>
                    <a:pt x="0" y="969"/>
                  </a:lnTo>
                  <a:lnTo>
                    <a:pt x="0" y="9951"/>
                  </a:lnTo>
                  <a:lnTo>
                    <a:pt x="1" y="9992"/>
                  </a:lnTo>
                  <a:lnTo>
                    <a:pt x="4" y="10031"/>
                  </a:lnTo>
                  <a:lnTo>
                    <a:pt x="9" y="10071"/>
                  </a:lnTo>
                  <a:lnTo>
                    <a:pt x="15" y="10110"/>
                  </a:lnTo>
                  <a:lnTo>
                    <a:pt x="23" y="10148"/>
                  </a:lnTo>
                  <a:lnTo>
                    <a:pt x="32" y="10186"/>
                  </a:lnTo>
                  <a:lnTo>
                    <a:pt x="43" y="10223"/>
                  </a:lnTo>
                  <a:lnTo>
                    <a:pt x="56" y="10260"/>
                  </a:lnTo>
                  <a:lnTo>
                    <a:pt x="5323" y="5196"/>
                  </a:lnTo>
                  <a:lnTo>
                    <a:pt x="50" y="675"/>
                  </a:lnTo>
                  <a:close/>
                  <a:moveTo>
                    <a:pt x="15189" y="10920"/>
                  </a:moveTo>
                  <a:lnTo>
                    <a:pt x="15222" y="10919"/>
                  </a:lnTo>
                  <a:lnTo>
                    <a:pt x="15256" y="10917"/>
                  </a:lnTo>
                  <a:lnTo>
                    <a:pt x="15289" y="10913"/>
                  </a:lnTo>
                  <a:lnTo>
                    <a:pt x="15322" y="10909"/>
                  </a:lnTo>
                  <a:lnTo>
                    <a:pt x="15354" y="10903"/>
                  </a:lnTo>
                  <a:lnTo>
                    <a:pt x="15387" y="10896"/>
                  </a:lnTo>
                  <a:lnTo>
                    <a:pt x="15418" y="10888"/>
                  </a:lnTo>
                  <a:lnTo>
                    <a:pt x="15449" y="10880"/>
                  </a:lnTo>
                  <a:lnTo>
                    <a:pt x="10133" y="5765"/>
                  </a:lnTo>
                  <a:lnTo>
                    <a:pt x="8078" y="7440"/>
                  </a:lnTo>
                  <a:lnTo>
                    <a:pt x="6026" y="5768"/>
                  </a:lnTo>
                  <a:lnTo>
                    <a:pt x="707" y="10880"/>
                  </a:lnTo>
                  <a:lnTo>
                    <a:pt x="738" y="10888"/>
                  </a:lnTo>
                  <a:lnTo>
                    <a:pt x="770" y="10896"/>
                  </a:lnTo>
                  <a:lnTo>
                    <a:pt x="802" y="10903"/>
                  </a:lnTo>
                  <a:lnTo>
                    <a:pt x="834" y="10909"/>
                  </a:lnTo>
                  <a:lnTo>
                    <a:pt x="867" y="10913"/>
                  </a:lnTo>
                  <a:lnTo>
                    <a:pt x="901" y="10917"/>
                  </a:lnTo>
                  <a:lnTo>
                    <a:pt x="934" y="10919"/>
                  </a:lnTo>
                  <a:lnTo>
                    <a:pt x="967" y="10920"/>
                  </a:lnTo>
                  <a:lnTo>
                    <a:pt x="15189" y="10920"/>
                  </a:lnTo>
                  <a:close/>
                  <a:moveTo>
                    <a:pt x="8078" y="6283"/>
                  </a:moveTo>
                  <a:lnTo>
                    <a:pt x="9465" y="5153"/>
                  </a:lnTo>
                  <a:lnTo>
                    <a:pt x="10168" y="4580"/>
                  </a:lnTo>
                  <a:lnTo>
                    <a:pt x="15460" y="44"/>
                  </a:lnTo>
                  <a:lnTo>
                    <a:pt x="15428" y="34"/>
                  </a:lnTo>
                  <a:lnTo>
                    <a:pt x="15395" y="26"/>
                  </a:lnTo>
                  <a:lnTo>
                    <a:pt x="15361" y="19"/>
                  </a:lnTo>
                  <a:lnTo>
                    <a:pt x="15327" y="12"/>
                  </a:lnTo>
                  <a:lnTo>
                    <a:pt x="15294" y="7"/>
                  </a:lnTo>
                  <a:lnTo>
                    <a:pt x="15258" y="3"/>
                  </a:lnTo>
                  <a:lnTo>
                    <a:pt x="15224" y="1"/>
                  </a:lnTo>
                  <a:lnTo>
                    <a:pt x="15189" y="0"/>
                  </a:lnTo>
                  <a:lnTo>
                    <a:pt x="967" y="0"/>
                  </a:lnTo>
                  <a:lnTo>
                    <a:pt x="932" y="1"/>
                  </a:lnTo>
                  <a:lnTo>
                    <a:pt x="897" y="3"/>
                  </a:lnTo>
                  <a:lnTo>
                    <a:pt x="862" y="7"/>
                  </a:lnTo>
                  <a:lnTo>
                    <a:pt x="828" y="12"/>
                  </a:lnTo>
                  <a:lnTo>
                    <a:pt x="795" y="19"/>
                  </a:lnTo>
                  <a:lnTo>
                    <a:pt x="761" y="26"/>
                  </a:lnTo>
                  <a:lnTo>
                    <a:pt x="728" y="34"/>
                  </a:lnTo>
                  <a:lnTo>
                    <a:pt x="695" y="44"/>
                  </a:lnTo>
                  <a:lnTo>
                    <a:pt x="5991" y="4582"/>
                  </a:lnTo>
                  <a:lnTo>
                    <a:pt x="6693" y="5155"/>
                  </a:lnTo>
                  <a:lnTo>
                    <a:pt x="8078" y="6283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1" name="Freeform 39"/>
          <p:cNvSpPr>
            <a:spLocks noEditPoints="1"/>
          </p:cNvSpPr>
          <p:nvPr userDrawn="1"/>
        </p:nvSpPr>
        <p:spPr bwMode="auto">
          <a:xfrm>
            <a:off x="8788400" y="6543675"/>
            <a:ext cx="315913" cy="304800"/>
          </a:xfrm>
          <a:custGeom>
            <a:avLst/>
            <a:gdLst>
              <a:gd name="T0" fmla="*/ 2147483646 w 16128"/>
              <a:gd name="T1" fmla="*/ 2147483646 h 16128"/>
              <a:gd name="T2" fmla="*/ 2147483646 w 16128"/>
              <a:gd name="T3" fmla="*/ 2147483646 h 16128"/>
              <a:gd name="T4" fmla="*/ 2147483646 w 16128"/>
              <a:gd name="T5" fmla="*/ 2147483646 h 16128"/>
              <a:gd name="T6" fmla="*/ 2147483646 w 16128"/>
              <a:gd name="T7" fmla="*/ 2147483646 h 16128"/>
              <a:gd name="T8" fmla="*/ 2147483646 w 16128"/>
              <a:gd name="T9" fmla="*/ 2147483646 h 16128"/>
              <a:gd name="T10" fmla="*/ 2147483646 w 16128"/>
              <a:gd name="T11" fmla="*/ 2147483646 h 16128"/>
              <a:gd name="T12" fmla="*/ 2147483646 w 16128"/>
              <a:gd name="T13" fmla="*/ 2147483646 h 16128"/>
              <a:gd name="T14" fmla="*/ 2147483646 w 16128"/>
              <a:gd name="T15" fmla="*/ 2147483646 h 16128"/>
              <a:gd name="T16" fmla="*/ 2147483646 w 16128"/>
              <a:gd name="T17" fmla="*/ 2147483646 h 16128"/>
              <a:gd name="T18" fmla="*/ 2147483646 w 16128"/>
              <a:gd name="T19" fmla="*/ 2147483646 h 16128"/>
              <a:gd name="T20" fmla="*/ 2147483646 w 16128"/>
              <a:gd name="T21" fmla="*/ 2147483646 h 16128"/>
              <a:gd name="T22" fmla="*/ 2147483646 w 16128"/>
              <a:gd name="T23" fmla="*/ 2147483646 h 16128"/>
              <a:gd name="T24" fmla="*/ 2147483646 w 16128"/>
              <a:gd name="T25" fmla="*/ 2147483646 h 16128"/>
              <a:gd name="T26" fmla="*/ 2147483646 w 16128"/>
              <a:gd name="T27" fmla="*/ 2147483646 h 16128"/>
              <a:gd name="T28" fmla="*/ 2147483646 w 16128"/>
              <a:gd name="T29" fmla="*/ 2147483646 h 16128"/>
              <a:gd name="T30" fmla="*/ 2147483646 w 16128"/>
              <a:gd name="T31" fmla="*/ 2147483646 h 16128"/>
              <a:gd name="T32" fmla="*/ 2147483646 w 16128"/>
              <a:gd name="T33" fmla="*/ 2147483646 h 16128"/>
              <a:gd name="T34" fmla="*/ 2147483646 w 16128"/>
              <a:gd name="T35" fmla="*/ 2147483646 h 16128"/>
              <a:gd name="T36" fmla="*/ 2147483646 w 16128"/>
              <a:gd name="T37" fmla="*/ 2147483646 h 16128"/>
              <a:gd name="T38" fmla="*/ 2147483646 w 16128"/>
              <a:gd name="T39" fmla="*/ 2147483646 h 16128"/>
              <a:gd name="T40" fmla="*/ 2147483646 w 16128"/>
              <a:gd name="T41" fmla="*/ 2147483646 h 16128"/>
              <a:gd name="T42" fmla="*/ 2147483646 w 16128"/>
              <a:gd name="T43" fmla="*/ 2147483646 h 16128"/>
              <a:gd name="T44" fmla="*/ 2147483646 w 16128"/>
              <a:gd name="T45" fmla="*/ 2147483646 h 16128"/>
              <a:gd name="T46" fmla="*/ 2147483646 w 16128"/>
              <a:gd name="T47" fmla="*/ 2147483646 h 16128"/>
              <a:gd name="T48" fmla="*/ 2147483646 w 16128"/>
              <a:gd name="T49" fmla="*/ 2147483646 h 16128"/>
              <a:gd name="T50" fmla="*/ 2147483646 w 16128"/>
              <a:gd name="T51" fmla="*/ 2147483646 h 16128"/>
              <a:gd name="T52" fmla="*/ 2147483646 w 16128"/>
              <a:gd name="T53" fmla="*/ 2147483646 h 16128"/>
              <a:gd name="T54" fmla="*/ 2147483646 w 16128"/>
              <a:gd name="T55" fmla="*/ 2147483646 h 16128"/>
              <a:gd name="T56" fmla="*/ 2147483646 w 16128"/>
              <a:gd name="T57" fmla="*/ 2147483646 h 16128"/>
              <a:gd name="T58" fmla="*/ 2147483646 w 16128"/>
              <a:gd name="T59" fmla="*/ 2147483646 h 16128"/>
              <a:gd name="T60" fmla="*/ 2147483646 w 16128"/>
              <a:gd name="T61" fmla="*/ 2147483646 h 16128"/>
              <a:gd name="T62" fmla="*/ 2147483646 w 16128"/>
              <a:gd name="T63" fmla="*/ 2147483646 h 16128"/>
              <a:gd name="T64" fmla="*/ 2147483646 w 16128"/>
              <a:gd name="T65" fmla="*/ 2147483646 h 16128"/>
              <a:gd name="T66" fmla="*/ 2147483646 w 16128"/>
              <a:gd name="T67" fmla="*/ 2147483646 h 16128"/>
              <a:gd name="T68" fmla="*/ 2147483646 w 16128"/>
              <a:gd name="T69" fmla="*/ 2147483646 h 16128"/>
              <a:gd name="T70" fmla="*/ 2147483646 w 16128"/>
              <a:gd name="T71" fmla="*/ 2147483646 h 16128"/>
              <a:gd name="T72" fmla="*/ 2147483646 w 16128"/>
              <a:gd name="T73" fmla="*/ 2147483646 h 16128"/>
              <a:gd name="T74" fmla="*/ 2147483646 w 16128"/>
              <a:gd name="T75" fmla="*/ 2147483646 h 16128"/>
              <a:gd name="T76" fmla="*/ 2147483646 w 16128"/>
              <a:gd name="T77" fmla="*/ 2147483646 h 16128"/>
              <a:gd name="T78" fmla="*/ 2147483646 w 16128"/>
              <a:gd name="T79" fmla="*/ 2147483646 h 16128"/>
              <a:gd name="T80" fmla="*/ 2147483646 w 16128"/>
              <a:gd name="T81" fmla="*/ 2147483646 h 16128"/>
              <a:gd name="T82" fmla="*/ 2147483646 w 16128"/>
              <a:gd name="T83" fmla="*/ 2147483646 h 16128"/>
              <a:gd name="T84" fmla="*/ 2147483646 w 16128"/>
              <a:gd name="T85" fmla="*/ 2147483646 h 16128"/>
              <a:gd name="T86" fmla="*/ 2147483646 w 16128"/>
              <a:gd name="T87" fmla="*/ 2147483646 h 16128"/>
              <a:gd name="T88" fmla="*/ 2147483646 w 16128"/>
              <a:gd name="T89" fmla="*/ 2147483646 h 16128"/>
              <a:gd name="T90" fmla="*/ 2147483646 w 16128"/>
              <a:gd name="T91" fmla="*/ 2147483646 h 16128"/>
              <a:gd name="T92" fmla="*/ 2147483646 w 16128"/>
              <a:gd name="T93" fmla="*/ 2147483646 h 16128"/>
              <a:gd name="T94" fmla="*/ 2147483646 w 16128"/>
              <a:gd name="T95" fmla="*/ 2147483646 h 16128"/>
              <a:gd name="T96" fmla="*/ 2147483646 w 16128"/>
              <a:gd name="T97" fmla="*/ 2147483646 h 16128"/>
              <a:gd name="T98" fmla="*/ 2147483646 w 16128"/>
              <a:gd name="T99" fmla="*/ 2147483646 h 16128"/>
              <a:gd name="T100" fmla="*/ 2147483646 w 16128"/>
              <a:gd name="T101" fmla="*/ 2147483646 h 16128"/>
              <a:gd name="T102" fmla="*/ 2147483646 w 16128"/>
              <a:gd name="T103" fmla="*/ 2147483646 h 16128"/>
              <a:gd name="T104" fmla="*/ 2147483646 w 16128"/>
              <a:gd name="T105" fmla="*/ 2147483646 h 16128"/>
              <a:gd name="T106" fmla="*/ 2147483646 w 16128"/>
              <a:gd name="T107" fmla="*/ 2147483646 h 16128"/>
              <a:gd name="T108" fmla="*/ 2147483646 w 16128"/>
              <a:gd name="T109" fmla="*/ 2147483646 h 16128"/>
              <a:gd name="T110" fmla="*/ 2147483646 w 16128"/>
              <a:gd name="T111" fmla="*/ 2147483646 h 16128"/>
              <a:gd name="T112" fmla="*/ 2147483646 w 16128"/>
              <a:gd name="T113" fmla="*/ 2147483646 h 16128"/>
              <a:gd name="T114" fmla="*/ 2147483646 w 16128"/>
              <a:gd name="T115" fmla="*/ 2147483646 h 16128"/>
              <a:gd name="T116" fmla="*/ 2147483646 w 16128"/>
              <a:gd name="T117" fmla="*/ 2147483646 h 16128"/>
              <a:gd name="T118" fmla="*/ 2147483646 w 16128"/>
              <a:gd name="T119" fmla="*/ 2147483646 h 16128"/>
              <a:gd name="T120" fmla="*/ 2147483646 w 16128"/>
              <a:gd name="T121" fmla="*/ 2147483646 h 16128"/>
              <a:gd name="T122" fmla="*/ 2147483646 w 16128"/>
              <a:gd name="T123" fmla="*/ 2147483646 h 16128"/>
              <a:gd name="T124" fmla="*/ 2147483646 w 16128"/>
              <a:gd name="T125" fmla="*/ 2147483646 h 1612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128" h="16128">
                <a:moveTo>
                  <a:pt x="8064" y="0"/>
                </a:moveTo>
                <a:lnTo>
                  <a:pt x="7649" y="10"/>
                </a:lnTo>
                <a:lnTo>
                  <a:pt x="7239" y="41"/>
                </a:lnTo>
                <a:lnTo>
                  <a:pt x="6836" y="93"/>
                </a:lnTo>
                <a:lnTo>
                  <a:pt x="6439" y="164"/>
                </a:lnTo>
                <a:lnTo>
                  <a:pt x="6049" y="254"/>
                </a:lnTo>
                <a:lnTo>
                  <a:pt x="5666" y="363"/>
                </a:lnTo>
                <a:lnTo>
                  <a:pt x="5291" y="489"/>
                </a:lnTo>
                <a:lnTo>
                  <a:pt x="4925" y="634"/>
                </a:lnTo>
                <a:lnTo>
                  <a:pt x="4568" y="795"/>
                </a:lnTo>
                <a:lnTo>
                  <a:pt x="4220" y="974"/>
                </a:lnTo>
                <a:lnTo>
                  <a:pt x="3883" y="1167"/>
                </a:lnTo>
                <a:lnTo>
                  <a:pt x="3555" y="1377"/>
                </a:lnTo>
                <a:lnTo>
                  <a:pt x="3239" y="1602"/>
                </a:lnTo>
                <a:lnTo>
                  <a:pt x="2934" y="1842"/>
                </a:lnTo>
                <a:lnTo>
                  <a:pt x="2642" y="2095"/>
                </a:lnTo>
                <a:lnTo>
                  <a:pt x="2362" y="2362"/>
                </a:lnTo>
                <a:lnTo>
                  <a:pt x="2095" y="2642"/>
                </a:lnTo>
                <a:lnTo>
                  <a:pt x="1842" y="2934"/>
                </a:lnTo>
                <a:lnTo>
                  <a:pt x="1602" y="3239"/>
                </a:lnTo>
                <a:lnTo>
                  <a:pt x="1377" y="3555"/>
                </a:lnTo>
                <a:lnTo>
                  <a:pt x="1167" y="3883"/>
                </a:lnTo>
                <a:lnTo>
                  <a:pt x="974" y="4220"/>
                </a:lnTo>
                <a:lnTo>
                  <a:pt x="795" y="4568"/>
                </a:lnTo>
                <a:lnTo>
                  <a:pt x="634" y="4925"/>
                </a:lnTo>
                <a:lnTo>
                  <a:pt x="489" y="5291"/>
                </a:lnTo>
                <a:lnTo>
                  <a:pt x="363" y="5666"/>
                </a:lnTo>
                <a:lnTo>
                  <a:pt x="254" y="6049"/>
                </a:lnTo>
                <a:lnTo>
                  <a:pt x="164" y="6439"/>
                </a:lnTo>
                <a:lnTo>
                  <a:pt x="93" y="6836"/>
                </a:lnTo>
                <a:lnTo>
                  <a:pt x="41" y="7239"/>
                </a:lnTo>
                <a:lnTo>
                  <a:pt x="10" y="7649"/>
                </a:lnTo>
                <a:lnTo>
                  <a:pt x="0" y="8064"/>
                </a:lnTo>
                <a:lnTo>
                  <a:pt x="10" y="8479"/>
                </a:lnTo>
                <a:lnTo>
                  <a:pt x="41" y="8889"/>
                </a:lnTo>
                <a:lnTo>
                  <a:pt x="93" y="9292"/>
                </a:lnTo>
                <a:lnTo>
                  <a:pt x="164" y="9689"/>
                </a:lnTo>
                <a:lnTo>
                  <a:pt x="254" y="10079"/>
                </a:lnTo>
                <a:lnTo>
                  <a:pt x="363" y="10462"/>
                </a:lnTo>
                <a:lnTo>
                  <a:pt x="489" y="10837"/>
                </a:lnTo>
                <a:lnTo>
                  <a:pt x="634" y="11203"/>
                </a:lnTo>
                <a:lnTo>
                  <a:pt x="795" y="11560"/>
                </a:lnTo>
                <a:lnTo>
                  <a:pt x="974" y="11908"/>
                </a:lnTo>
                <a:lnTo>
                  <a:pt x="1167" y="12245"/>
                </a:lnTo>
                <a:lnTo>
                  <a:pt x="1377" y="12573"/>
                </a:lnTo>
                <a:lnTo>
                  <a:pt x="1602" y="12888"/>
                </a:lnTo>
                <a:lnTo>
                  <a:pt x="1842" y="13194"/>
                </a:lnTo>
                <a:lnTo>
                  <a:pt x="2095" y="13486"/>
                </a:lnTo>
                <a:lnTo>
                  <a:pt x="2362" y="13766"/>
                </a:lnTo>
                <a:lnTo>
                  <a:pt x="2642" y="14033"/>
                </a:lnTo>
                <a:lnTo>
                  <a:pt x="2934" y="14286"/>
                </a:lnTo>
                <a:lnTo>
                  <a:pt x="3239" y="14526"/>
                </a:lnTo>
                <a:lnTo>
                  <a:pt x="3555" y="14751"/>
                </a:lnTo>
                <a:lnTo>
                  <a:pt x="3883" y="14961"/>
                </a:lnTo>
                <a:lnTo>
                  <a:pt x="4220" y="15154"/>
                </a:lnTo>
                <a:lnTo>
                  <a:pt x="4568" y="15333"/>
                </a:lnTo>
                <a:lnTo>
                  <a:pt x="4925" y="15494"/>
                </a:lnTo>
                <a:lnTo>
                  <a:pt x="5291" y="15639"/>
                </a:lnTo>
                <a:lnTo>
                  <a:pt x="5666" y="15765"/>
                </a:lnTo>
                <a:lnTo>
                  <a:pt x="6049" y="15874"/>
                </a:lnTo>
                <a:lnTo>
                  <a:pt x="6439" y="15964"/>
                </a:lnTo>
                <a:lnTo>
                  <a:pt x="6836" y="16035"/>
                </a:lnTo>
                <a:lnTo>
                  <a:pt x="7239" y="16087"/>
                </a:lnTo>
                <a:lnTo>
                  <a:pt x="7649" y="16118"/>
                </a:lnTo>
                <a:lnTo>
                  <a:pt x="8064" y="16128"/>
                </a:lnTo>
                <a:lnTo>
                  <a:pt x="8479" y="16118"/>
                </a:lnTo>
                <a:lnTo>
                  <a:pt x="8889" y="16087"/>
                </a:lnTo>
                <a:lnTo>
                  <a:pt x="9292" y="16035"/>
                </a:lnTo>
                <a:lnTo>
                  <a:pt x="9689" y="15964"/>
                </a:lnTo>
                <a:lnTo>
                  <a:pt x="10079" y="15874"/>
                </a:lnTo>
                <a:lnTo>
                  <a:pt x="10462" y="15765"/>
                </a:lnTo>
                <a:lnTo>
                  <a:pt x="10837" y="15639"/>
                </a:lnTo>
                <a:lnTo>
                  <a:pt x="11203" y="15494"/>
                </a:lnTo>
                <a:lnTo>
                  <a:pt x="11560" y="15333"/>
                </a:lnTo>
                <a:lnTo>
                  <a:pt x="11908" y="15154"/>
                </a:lnTo>
                <a:lnTo>
                  <a:pt x="12245" y="14961"/>
                </a:lnTo>
                <a:lnTo>
                  <a:pt x="12573" y="14751"/>
                </a:lnTo>
                <a:lnTo>
                  <a:pt x="12889" y="14526"/>
                </a:lnTo>
                <a:lnTo>
                  <a:pt x="13194" y="14286"/>
                </a:lnTo>
                <a:lnTo>
                  <a:pt x="13486" y="14033"/>
                </a:lnTo>
                <a:lnTo>
                  <a:pt x="13766" y="13766"/>
                </a:lnTo>
                <a:lnTo>
                  <a:pt x="14033" y="13486"/>
                </a:lnTo>
                <a:lnTo>
                  <a:pt x="14286" y="13194"/>
                </a:lnTo>
                <a:lnTo>
                  <a:pt x="14526" y="12888"/>
                </a:lnTo>
                <a:lnTo>
                  <a:pt x="14751" y="12573"/>
                </a:lnTo>
                <a:lnTo>
                  <a:pt x="14961" y="12245"/>
                </a:lnTo>
                <a:lnTo>
                  <a:pt x="15154" y="11908"/>
                </a:lnTo>
                <a:lnTo>
                  <a:pt x="15333" y="11560"/>
                </a:lnTo>
                <a:lnTo>
                  <a:pt x="15494" y="11203"/>
                </a:lnTo>
                <a:lnTo>
                  <a:pt x="15639" y="10837"/>
                </a:lnTo>
                <a:lnTo>
                  <a:pt x="15765" y="10462"/>
                </a:lnTo>
                <a:lnTo>
                  <a:pt x="15874" y="10079"/>
                </a:lnTo>
                <a:lnTo>
                  <a:pt x="15964" y="9689"/>
                </a:lnTo>
                <a:lnTo>
                  <a:pt x="16035" y="9292"/>
                </a:lnTo>
                <a:lnTo>
                  <a:pt x="16087" y="8889"/>
                </a:lnTo>
                <a:lnTo>
                  <a:pt x="16118" y="8479"/>
                </a:lnTo>
                <a:lnTo>
                  <a:pt x="16128" y="8064"/>
                </a:lnTo>
                <a:lnTo>
                  <a:pt x="16118" y="7649"/>
                </a:lnTo>
                <a:lnTo>
                  <a:pt x="16087" y="7239"/>
                </a:lnTo>
                <a:lnTo>
                  <a:pt x="16035" y="6836"/>
                </a:lnTo>
                <a:lnTo>
                  <a:pt x="15964" y="6439"/>
                </a:lnTo>
                <a:lnTo>
                  <a:pt x="15874" y="6049"/>
                </a:lnTo>
                <a:lnTo>
                  <a:pt x="15765" y="5666"/>
                </a:lnTo>
                <a:lnTo>
                  <a:pt x="15639" y="5291"/>
                </a:lnTo>
                <a:lnTo>
                  <a:pt x="15494" y="4925"/>
                </a:lnTo>
                <a:lnTo>
                  <a:pt x="15333" y="4568"/>
                </a:lnTo>
                <a:lnTo>
                  <a:pt x="15154" y="4220"/>
                </a:lnTo>
                <a:lnTo>
                  <a:pt x="14961" y="3883"/>
                </a:lnTo>
                <a:lnTo>
                  <a:pt x="14751" y="3555"/>
                </a:lnTo>
                <a:lnTo>
                  <a:pt x="14526" y="3239"/>
                </a:lnTo>
                <a:lnTo>
                  <a:pt x="14286" y="2934"/>
                </a:lnTo>
                <a:lnTo>
                  <a:pt x="14033" y="2642"/>
                </a:lnTo>
                <a:lnTo>
                  <a:pt x="13766" y="2362"/>
                </a:lnTo>
                <a:lnTo>
                  <a:pt x="13486" y="2095"/>
                </a:lnTo>
                <a:lnTo>
                  <a:pt x="13194" y="1842"/>
                </a:lnTo>
                <a:lnTo>
                  <a:pt x="12889" y="1602"/>
                </a:lnTo>
                <a:lnTo>
                  <a:pt x="12573" y="1377"/>
                </a:lnTo>
                <a:lnTo>
                  <a:pt x="12245" y="1167"/>
                </a:lnTo>
                <a:lnTo>
                  <a:pt x="11908" y="974"/>
                </a:lnTo>
                <a:lnTo>
                  <a:pt x="11560" y="795"/>
                </a:lnTo>
                <a:lnTo>
                  <a:pt x="11203" y="634"/>
                </a:lnTo>
                <a:lnTo>
                  <a:pt x="10837" y="489"/>
                </a:lnTo>
                <a:lnTo>
                  <a:pt x="10462" y="363"/>
                </a:lnTo>
                <a:lnTo>
                  <a:pt x="10079" y="254"/>
                </a:lnTo>
                <a:lnTo>
                  <a:pt x="9689" y="164"/>
                </a:lnTo>
                <a:lnTo>
                  <a:pt x="9292" y="93"/>
                </a:lnTo>
                <a:lnTo>
                  <a:pt x="8889" y="41"/>
                </a:lnTo>
                <a:lnTo>
                  <a:pt x="8479" y="10"/>
                </a:lnTo>
                <a:lnTo>
                  <a:pt x="8064" y="0"/>
                </a:lnTo>
                <a:close/>
                <a:moveTo>
                  <a:pt x="9888" y="5193"/>
                </a:moveTo>
                <a:lnTo>
                  <a:pt x="9879" y="5196"/>
                </a:lnTo>
                <a:lnTo>
                  <a:pt x="9872" y="5197"/>
                </a:lnTo>
                <a:lnTo>
                  <a:pt x="9865" y="5198"/>
                </a:lnTo>
                <a:lnTo>
                  <a:pt x="9859" y="5198"/>
                </a:lnTo>
                <a:lnTo>
                  <a:pt x="9854" y="5198"/>
                </a:lnTo>
                <a:lnTo>
                  <a:pt x="9850" y="5197"/>
                </a:lnTo>
                <a:lnTo>
                  <a:pt x="9847" y="5195"/>
                </a:lnTo>
                <a:lnTo>
                  <a:pt x="9844" y="5193"/>
                </a:lnTo>
                <a:lnTo>
                  <a:pt x="9842" y="5190"/>
                </a:lnTo>
                <a:lnTo>
                  <a:pt x="9840" y="5187"/>
                </a:lnTo>
                <a:lnTo>
                  <a:pt x="9839" y="5183"/>
                </a:lnTo>
                <a:lnTo>
                  <a:pt x="9839" y="5179"/>
                </a:lnTo>
                <a:lnTo>
                  <a:pt x="9839" y="5170"/>
                </a:lnTo>
                <a:lnTo>
                  <a:pt x="9841" y="5159"/>
                </a:lnTo>
                <a:lnTo>
                  <a:pt x="9848" y="5136"/>
                </a:lnTo>
                <a:lnTo>
                  <a:pt x="9857" y="5111"/>
                </a:lnTo>
                <a:lnTo>
                  <a:pt x="9861" y="5097"/>
                </a:lnTo>
                <a:lnTo>
                  <a:pt x="9865" y="5085"/>
                </a:lnTo>
                <a:lnTo>
                  <a:pt x="9867" y="5073"/>
                </a:lnTo>
                <a:lnTo>
                  <a:pt x="9868" y="5063"/>
                </a:lnTo>
                <a:lnTo>
                  <a:pt x="9881" y="5063"/>
                </a:lnTo>
                <a:lnTo>
                  <a:pt x="9906" y="5064"/>
                </a:lnTo>
                <a:lnTo>
                  <a:pt x="9937" y="5064"/>
                </a:lnTo>
                <a:lnTo>
                  <a:pt x="9967" y="5063"/>
                </a:lnTo>
                <a:lnTo>
                  <a:pt x="9980" y="5061"/>
                </a:lnTo>
                <a:lnTo>
                  <a:pt x="9991" y="5060"/>
                </a:lnTo>
                <a:lnTo>
                  <a:pt x="9995" y="5058"/>
                </a:lnTo>
                <a:lnTo>
                  <a:pt x="9999" y="5057"/>
                </a:lnTo>
                <a:lnTo>
                  <a:pt x="10001" y="5056"/>
                </a:lnTo>
                <a:lnTo>
                  <a:pt x="10003" y="5054"/>
                </a:lnTo>
                <a:lnTo>
                  <a:pt x="10003" y="5052"/>
                </a:lnTo>
                <a:lnTo>
                  <a:pt x="10002" y="5050"/>
                </a:lnTo>
                <a:lnTo>
                  <a:pt x="9999" y="5047"/>
                </a:lnTo>
                <a:lnTo>
                  <a:pt x="9996" y="5045"/>
                </a:lnTo>
                <a:lnTo>
                  <a:pt x="9983" y="5039"/>
                </a:lnTo>
                <a:lnTo>
                  <a:pt x="9964" y="5032"/>
                </a:lnTo>
                <a:lnTo>
                  <a:pt x="9962" y="5011"/>
                </a:lnTo>
                <a:lnTo>
                  <a:pt x="9960" y="4993"/>
                </a:lnTo>
                <a:lnTo>
                  <a:pt x="9958" y="4975"/>
                </a:lnTo>
                <a:lnTo>
                  <a:pt x="9954" y="4960"/>
                </a:lnTo>
                <a:lnTo>
                  <a:pt x="9950" y="4946"/>
                </a:lnTo>
                <a:lnTo>
                  <a:pt x="9945" y="4934"/>
                </a:lnTo>
                <a:lnTo>
                  <a:pt x="9939" y="4924"/>
                </a:lnTo>
                <a:lnTo>
                  <a:pt x="9932" y="4915"/>
                </a:lnTo>
                <a:lnTo>
                  <a:pt x="9924" y="4907"/>
                </a:lnTo>
                <a:lnTo>
                  <a:pt x="9915" y="4900"/>
                </a:lnTo>
                <a:lnTo>
                  <a:pt x="9904" y="4895"/>
                </a:lnTo>
                <a:lnTo>
                  <a:pt x="9892" y="4891"/>
                </a:lnTo>
                <a:lnTo>
                  <a:pt x="9877" y="4887"/>
                </a:lnTo>
                <a:lnTo>
                  <a:pt x="9862" y="4885"/>
                </a:lnTo>
                <a:lnTo>
                  <a:pt x="9845" y="4884"/>
                </a:lnTo>
                <a:lnTo>
                  <a:pt x="9826" y="4883"/>
                </a:lnTo>
                <a:lnTo>
                  <a:pt x="9826" y="4870"/>
                </a:lnTo>
                <a:lnTo>
                  <a:pt x="9825" y="4858"/>
                </a:lnTo>
                <a:lnTo>
                  <a:pt x="9824" y="4847"/>
                </a:lnTo>
                <a:lnTo>
                  <a:pt x="9822" y="4837"/>
                </a:lnTo>
                <a:lnTo>
                  <a:pt x="9817" y="4821"/>
                </a:lnTo>
                <a:lnTo>
                  <a:pt x="9811" y="4807"/>
                </a:lnTo>
                <a:lnTo>
                  <a:pt x="9805" y="4793"/>
                </a:lnTo>
                <a:lnTo>
                  <a:pt x="9798" y="4776"/>
                </a:lnTo>
                <a:lnTo>
                  <a:pt x="9795" y="4766"/>
                </a:lnTo>
                <a:lnTo>
                  <a:pt x="9792" y="4754"/>
                </a:lnTo>
                <a:lnTo>
                  <a:pt x="9789" y="4741"/>
                </a:lnTo>
                <a:lnTo>
                  <a:pt x="9787" y="4727"/>
                </a:lnTo>
                <a:lnTo>
                  <a:pt x="9785" y="4715"/>
                </a:lnTo>
                <a:lnTo>
                  <a:pt x="9785" y="4705"/>
                </a:lnTo>
                <a:lnTo>
                  <a:pt x="9785" y="4697"/>
                </a:lnTo>
                <a:lnTo>
                  <a:pt x="9786" y="4690"/>
                </a:lnTo>
                <a:lnTo>
                  <a:pt x="9787" y="4684"/>
                </a:lnTo>
                <a:lnTo>
                  <a:pt x="9789" y="4679"/>
                </a:lnTo>
                <a:lnTo>
                  <a:pt x="9792" y="4675"/>
                </a:lnTo>
                <a:lnTo>
                  <a:pt x="9795" y="4672"/>
                </a:lnTo>
                <a:lnTo>
                  <a:pt x="9798" y="4670"/>
                </a:lnTo>
                <a:lnTo>
                  <a:pt x="9802" y="4668"/>
                </a:lnTo>
                <a:lnTo>
                  <a:pt x="9807" y="4667"/>
                </a:lnTo>
                <a:lnTo>
                  <a:pt x="9811" y="4666"/>
                </a:lnTo>
                <a:lnTo>
                  <a:pt x="9822" y="4666"/>
                </a:lnTo>
                <a:lnTo>
                  <a:pt x="9833" y="4666"/>
                </a:lnTo>
                <a:lnTo>
                  <a:pt x="9845" y="4666"/>
                </a:lnTo>
                <a:lnTo>
                  <a:pt x="9857" y="4665"/>
                </a:lnTo>
                <a:lnTo>
                  <a:pt x="9864" y="4664"/>
                </a:lnTo>
                <a:lnTo>
                  <a:pt x="9870" y="4663"/>
                </a:lnTo>
                <a:lnTo>
                  <a:pt x="9876" y="4661"/>
                </a:lnTo>
                <a:lnTo>
                  <a:pt x="9882" y="4658"/>
                </a:lnTo>
                <a:lnTo>
                  <a:pt x="9888" y="4654"/>
                </a:lnTo>
                <a:lnTo>
                  <a:pt x="9894" y="4650"/>
                </a:lnTo>
                <a:lnTo>
                  <a:pt x="9900" y="4644"/>
                </a:lnTo>
                <a:lnTo>
                  <a:pt x="9905" y="4638"/>
                </a:lnTo>
                <a:lnTo>
                  <a:pt x="9910" y="4630"/>
                </a:lnTo>
                <a:lnTo>
                  <a:pt x="9914" y="4621"/>
                </a:lnTo>
                <a:lnTo>
                  <a:pt x="9918" y="4610"/>
                </a:lnTo>
                <a:lnTo>
                  <a:pt x="9922" y="4597"/>
                </a:lnTo>
                <a:lnTo>
                  <a:pt x="9936" y="4598"/>
                </a:lnTo>
                <a:lnTo>
                  <a:pt x="9947" y="4601"/>
                </a:lnTo>
                <a:lnTo>
                  <a:pt x="9951" y="4602"/>
                </a:lnTo>
                <a:lnTo>
                  <a:pt x="9954" y="4604"/>
                </a:lnTo>
                <a:lnTo>
                  <a:pt x="9957" y="4606"/>
                </a:lnTo>
                <a:lnTo>
                  <a:pt x="9959" y="4608"/>
                </a:lnTo>
                <a:lnTo>
                  <a:pt x="9961" y="4610"/>
                </a:lnTo>
                <a:lnTo>
                  <a:pt x="9961" y="4613"/>
                </a:lnTo>
                <a:lnTo>
                  <a:pt x="9962" y="4615"/>
                </a:lnTo>
                <a:lnTo>
                  <a:pt x="9962" y="4618"/>
                </a:lnTo>
                <a:lnTo>
                  <a:pt x="9960" y="4624"/>
                </a:lnTo>
                <a:lnTo>
                  <a:pt x="9957" y="4630"/>
                </a:lnTo>
                <a:lnTo>
                  <a:pt x="9952" y="4636"/>
                </a:lnTo>
                <a:lnTo>
                  <a:pt x="9947" y="4641"/>
                </a:lnTo>
                <a:lnTo>
                  <a:pt x="9941" y="4647"/>
                </a:lnTo>
                <a:lnTo>
                  <a:pt x="9935" y="4651"/>
                </a:lnTo>
                <a:lnTo>
                  <a:pt x="9929" y="4655"/>
                </a:lnTo>
                <a:lnTo>
                  <a:pt x="9923" y="4659"/>
                </a:lnTo>
                <a:lnTo>
                  <a:pt x="9918" y="4661"/>
                </a:lnTo>
                <a:lnTo>
                  <a:pt x="9914" y="4661"/>
                </a:lnTo>
                <a:lnTo>
                  <a:pt x="9916" y="4663"/>
                </a:lnTo>
                <a:lnTo>
                  <a:pt x="9918" y="4666"/>
                </a:lnTo>
                <a:lnTo>
                  <a:pt x="9919" y="4669"/>
                </a:lnTo>
                <a:lnTo>
                  <a:pt x="9920" y="4673"/>
                </a:lnTo>
                <a:lnTo>
                  <a:pt x="9919" y="4683"/>
                </a:lnTo>
                <a:lnTo>
                  <a:pt x="9918" y="4694"/>
                </a:lnTo>
                <a:lnTo>
                  <a:pt x="9914" y="4717"/>
                </a:lnTo>
                <a:lnTo>
                  <a:pt x="9911" y="4736"/>
                </a:lnTo>
                <a:lnTo>
                  <a:pt x="9925" y="4735"/>
                </a:lnTo>
                <a:lnTo>
                  <a:pt x="9937" y="4733"/>
                </a:lnTo>
                <a:lnTo>
                  <a:pt x="9948" y="4731"/>
                </a:lnTo>
                <a:lnTo>
                  <a:pt x="9958" y="4727"/>
                </a:lnTo>
                <a:lnTo>
                  <a:pt x="9966" y="4723"/>
                </a:lnTo>
                <a:lnTo>
                  <a:pt x="9974" y="4718"/>
                </a:lnTo>
                <a:lnTo>
                  <a:pt x="9981" y="4713"/>
                </a:lnTo>
                <a:lnTo>
                  <a:pt x="9988" y="4708"/>
                </a:lnTo>
                <a:lnTo>
                  <a:pt x="10000" y="4698"/>
                </a:lnTo>
                <a:lnTo>
                  <a:pt x="10014" y="4687"/>
                </a:lnTo>
                <a:lnTo>
                  <a:pt x="10022" y="4683"/>
                </a:lnTo>
                <a:lnTo>
                  <a:pt x="10030" y="4678"/>
                </a:lnTo>
                <a:lnTo>
                  <a:pt x="10039" y="4675"/>
                </a:lnTo>
                <a:lnTo>
                  <a:pt x="10049" y="4672"/>
                </a:lnTo>
                <a:lnTo>
                  <a:pt x="10046" y="4684"/>
                </a:lnTo>
                <a:lnTo>
                  <a:pt x="10042" y="4696"/>
                </a:lnTo>
                <a:lnTo>
                  <a:pt x="10036" y="4706"/>
                </a:lnTo>
                <a:lnTo>
                  <a:pt x="10031" y="4715"/>
                </a:lnTo>
                <a:lnTo>
                  <a:pt x="10019" y="4733"/>
                </a:lnTo>
                <a:lnTo>
                  <a:pt x="10008" y="4749"/>
                </a:lnTo>
                <a:lnTo>
                  <a:pt x="10004" y="4756"/>
                </a:lnTo>
                <a:lnTo>
                  <a:pt x="10002" y="4764"/>
                </a:lnTo>
                <a:lnTo>
                  <a:pt x="10001" y="4771"/>
                </a:lnTo>
                <a:lnTo>
                  <a:pt x="10002" y="4779"/>
                </a:lnTo>
                <a:lnTo>
                  <a:pt x="10006" y="4788"/>
                </a:lnTo>
                <a:lnTo>
                  <a:pt x="10012" y="4797"/>
                </a:lnTo>
                <a:lnTo>
                  <a:pt x="10022" y="4806"/>
                </a:lnTo>
                <a:lnTo>
                  <a:pt x="10035" y="4817"/>
                </a:lnTo>
                <a:lnTo>
                  <a:pt x="10050" y="4829"/>
                </a:lnTo>
                <a:lnTo>
                  <a:pt x="10065" y="4842"/>
                </a:lnTo>
                <a:lnTo>
                  <a:pt x="10078" y="4857"/>
                </a:lnTo>
                <a:lnTo>
                  <a:pt x="10089" y="4871"/>
                </a:lnTo>
                <a:lnTo>
                  <a:pt x="10094" y="4878"/>
                </a:lnTo>
                <a:lnTo>
                  <a:pt x="10098" y="4886"/>
                </a:lnTo>
                <a:lnTo>
                  <a:pt x="10101" y="4894"/>
                </a:lnTo>
                <a:lnTo>
                  <a:pt x="10103" y="4902"/>
                </a:lnTo>
                <a:lnTo>
                  <a:pt x="10105" y="4910"/>
                </a:lnTo>
                <a:lnTo>
                  <a:pt x="10105" y="4919"/>
                </a:lnTo>
                <a:lnTo>
                  <a:pt x="10104" y="4927"/>
                </a:lnTo>
                <a:lnTo>
                  <a:pt x="10101" y="4936"/>
                </a:lnTo>
                <a:lnTo>
                  <a:pt x="10110" y="4936"/>
                </a:lnTo>
                <a:lnTo>
                  <a:pt x="10119" y="4937"/>
                </a:lnTo>
                <a:lnTo>
                  <a:pt x="10127" y="4939"/>
                </a:lnTo>
                <a:lnTo>
                  <a:pt x="10135" y="4941"/>
                </a:lnTo>
                <a:lnTo>
                  <a:pt x="10142" y="4943"/>
                </a:lnTo>
                <a:lnTo>
                  <a:pt x="10150" y="4946"/>
                </a:lnTo>
                <a:lnTo>
                  <a:pt x="10156" y="4949"/>
                </a:lnTo>
                <a:lnTo>
                  <a:pt x="10162" y="4953"/>
                </a:lnTo>
                <a:lnTo>
                  <a:pt x="10168" y="4957"/>
                </a:lnTo>
                <a:lnTo>
                  <a:pt x="10173" y="4962"/>
                </a:lnTo>
                <a:lnTo>
                  <a:pt x="10177" y="4967"/>
                </a:lnTo>
                <a:lnTo>
                  <a:pt x="10182" y="4973"/>
                </a:lnTo>
                <a:lnTo>
                  <a:pt x="10189" y="4986"/>
                </a:lnTo>
                <a:lnTo>
                  <a:pt x="10195" y="5000"/>
                </a:lnTo>
                <a:lnTo>
                  <a:pt x="10199" y="5015"/>
                </a:lnTo>
                <a:lnTo>
                  <a:pt x="10202" y="5031"/>
                </a:lnTo>
                <a:lnTo>
                  <a:pt x="10204" y="5048"/>
                </a:lnTo>
                <a:lnTo>
                  <a:pt x="10205" y="5067"/>
                </a:lnTo>
                <a:lnTo>
                  <a:pt x="10204" y="5086"/>
                </a:lnTo>
                <a:lnTo>
                  <a:pt x="10202" y="5107"/>
                </a:lnTo>
                <a:lnTo>
                  <a:pt x="10200" y="5127"/>
                </a:lnTo>
                <a:lnTo>
                  <a:pt x="10197" y="5148"/>
                </a:lnTo>
                <a:lnTo>
                  <a:pt x="10215" y="5148"/>
                </a:lnTo>
                <a:lnTo>
                  <a:pt x="10228" y="5148"/>
                </a:lnTo>
                <a:lnTo>
                  <a:pt x="10233" y="5147"/>
                </a:lnTo>
                <a:lnTo>
                  <a:pt x="10238" y="5146"/>
                </a:lnTo>
                <a:lnTo>
                  <a:pt x="10241" y="5145"/>
                </a:lnTo>
                <a:lnTo>
                  <a:pt x="10244" y="5143"/>
                </a:lnTo>
                <a:lnTo>
                  <a:pt x="10246" y="5140"/>
                </a:lnTo>
                <a:lnTo>
                  <a:pt x="10247" y="5137"/>
                </a:lnTo>
                <a:lnTo>
                  <a:pt x="10248" y="5132"/>
                </a:lnTo>
                <a:lnTo>
                  <a:pt x="10249" y="5127"/>
                </a:lnTo>
                <a:lnTo>
                  <a:pt x="10249" y="5114"/>
                </a:lnTo>
                <a:lnTo>
                  <a:pt x="10249" y="5095"/>
                </a:lnTo>
                <a:lnTo>
                  <a:pt x="10259" y="5098"/>
                </a:lnTo>
                <a:lnTo>
                  <a:pt x="10267" y="5102"/>
                </a:lnTo>
                <a:lnTo>
                  <a:pt x="10275" y="5107"/>
                </a:lnTo>
                <a:lnTo>
                  <a:pt x="10280" y="5112"/>
                </a:lnTo>
                <a:lnTo>
                  <a:pt x="10284" y="5117"/>
                </a:lnTo>
                <a:lnTo>
                  <a:pt x="10287" y="5122"/>
                </a:lnTo>
                <a:lnTo>
                  <a:pt x="10289" y="5127"/>
                </a:lnTo>
                <a:lnTo>
                  <a:pt x="10289" y="5133"/>
                </a:lnTo>
                <a:lnTo>
                  <a:pt x="10289" y="5138"/>
                </a:lnTo>
                <a:lnTo>
                  <a:pt x="10287" y="5143"/>
                </a:lnTo>
                <a:lnTo>
                  <a:pt x="10283" y="5147"/>
                </a:lnTo>
                <a:lnTo>
                  <a:pt x="10279" y="5151"/>
                </a:lnTo>
                <a:lnTo>
                  <a:pt x="10274" y="5154"/>
                </a:lnTo>
                <a:lnTo>
                  <a:pt x="10266" y="5157"/>
                </a:lnTo>
                <a:lnTo>
                  <a:pt x="10258" y="5158"/>
                </a:lnTo>
                <a:lnTo>
                  <a:pt x="10249" y="5159"/>
                </a:lnTo>
                <a:lnTo>
                  <a:pt x="10245" y="5168"/>
                </a:lnTo>
                <a:lnTo>
                  <a:pt x="10239" y="5176"/>
                </a:lnTo>
                <a:lnTo>
                  <a:pt x="10233" y="5184"/>
                </a:lnTo>
                <a:lnTo>
                  <a:pt x="10227" y="5191"/>
                </a:lnTo>
                <a:lnTo>
                  <a:pt x="10221" y="5198"/>
                </a:lnTo>
                <a:lnTo>
                  <a:pt x="10214" y="5204"/>
                </a:lnTo>
                <a:lnTo>
                  <a:pt x="10206" y="5210"/>
                </a:lnTo>
                <a:lnTo>
                  <a:pt x="10199" y="5215"/>
                </a:lnTo>
                <a:lnTo>
                  <a:pt x="10183" y="5224"/>
                </a:lnTo>
                <a:lnTo>
                  <a:pt x="10166" y="5233"/>
                </a:lnTo>
                <a:lnTo>
                  <a:pt x="10147" y="5239"/>
                </a:lnTo>
                <a:lnTo>
                  <a:pt x="10128" y="5244"/>
                </a:lnTo>
                <a:lnTo>
                  <a:pt x="10109" y="5247"/>
                </a:lnTo>
                <a:lnTo>
                  <a:pt x="10089" y="5250"/>
                </a:lnTo>
                <a:lnTo>
                  <a:pt x="10070" y="5252"/>
                </a:lnTo>
                <a:lnTo>
                  <a:pt x="10050" y="5253"/>
                </a:lnTo>
                <a:lnTo>
                  <a:pt x="10011" y="5254"/>
                </a:lnTo>
                <a:lnTo>
                  <a:pt x="9974" y="5254"/>
                </a:lnTo>
                <a:lnTo>
                  <a:pt x="9974" y="5241"/>
                </a:lnTo>
                <a:lnTo>
                  <a:pt x="9973" y="5228"/>
                </a:lnTo>
                <a:lnTo>
                  <a:pt x="9972" y="5217"/>
                </a:lnTo>
                <a:lnTo>
                  <a:pt x="9970" y="5209"/>
                </a:lnTo>
                <a:lnTo>
                  <a:pt x="9968" y="5201"/>
                </a:lnTo>
                <a:lnTo>
                  <a:pt x="9965" y="5195"/>
                </a:lnTo>
                <a:lnTo>
                  <a:pt x="9962" y="5190"/>
                </a:lnTo>
                <a:lnTo>
                  <a:pt x="9958" y="5187"/>
                </a:lnTo>
                <a:lnTo>
                  <a:pt x="9952" y="5184"/>
                </a:lnTo>
                <a:lnTo>
                  <a:pt x="9946" y="5183"/>
                </a:lnTo>
                <a:lnTo>
                  <a:pt x="9939" y="5182"/>
                </a:lnTo>
                <a:lnTo>
                  <a:pt x="9932" y="5183"/>
                </a:lnTo>
                <a:lnTo>
                  <a:pt x="9912" y="5187"/>
                </a:lnTo>
                <a:lnTo>
                  <a:pt x="9888" y="5193"/>
                </a:lnTo>
                <a:close/>
                <a:moveTo>
                  <a:pt x="9889" y="5286"/>
                </a:moveTo>
                <a:lnTo>
                  <a:pt x="9889" y="5290"/>
                </a:lnTo>
                <a:lnTo>
                  <a:pt x="9887" y="5295"/>
                </a:lnTo>
                <a:lnTo>
                  <a:pt x="9884" y="5299"/>
                </a:lnTo>
                <a:lnTo>
                  <a:pt x="9881" y="5303"/>
                </a:lnTo>
                <a:lnTo>
                  <a:pt x="9877" y="5307"/>
                </a:lnTo>
                <a:lnTo>
                  <a:pt x="9872" y="5310"/>
                </a:lnTo>
                <a:lnTo>
                  <a:pt x="9867" y="5312"/>
                </a:lnTo>
                <a:lnTo>
                  <a:pt x="9862" y="5314"/>
                </a:lnTo>
                <a:lnTo>
                  <a:pt x="9856" y="5315"/>
                </a:lnTo>
                <a:lnTo>
                  <a:pt x="9851" y="5315"/>
                </a:lnTo>
                <a:lnTo>
                  <a:pt x="9845" y="5315"/>
                </a:lnTo>
                <a:lnTo>
                  <a:pt x="9840" y="5313"/>
                </a:lnTo>
                <a:lnTo>
                  <a:pt x="9836" y="5311"/>
                </a:lnTo>
                <a:lnTo>
                  <a:pt x="9832" y="5307"/>
                </a:lnTo>
                <a:lnTo>
                  <a:pt x="9829" y="5302"/>
                </a:lnTo>
                <a:lnTo>
                  <a:pt x="9826" y="5296"/>
                </a:lnTo>
                <a:lnTo>
                  <a:pt x="9830" y="5297"/>
                </a:lnTo>
                <a:lnTo>
                  <a:pt x="9833" y="5297"/>
                </a:lnTo>
                <a:lnTo>
                  <a:pt x="9835" y="5297"/>
                </a:lnTo>
                <a:lnTo>
                  <a:pt x="9837" y="5296"/>
                </a:lnTo>
                <a:lnTo>
                  <a:pt x="9838" y="5294"/>
                </a:lnTo>
                <a:lnTo>
                  <a:pt x="9838" y="5292"/>
                </a:lnTo>
                <a:lnTo>
                  <a:pt x="9837" y="5289"/>
                </a:lnTo>
                <a:lnTo>
                  <a:pt x="9836" y="5286"/>
                </a:lnTo>
                <a:lnTo>
                  <a:pt x="9850" y="5286"/>
                </a:lnTo>
                <a:lnTo>
                  <a:pt x="9863" y="5286"/>
                </a:lnTo>
                <a:lnTo>
                  <a:pt x="9876" y="5286"/>
                </a:lnTo>
                <a:lnTo>
                  <a:pt x="9889" y="5286"/>
                </a:lnTo>
                <a:close/>
                <a:moveTo>
                  <a:pt x="10684" y="6122"/>
                </a:moveTo>
                <a:lnTo>
                  <a:pt x="10687" y="6135"/>
                </a:lnTo>
                <a:lnTo>
                  <a:pt x="10691" y="6145"/>
                </a:lnTo>
                <a:lnTo>
                  <a:pt x="10694" y="6153"/>
                </a:lnTo>
                <a:lnTo>
                  <a:pt x="10697" y="6159"/>
                </a:lnTo>
                <a:lnTo>
                  <a:pt x="10699" y="6163"/>
                </a:lnTo>
                <a:lnTo>
                  <a:pt x="10702" y="6165"/>
                </a:lnTo>
                <a:lnTo>
                  <a:pt x="10704" y="6165"/>
                </a:lnTo>
                <a:lnTo>
                  <a:pt x="10706" y="6164"/>
                </a:lnTo>
                <a:lnTo>
                  <a:pt x="10708" y="6161"/>
                </a:lnTo>
                <a:lnTo>
                  <a:pt x="10710" y="6156"/>
                </a:lnTo>
                <a:lnTo>
                  <a:pt x="10712" y="6150"/>
                </a:lnTo>
                <a:lnTo>
                  <a:pt x="10713" y="6142"/>
                </a:lnTo>
                <a:lnTo>
                  <a:pt x="10715" y="6124"/>
                </a:lnTo>
                <a:lnTo>
                  <a:pt x="10715" y="6100"/>
                </a:lnTo>
                <a:lnTo>
                  <a:pt x="10719" y="6101"/>
                </a:lnTo>
                <a:lnTo>
                  <a:pt x="10723" y="6102"/>
                </a:lnTo>
                <a:lnTo>
                  <a:pt x="10726" y="6105"/>
                </a:lnTo>
                <a:lnTo>
                  <a:pt x="10729" y="6108"/>
                </a:lnTo>
                <a:lnTo>
                  <a:pt x="10732" y="6114"/>
                </a:lnTo>
                <a:lnTo>
                  <a:pt x="10735" y="6119"/>
                </a:lnTo>
                <a:lnTo>
                  <a:pt x="10738" y="6124"/>
                </a:lnTo>
                <a:lnTo>
                  <a:pt x="10740" y="6131"/>
                </a:lnTo>
                <a:lnTo>
                  <a:pt x="10743" y="6145"/>
                </a:lnTo>
                <a:lnTo>
                  <a:pt x="10745" y="6160"/>
                </a:lnTo>
                <a:lnTo>
                  <a:pt x="10745" y="6177"/>
                </a:lnTo>
                <a:lnTo>
                  <a:pt x="10744" y="6193"/>
                </a:lnTo>
                <a:lnTo>
                  <a:pt x="10742" y="6201"/>
                </a:lnTo>
                <a:lnTo>
                  <a:pt x="10740" y="6209"/>
                </a:lnTo>
                <a:lnTo>
                  <a:pt x="10738" y="6217"/>
                </a:lnTo>
                <a:lnTo>
                  <a:pt x="10735" y="6224"/>
                </a:lnTo>
                <a:lnTo>
                  <a:pt x="10731" y="6231"/>
                </a:lnTo>
                <a:lnTo>
                  <a:pt x="10727" y="6239"/>
                </a:lnTo>
                <a:lnTo>
                  <a:pt x="10723" y="6245"/>
                </a:lnTo>
                <a:lnTo>
                  <a:pt x="10718" y="6250"/>
                </a:lnTo>
                <a:lnTo>
                  <a:pt x="10712" y="6254"/>
                </a:lnTo>
                <a:lnTo>
                  <a:pt x="10705" y="6258"/>
                </a:lnTo>
                <a:lnTo>
                  <a:pt x="10698" y="6261"/>
                </a:lnTo>
                <a:lnTo>
                  <a:pt x="10690" y="6263"/>
                </a:lnTo>
                <a:lnTo>
                  <a:pt x="10682" y="6264"/>
                </a:lnTo>
                <a:lnTo>
                  <a:pt x="10673" y="6264"/>
                </a:lnTo>
                <a:lnTo>
                  <a:pt x="10663" y="6262"/>
                </a:lnTo>
                <a:lnTo>
                  <a:pt x="10652" y="6259"/>
                </a:lnTo>
                <a:lnTo>
                  <a:pt x="10649" y="6217"/>
                </a:lnTo>
                <a:lnTo>
                  <a:pt x="10644" y="6172"/>
                </a:lnTo>
                <a:lnTo>
                  <a:pt x="10644" y="6162"/>
                </a:lnTo>
                <a:lnTo>
                  <a:pt x="10646" y="6153"/>
                </a:lnTo>
                <a:lnTo>
                  <a:pt x="10649" y="6144"/>
                </a:lnTo>
                <a:lnTo>
                  <a:pt x="10653" y="6137"/>
                </a:lnTo>
                <a:lnTo>
                  <a:pt x="10655" y="6134"/>
                </a:lnTo>
                <a:lnTo>
                  <a:pt x="10658" y="6131"/>
                </a:lnTo>
                <a:lnTo>
                  <a:pt x="10661" y="6128"/>
                </a:lnTo>
                <a:lnTo>
                  <a:pt x="10665" y="6126"/>
                </a:lnTo>
                <a:lnTo>
                  <a:pt x="10669" y="6124"/>
                </a:lnTo>
                <a:lnTo>
                  <a:pt x="10673" y="6123"/>
                </a:lnTo>
                <a:lnTo>
                  <a:pt x="10678" y="6122"/>
                </a:lnTo>
                <a:lnTo>
                  <a:pt x="10684" y="6122"/>
                </a:lnTo>
                <a:close/>
                <a:moveTo>
                  <a:pt x="10663" y="5973"/>
                </a:moveTo>
                <a:lnTo>
                  <a:pt x="10680" y="5980"/>
                </a:lnTo>
                <a:lnTo>
                  <a:pt x="10694" y="5984"/>
                </a:lnTo>
                <a:lnTo>
                  <a:pt x="10700" y="5986"/>
                </a:lnTo>
                <a:lnTo>
                  <a:pt x="10706" y="5986"/>
                </a:lnTo>
                <a:lnTo>
                  <a:pt x="10711" y="5986"/>
                </a:lnTo>
                <a:lnTo>
                  <a:pt x="10715" y="5984"/>
                </a:lnTo>
                <a:lnTo>
                  <a:pt x="10719" y="5982"/>
                </a:lnTo>
                <a:lnTo>
                  <a:pt x="10722" y="5980"/>
                </a:lnTo>
                <a:lnTo>
                  <a:pt x="10724" y="5977"/>
                </a:lnTo>
                <a:lnTo>
                  <a:pt x="10726" y="5973"/>
                </a:lnTo>
                <a:lnTo>
                  <a:pt x="10727" y="5969"/>
                </a:lnTo>
                <a:lnTo>
                  <a:pt x="10727" y="5964"/>
                </a:lnTo>
                <a:lnTo>
                  <a:pt x="10727" y="5958"/>
                </a:lnTo>
                <a:lnTo>
                  <a:pt x="10726" y="5952"/>
                </a:lnTo>
                <a:lnTo>
                  <a:pt x="10736" y="5956"/>
                </a:lnTo>
                <a:lnTo>
                  <a:pt x="10744" y="5961"/>
                </a:lnTo>
                <a:lnTo>
                  <a:pt x="10746" y="5964"/>
                </a:lnTo>
                <a:lnTo>
                  <a:pt x="10748" y="5966"/>
                </a:lnTo>
                <a:lnTo>
                  <a:pt x="10750" y="5969"/>
                </a:lnTo>
                <a:lnTo>
                  <a:pt x="10751" y="5972"/>
                </a:lnTo>
                <a:lnTo>
                  <a:pt x="10752" y="5978"/>
                </a:lnTo>
                <a:lnTo>
                  <a:pt x="10750" y="5986"/>
                </a:lnTo>
                <a:lnTo>
                  <a:pt x="10748" y="5993"/>
                </a:lnTo>
                <a:lnTo>
                  <a:pt x="10744" y="6000"/>
                </a:lnTo>
                <a:lnTo>
                  <a:pt x="10734" y="6016"/>
                </a:lnTo>
                <a:lnTo>
                  <a:pt x="10722" y="6033"/>
                </a:lnTo>
                <a:lnTo>
                  <a:pt x="10717" y="6042"/>
                </a:lnTo>
                <a:lnTo>
                  <a:pt x="10712" y="6051"/>
                </a:lnTo>
                <a:lnTo>
                  <a:pt x="10708" y="6060"/>
                </a:lnTo>
                <a:lnTo>
                  <a:pt x="10705" y="6069"/>
                </a:lnTo>
                <a:lnTo>
                  <a:pt x="10694" y="6057"/>
                </a:lnTo>
                <a:lnTo>
                  <a:pt x="10687" y="6047"/>
                </a:lnTo>
                <a:lnTo>
                  <a:pt x="10682" y="6038"/>
                </a:lnTo>
                <a:lnTo>
                  <a:pt x="10679" y="6028"/>
                </a:lnTo>
                <a:lnTo>
                  <a:pt x="10673" y="6006"/>
                </a:lnTo>
                <a:lnTo>
                  <a:pt x="10663" y="5973"/>
                </a:lnTo>
                <a:close/>
                <a:moveTo>
                  <a:pt x="10768" y="6503"/>
                </a:moveTo>
                <a:lnTo>
                  <a:pt x="10768" y="6495"/>
                </a:lnTo>
                <a:lnTo>
                  <a:pt x="10768" y="6486"/>
                </a:lnTo>
                <a:lnTo>
                  <a:pt x="10768" y="6478"/>
                </a:lnTo>
                <a:lnTo>
                  <a:pt x="10768" y="6470"/>
                </a:lnTo>
                <a:lnTo>
                  <a:pt x="10776" y="6473"/>
                </a:lnTo>
                <a:lnTo>
                  <a:pt x="10784" y="6477"/>
                </a:lnTo>
                <a:lnTo>
                  <a:pt x="10792" y="6483"/>
                </a:lnTo>
                <a:lnTo>
                  <a:pt x="10801" y="6491"/>
                </a:lnTo>
                <a:lnTo>
                  <a:pt x="10810" y="6500"/>
                </a:lnTo>
                <a:lnTo>
                  <a:pt x="10819" y="6510"/>
                </a:lnTo>
                <a:lnTo>
                  <a:pt x="10828" y="6521"/>
                </a:lnTo>
                <a:lnTo>
                  <a:pt x="10837" y="6533"/>
                </a:lnTo>
                <a:lnTo>
                  <a:pt x="10855" y="6560"/>
                </a:lnTo>
                <a:lnTo>
                  <a:pt x="10874" y="6591"/>
                </a:lnTo>
                <a:lnTo>
                  <a:pt x="10892" y="6624"/>
                </a:lnTo>
                <a:lnTo>
                  <a:pt x="10910" y="6658"/>
                </a:lnTo>
                <a:lnTo>
                  <a:pt x="10926" y="6692"/>
                </a:lnTo>
                <a:lnTo>
                  <a:pt x="10940" y="6726"/>
                </a:lnTo>
                <a:lnTo>
                  <a:pt x="10953" y="6760"/>
                </a:lnTo>
                <a:lnTo>
                  <a:pt x="10964" y="6792"/>
                </a:lnTo>
                <a:lnTo>
                  <a:pt x="10972" y="6820"/>
                </a:lnTo>
                <a:lnTo>
                  <a:pt x="10978" y="6846"/>
                </a:lnTo>
                <a:lnTo>
                  <a:pt x="10980" y="6857"/>
                </a:lnTo>
                <a:lnTo>
                  <a:pt x="10981" y="6868"/>
                </a:lnTo>
                <a:lnTo>
                  <a:pt x="10981" y="6877"/>
                </a:lnTo>
                <a:lnTo>
                  <a:pt x="10980" y="6884"/>
                </a:lnTo>
                <a:lnTo>
                  <a:pt x="11002" y="6884"/>
                </a:lnTo>
                <a:lnTo>
                  <a:pt x="11024" y="6883"/>
                </a:lnTo>
                <a:lnTo>
                  <a:pt x="11047" y="6881"/>
                </a:lnTo>
                <a:lnTo>
                  <a:pt x="11067" y="6880"/>
                </a:lnTo>
                <a:lnTo>
                  <a:pt x="11087" y="6880"/>
                </a:lnTo>
                <a:lnTo>
                  <a:pt x="11105" y="6880"/>
                </a:lnTo>
                <a:lnTo>
                  <a:pt x="11123" y="6881"/>
                </a:lnTo>
                <a:lnTo>
                  <a:pt x="11138" y="6884"/>
                </a:lnTo>
                <a:lnTo>
                  <a:pt x="11139" y="6890"/>
                </a:lnTo>
                <a:lnTo>
                  <a:pt x="11140" y="6896"/>
                </a:lnTo>
                <a:lnTo>
                  <a:pt x="11142" y="6902"/>
                </a:lnTo>
                <a:lnTo>
                  <a:pt x="11144" y="6907"/>
                </a:lnTo>
                <a:lnTo>
                  <a:pt x="11147" y="6912"/>
                </a:lnTo>
                <a:lnTo>
                  <a:pt x="11150" y="6917"/>
                </a:lnTo>
                <a:lnTo>
                  <a:pt x="11156" y="6922"/>
                </a:lnTo>
                <a:lnTo>
                  <a:pt x="11160" y="6926"/>
                </a:lnTo>
                <a:lnTo>
                  <a:pt x="11171" y="6934"/>
                </a:lnTo>
                <a:lnTo>
                  <a:pt x="11183" y="6941"/>
                </a:lnTo>
                <a:lnTo>
                  <a:pt x="11196" y="6947"/>
                </a:lnTo>
                <a:lnTo>
                  <a:pt x="11210" y="6952"/>
                </a:lnTo>
                <a:lnTo>
                  <a:pt x="11225" y="6957"/>
                </a:lnTo>
                <a:lnTo>
                  <a:pt x="11241" y="6961"/>
                </a:lnTo>
                <a:lnTo>
                  <a:pt x="11256" y="6964"/>
                </a:lnTo>
                <a:lnTo>
                  <a:pt x="11271" y="6966"/>
                </a:lnTo>
                <a:lnTo>
                  <a:pt x="11301" y="6970"/>
                </a:lnTo>
                <a:lnTo>
                  <a:pt x="11326" y="6971"/>
                </a:lnTo>
                <a:lnTo>
                  <a:pt x="11343" y="6972"/>
                </a:lnTo>
                <a:lnTo>
                  <a:pt x="11363" y="6972"/>
                </a:lnTo>
                <a:lnTo>
                  <a:pt x="11385" y="6972"/>
                </a:lnTo>
                <a:lnTo>
                  <a:pt x="11411" y="6970"/>
                </a:lnTo>
                <a:lnTo>
                  <a:pt x="11436" y="6968"/>
                </a:lnTo>
                <a:lnTo>
                  <a:pt x="11463" y="6965"/>
                </a:lnTo>
                <a:lnTo>
                  <a:pt x="11490" y="6961"/>
                </a:lnTo>
                <a:lnTo>
                  <a:pt x="11516" y="6955"/>
                </a:lnTo>
                <a:lnTo>
                  <a:pt x="11543" y="6948"/>
                </a:lnTo>
                <a:lnTo>
                  <a:pt x="11567" y="6940"/>
                </a:lnTo>
                <a:lnTo>
                  <a:pt x="11578" y="6935"/>
                </a:lnTo>
                <a:lnTo>
                  <a:pt x="11588" y="6930"/>
                </a:lnTo>
                <a:lnTo>
                  <a:pt x="11598" y="6924"/>
                </a:lnTo>
                <a:lnTo>
                  <a:pt x="11608" y="6918"/>
                </a:lnTo>
                <a:lnTo>
                  <a:pt x="11616" y="6912"/>
                </a:lnTo>
                <a:lnTo>
                  <a:pt x="11624" y="6905"/>
                </a:lnTo>
                <a:lnTo>
                  <a:pt x="11630" y="6898"/>
                </a:lnTo>
                <a:lnTo>
                  <a:pt x="11636" y="6890"/>
                </a:lnTo>
                <a:lnTo>
                  <a:pt x="11640" y="6881"/>
                </a:lnTo>
                <a:lnTo>
                  <a:pt x="11643" y="6872"/>
                </a:lnTo>
                <a:lnTo>
                  <a:pt x="11645" y="6861"/>
                </a:lnTo>
                <a:lnTo>
                  <a:pt x="11646" y="6851"/>
                </a:lnTo>
                <a:lnTo>
                  <a:pt x="11659" y="6852"/>
                </a:lnTo>
                <a:lnTo>
                  <a:pt x="11670" y="6853"/>
                </a:lnTo>
                <a:lnTo>
                  <a:pt x="11681" y="6856"/>
                </a:lnTo>
                <a:lnTo>
                  <a:pt x="11691" y="6859"/>
                </a:lnTo>
                <a:lnTo>
                  <a:pt x="11701" y="6864"/>
                </a:lnTo>
                <a:lnTo>
                  <a:pt x="11711" y="6870"/>
                </a:lnTo>
                <a:lnTo>
                  <a:pt x="11719" y="6876"/>
                </a:lnTo>
                <a:lnTo>
                  <a:pt x="11727" y="6883"/>
                </a:lnTo>
                <a:lnTo>
                  <a:pt x="11734" y="6891"/>
                </a:lnTo>
                <a:lnTo>
                  <a:pt x="11741" y="6900"/>
                </a:lnTo>
                <a:lnTo>
                  <a:pt x="11746" y="6909"/>
                </a:lnTo>
                <a:lnTo>
                  <a:pt x="11750" y="6920"/>
                </a:lnTo>
                <a:lnTo>
                  <a:pt x="11752" y="6931"/>
                </a:lnTo>
                <a:lnTo>
                  <a:pt x="11754" y="6942"/>
                </a:lnTo>
                <a:lnTo>
                  <a:pt x="11754" y="6955"/>
                </a:lnTo>
                <a:lnTo>
                  <a:pt x="11752" y="6968"/>
                </a:lnTo>
                <a:lnTo>
                  <a:pt x="11795" y="6971"/>
                </a:lnTo>
                <a:lnTo>
                  <a:pt x="11860" y="6975"/>
                </a:lnTo>
                <a:lnTo>
                  <a:pt x="11898" y="6978"/>
                </a:lnTo>
                <a:lnTo>
                  <a:pt x="11939" y="6981"/>
                </a:lnTo>
                <a:lnTo>
                  <a:pt x="11981" y="6985"/>
                </a:lnTo>
                <a:lnTo>
                  <a:pt x="12023" y="6990"/>
                </a:lnTo>
                <a:lnTo>
                  <a:pt x="12065" y="6997"/>
                </a:lnTo>
                <a:lnTo>
                  <a:pt x="12103" y="7004"/>
                </a:lnTo>
                <a:lnTo>
                  <a:pt x="12121" y="7007"/>
                </a:lnTo>
                <a:lnTo>
                  <a:pt x="12137" y="7012"/>
                </a:lnTo>
                <a:lnTo>
                  <a:pt x="12153" y="7016"/>
                </a:lnTo>
                <a:lnTo>
                  <a:pt x="12168" y="7021"/>
                </a:lnTo>
                <a:lnTo>
                  <a:pt x="12181" y="7026"/>
                </a:lnTo>
                <a:lnTo>
                  <a:pt x="12193" y="7032"/>
                </a:lnTo>
                <a:lnTo>
                  <a:pt x="12202" y="7038"/>
                </a:lnTo>
                <a:lnTo>
                  <a:pt x="12210" y="7044"/>
                </a:lnTo>
                <a:lnTo>
                  <a:pt x="12215" y="7051"/>
                </a:lnTo>
                <a:lnTo>
                  <a:pt x="12218" y="7058"/>
                </a:lnTo>
                <a:lnTo>
                  <a:pt x="12219" y="7066"/>
                </a:lnTo>
                <a:lnTo>
                  <a:pt x="12218" y="7074"/>
                </a:lnTo>
                <a:lnTo>
                  <a:pt x="12223" y="7074"/>
                </a:lnTo>
                <a:lnTo>
                  <a:pt x="12229" y="7075"/>
                </a:lnTo>
                <a:lnTo>
                  <a:pt x="12234" y="7076"/>
                </a:lnTo>
                <a:lnTo>
                  <a:pt x="12239" y="7078"/>
                </a:lnTo>
                <a:lnTo>
                  <a:pt x="12248" y="7083"/>
                </a:lnTo>
                <a:lnTo>
                  <a:pt x="12257" y="7090"/>
                </a:lnTo>
                <a:lnTo>
                  <a:pt x="12265" y="7098"/>
                </a:lnTo>
                <a:lnTo>
                  <a:pt x="12272" y="7107"/>
                </a:lnTo>
                <a:lnTo>
                  <a:pt x="12280" y="7117"/>
                </a:lnTo>
                <a:lnTo>
                  <a:pt x="12288" y="7127"/>
                </a:lnTo>
                <a:lnTo>
                  <a:pt x="12295" y="7137"/>
                </a:lnTo>
                <a:lnTo>
                  <a:pt x="12302" y="7147"/>
                </a:lnTo>
                <a:lnTo>
                  <a:pt x="12310" y="7156"/>
                </a:lnTo>
                <a:lnTo>
                  <a:pt x="12318" y="7164"/>
                </a:lnTo>
                <a:lnTo>
                  <a:pt x="12326" y="7170"/>
                </a:lnTo>
                <a:lnTo>
                  <a:pt x="12335" y="7176"/>
                </a:lnTo>
                <a:lnTo>
                  <a:pt x="12340" y="7177"/>
                </a:lnTo>
                <a:lnTo>
                  <a:pt x="12345" y="7179"/>
                </a:lnTo>
                <a:lnTo>
                  <a:pt x="12350" y="7180"/>
                </a:lnTo>
                <a:lnTo>
                  <a:pt x="12356" y="7180"/>
                </a:lnTo>
                <a:lnTo>
                  <a:pt x="12355" y="7187"/>
                </a:lnTo>
                <a:lnTo>
                  <a:pt x="12354" y="7195"/>
                </a:lnTo>
                <a:lnTo>
                  <a:pt x="12355" y="7203"/>
                </a:lnTo>
                <a:lnTo>
                  <a:pt x="12355" y="7212"/>
                </a:lnTo>
                <a:lnTo>
                  <a:pt x="12358" y="7231"/>
                </a:lnTo>
                <a:lnTo>
                  <a:pt x="12363" y="7253"/>
                </a:lnTo>
                <a:lnTo>
                  <a:pt x="12369" y="7274"/>
                </a:lnTo>
                <a:lnTo>
                  <a:pt x="12377" y="7296"/>
                </a:lnTo>
                <a:lnTo>
                  <a:pt x="12386" y="7318"/>
                </a:lnTo>
                <a:lnTo>
                  <a:pt x="12395" y="7339"/>
                </a:lnTo>
                <a:lnTo>
                  <a:pt x="12406" y="7360"/>
                </a:lnTo>
                <a:lnTo>
                  <a:pt x="12419" y="7381"/>
                </a:lnTo>
                <a:lnTo>
                  <a:pt x="12431" y="7398"/>
                </a:lnTo>
                <a:lnTo>
                  <a:pt x="12443" y="7414"/>
                </a:lnTo>
                <a:lnTo>
                  <a:pt x="12450" y="7420"/>
                </a:lnTo>
                <a:lnTo>
                  <a:pt x="12456" y="7426"/>
                </a:lnTo>
                <a:lnTo>
                  <a:pt x="12462" y="7432"/>
                </a:lnTo>
                <a:lnTo>
                  <a:pt x="12468" y="7436"/>
                </a:lnTo>
                <a:lnTo>
                  <a:pt x="12475" y="7440"/>
                </a:lnTo>
                <a:lnTo>
                  <a:pt x="12481" y="7442"/>
                </a:lnTo>
                <a:lnTo>
                  <a:pt x="12487" y="7444"/>
                </a:lnTo>
                <a:lnTo>
                  <a:pt x="12493" y="7444"/>
                </a:lnTo>
                <a:lnTo>
                  <a:pt x="12494" y="7457"/>
                </a:lnTo>
                <a:lnTo>
                  <a:pt x="12495" y="7470"/>
                </a:lnTo>
                <a:lnTo>
                  <a:pt x="12497" y="7485"/>
                </a:lnTo>
                <a:lnTo>
                  <a:pt x="12500" y="7501"/>
                </a:lnTo>
                <a:lnTo>
                  <a:pt x="12504" y="7516"/>
                </a:lnTo>
                <a:lnTo>
                  <a:pt x="12508" y="7532"/>
                </a:lnTo>
                <a:lnTo>
                  <a:pt x="12514" y="7548"/>
                </a:lnTo>
                <a:lnTo>
                  <a:pt x="12520" y="7564"/>
                </a:lnTo>
                <a:lnTo>
                  <a:pt x="12526" y="7579"/>
                </a:lnTo>
                <a:lnTo>
                  <a:pt x="12533" y="7595"/>
                </a:lnTo>
                <a:lnTo>
                  <a:pt x="12542" y="7609"/>
                </a:lnTo>
                <a:lnTo>
                  <a:pt x="12551" y="7624"/>
                </a:lnTo>
                <a:lnTo>
                  <a:pt x="12559" y="7637"/>
                </a:lnTo>
                <a:lnTo>
                  <a:pt x="12569" y="7648"/>
                </a:lnTo>
                <a:lnTo>
                  <a:pt x="12579" y="7658"/>
                </a:lnTo>
                <a:lnTo>
                  <a:pt x="12589" y="7667"/>
                </a:lnTo>
                <a:lnTo>
                  <a:pt x="12595" y="7685"/>
                </a:lnTo>
                <a:lnTo>
                  <a:pt x="12603" y="7705"/>
                </a:lnTo>
                <a:lnTo>
                  <a:pt x="12612" y="7726"/>
                </a:lnTo>
                <a:lnTo>
                  <a:pt x="12623" y="7750"/>
                </a:lnTo>
                <a:lnTo>
                  <a:pt x="12634" y="7774"/>
                </a:lnTo>
                <a:lnTo>
                  <a:pt x="12647" y="7799"/>
                </a:lnTo>
                <a:lnTo>
                  <a:pt x="12661" y="7824"/>
                </a:lnTo>
                <a:lnTo>
                  <a:pt x="12676" y="7849"/>
                </a:lnTo>
                <a:lnTo>
                  <a:pt x="12692" y="7873"/>
                </a:lnTo>
                <a:lnTo>
                  <a:pt x="12708" y="7898"/>
                </a:lnTo>
                <a:lnTo>
                  <a:pt x="12724" y="7920"/>
                </a:lnTo>
                <a:lnTo>
                  <a:pt x="12741" y="7941"/>
                </a:lnTo>
                <a:lnTo>
                  <a:pt x="12758" y="7961"/>
                </a:lnTo>
                <a:lnTo>
                  <a:pt x="12775" y="7978"/>
                </a:lnTo>
                <a:lnTo>
                  <a:pt x="12784" y="7986"/>
                </a:lnTo>
                <a:lnTo>
                  <a:pt x="12794" y="7993"/>
                </a:lnTo>
                <a:lnTo>
                  <a:pt x="12802" y="7999"/>
                </a:lnTo>
                <a:lnTo>
                  <a:pt x="12811" y="8006"/>
                </a:lnTo>
                <a:lnTo>
                  <a:pt x="12808" y="8013"/>
                </a:lnTo>
                <a:lnTo>
                  <a:pt x="12805" y="8020"/>
                </a:lnTo>
                <a:lnTo>
                  <a:pt x="12803" y="8026"/>
                </a:lnTo>
                <a:lnTo>
                  <a:pt x="12802" y="8033"/>
                </a:lnTo>
                <a:lnTo>
                  <a:pt x="12802" y="8040"/>
                </a:lnTo>
                <a:lnTo>
                  <a:pt x="12802" y="8046"/>
                </a:lnTo>
                <a:lnTo>
                  <a:pt x="12803" y="8053"/>
                </a:lnTo>
                <a:lnTo>
                  <a:pt x="12804" y="8060"/>
                </a:lnTo>
                <a:lnTo>
                  <a:pt x="12808" y="8073"/>
                </a:lnTo>
                <a:lnTo>
                  <a:pt x="12814" y="8085"/>
                </a:lnTo>
                <a:lnTo>
                  <a:pt x="12821" y="8098"/>
                </a:lnTo>
                <a:lnTo>
                  <a:pt x="12829" y="8111"/>
                </a:lnTo>
                <a:lnTo>
                  <a:pt x="12847" y="8137"/>
                </a:lnTo>
                <a:lnTo>
                  <a:pt x="12866" y="8163"/>
                </a:lnTo>
                <a:lnTo>
                  <a:pt x="12875" y="8176"/>
                </a:lnTo>
                <a:lnTo>
                  <a:pt x="12883" y="8189"/>
                </a:lnTo>
                <a:lnTo>
                  <a:pt x="12890" y="8203"/>
                </a:lnTo>
                <a:lnTo>
                  <a:pt x="12895" y="8217"/>
                </a:lnTo>
                <a:lnTo>
                  <a:pt x="12894" y="8221"/>
                </a:lnTo>
                <a:lnTo>
                  <a:pt x="12896" y="8234"/>
                </a:lnTo>
                <a:lnTo>
                  <a:pt x="12901" y="8252"/>
                </a:lnTo>
                <a:lnTo>
                  <a:pt x="12907" y="8275"/>
                </a:lnTo>
                <a:lnTo>
                  <a:pt x="12917" y="8297"/>
                </a:lnTo>
                <a:lnTo>
                  <a:pt x="12926" y="8317"/>
                </a:lnTo>
                <a:lnTo>
                  <a:pt x="12932" y="8326"/>
                </a:lnTo>
                <a:lnTo>
                  <a:pt x="12937" y="8334"/>
                </a:lnTo>
                <a:lnTo>
                  <a:pt x="12943" y="8340"/>
                </a:lnTo>
                <a:lnTo>
                  <a:pt x="12948" y="8344"/>
                </a:lnTo>
                <a:lnTo>
                  <a:pt x="12949" y="8351"/>
                </a:lnTo>
                <a:lnTo>
                  <a:pt x="12950" y="8360"/>
                </a:lnTo>
                <a:lnTo>
                  <a:pt x="12952" y="8370"/>
                </a:lnTo>
                <a:lnTo>
                  <a:pt x="12955" y="8382"/>
                </a:lnTo>
                <a:lnTo>
                  <a:pt x="12963" y="8407"/>
                </a:lnTo>
                <a:lnTo>
                  <a:pt x="12974" y="8435"/>
                </a:lnTo>
                <a:lnTo>
                  <a:pt x="12987" y="8466"/>
                </a:lnTo>
                <a:lnTo>
                  <a:pt x="13002" y="8497"/>
                </a:lnTo>
                <a:lnTo>
                  <a:pt x="13019" y="8531"/>
                </a:lnTo>
                <a:lnTo>
                  <a:pt x="13037" y="8563"/>
                </a:lnTo>
                <a:lnTo>
                  <a:pt x="13057" y="8594"/>
                </a:lnTo>
                <a:lnTo>
                  <a:pt x="13077" y="8624"/>
                </a:lnTo>
                <a:lnTo>
                  <a:pt x="13097" y="8652"/>
                </a:lnTo>
                <a:lnTo>
                  <a:pt x="13117" y="8676"/>
                </a:lnTo>
                <a:lnTo>
                  <a:pt x="13127" y="8687"/>
                </a:lnTo>
                <a:lnTo>
                  <a:pt x="13137" y="8696"/>
                </a:lnTo>
                <a:lnTo>
                  <a:pt x="13147" y="8705"/>
                </a:lnTo>
                <a:lnTo>
                  <a:pt x="13156" y="8712"/>
                </a:lnTo>
                <a:lnTo>
                  <a:pt x="13165" y="8717"/>
                </a:lnTo>
                <a:lnTo>
                  <a:pt x="13175" y="8721"/>
                </a:lnTo>
                <a:lnTo>
                  <a:pt x="13184" y="8724"/>
                </a:lnTo>
                <a:lnTo>
                  <a:pt x="13192" y="8725"/>
                </a:lnTo>
                <a:lnTo>
                  <a:pt x="13192" y="8731"/>
                </a:lnTo>
                <a:lnTo>
                  <a:pt x="13190" y="8738"/>
                </a:lnTo>
                <a:lnTo>
                  <a:pt x="13187" y="8744"/>
                </a:lnTo>
                <a:lnTo>
                  <a:pt x="13183" y="8749"/>
                </a:lnTo>
                <a:lnTo>
                  <a:pt x="13175" y="8760"/>
                </a:lnTo>
                <a:lnTo>
                  <a:pt x="13168" y="8768"/>
                </a:lnTo>
                <a:lnTo>
                  <a:pt x="13165" y="8771"/>
                </a:lnTo>
                <a:lnTo>
                  <a:pt x="13165" y="8774"/>
                </a:lnTo>
                <a:lnTo>
                  <a:pt x="13168" y="8777"/>
                </a:lnTo>
                <a:lnTo>
                  <a:pt x="13172" y="8780"/>
                </a:lnTo>
                <a:lnTo>
                  <a:pt x="13179" y="8782"/>
                </a:lnTo>
                <a:lnTo>
                  <a:pt x="13190" y="8784"/>
                </a:lnTo>
                <a:lnTo>
                  <a:pt x="13205" y="8786"/>
                </a:lnTo>
                <a:lnTo>
                  <a:pt x="13223" y="8788"/>
                </a:lnTo>
                <a:lnTo>
                  <a:pt x="13248" y="8788"/>
                </a:lnTo>
                <a:lnTo>
                  <a:pt x="13287" y="8785"/>
                </a:lnTo>
                <a:lnTo>
                  <a:pt x="13307" y="8782"/>
                </a:lnTo>
                <a:lnTo>
                  <a:pt x="13324" y="8779"/>
                </a:lnTo>
                <a:lnTo>
                  <a:pt x="13331" y="8777"/>
                </a:lnTo>
                <a:lnTo>
                  <a:pt x="13336" y="8774"/>
                </a:lnTo>
                <a:lnTo>
                  <a:pt x="13339" y="8771"/>
                </a:lnTo>
                <a:lnTo>
                  <a:pt x="13340" y="8768"/>
                </a:lnTo>
                <a:lnTo>
                  <a:pt x="13376" y="8767"/>
                </a:lnTo>
                <a:lnTo>
                  <a:pt x="13413" y="8765"/>
                </a:lnTo>
                <a:lnTo>
                  <a:pt x="13454" y="8762"/>
                </a:lnTo>
                <a:lnTo>
                  <a:pt x="13494" y="8758"/>
                </a:lnTo>
                <a:lnTo>
                  <a:pt x="13534" y="8751"/>
                </a:lnTo>
                <a:lnTo>
                  <a:pt x="13574" y="8744"/>
                </a:lnTo>
                <a:lnTo>
                  <a:pt x="13593" y="8739"/>
                </a:lnTo>
                <a:lnTo>
                  <a:pt x="13612" y="8735"/>
                </a:lnTo>
                <a:lnTo>
                  <a:pt x="13629" y="8730"/>
                </a:lnTo>
                <a:lnTo>
                  <a:pt x="13647" y="8725"/>
                </a:lnTo>
                <a:lnTo>
                  <a:pt x="13646" y="8737"/>
                </a:lnTo>
                <a:lnTo>
                  <a:pt x="13645" y="8750"/>
                </a:lnTo>
                <a:lnTo>
                  <a:pt x="13644" y="8762"/>
                </a:lnTo>
                <a:lnTo>
                  <a:pt x="13642" y="8774"/>
                </a:lnTo>
                <a:lnTo>
                  <a:pt x="13636" y="8796"/>
                </a:lnTo>
                <a:lnTo>
                  <a:pt x="13629" y="8818"/>
                </a:lnTo>
                <a:lnTo>
                  <a:pt x="13621" y="8839"/>
                </a:lnTo>
                <a:lnTo>
                  <a:pt x="13612" y="8859"/>
                </a:lnTo>
                <a:lnTo>
                  <a:pt x="13602" y="8880"/>
                </a:lnTo>
                <a:lnTo>
                  <a:pt x="13592" y="8900"/>
                </a:lnTo>
                <a:lnTo>
                  <a:pt x="13583" y="8920"/>
                </a:lnTo>
                <a:lnTo>
                  <a:pt x="13574" y="8940"/>
                </a:lnTo>
                <a:lnTo>
                  <a:pt x="13566" y="8961"/>
                </a:lnTo>
                <a:lnTo>
                  <a:pt x="13559" y="8981"/>
                </a:lnTo>
                <a:lnTo>
                  <a:pt x="13556" y="8992"/>
                </a:lnTo>
                <a:lnTo>
                  <a:pt x="13554" y="9003"/>
                </a:lnTo>
                <a:lnTo>
                  <a:pt x="13552" y="9015"/>
                </a:lnTo>
                <a:lnTo>
                  <a:pt x="13551" y="9026"/>
                </a:lnTo>
                <a:lnTo>
                  <a:pt x="13550" y="9038"/>
                </a:lnTo>
                <a:lnTo>
                  <a:pt x="13550" y="9050"/>
                </a:lnTo>
                <a:lnTo>
                  <a:pt x="13551" y="9062"/>
                </a:lnTo>
                <a:lnTo>
                  <a:pt x="13552" y="9074"/>
                </a:lnTo>
                <a:lnTo>
                  <a:pt x="13538" y="9075"/>
                </a:lnTo>
                <a:lnTo>
                  <a:pt x="13528" y="9078"/>
                </a:lnTo>
                <a:lnTo>
                  <a:pt x="13523" y="9080"/>
                </a:lnTo>
                <a:lnTo>
                  <a:pt x="13519" y="9082"/>
                </a:lnTo>
                <a:lnTo>
                  <a:pt x="13516" y="9084"/>
                </a:lnTo>
                <a:lnTo>
                  <a:pt x="13513" y="9087"/>
                </a:lnTo>
                <a:lnTo>
                  <a:pt x="13508" y="9093"/>
                </a:lnTo>
                <a:lnTo>
                  <a:pt x="13504" y="9100"/>
                </a:lnTo>
                <a:lnTo>
                  <a:pt x="13503" y="9108"/>
                </a:lnTo>
                <a:lnTo>
                  <a:pt x="13502" y="9117"/>
                </a:lnTo>
                <a:lnTo>
                  <a:pt x="13505" y="9152"/>
                </a:lnTo>
                <a:lnTo>
                  <a:pt x="13509" y="9180"/>
                </a:lnTo>
                <a:lnTo>
                  <a:pt x="13500" y="9186"/>
                </a:lnTo>
                <a:lnTo>
                  <a:pt x="13492" y="9193"/>
                </a:lnTo>
                <a:lnTo>
                  <a:pt x="13485" y="9199"/>
                </a:lnTo>
                <a:lnTo>
                  <a:pt x="13478" y="9207"/>
                </a:lnTo>
                <a:lnTo>
                  <a:pt x="13466" y="9222"/>
                </a:lnTo>
                <a:lnTo>
                  <a:pt x="13455" y="9238"/>
                </a:lnTo>
                <a:lnTo>
                  <a:pt x="13443" y="9254"/>
                </a:lnTo>
                <a:lnTo>
                  <a:pt x="13430" y="9270"/>
                </a:lnTo>
                <a:lnTo>
                  <a:pt x="13422" y="9278"/>
                </a:lnTo>
                <a:lnTo>
                  <a:pt x="13413" y="9284"/>
                </a:lnTo>
                <a:lnTo>
                  <a:pt x="13403" y="9291"/>
                </a:lnTo>
                <a:lnTo>
                  <a:pt x="13393" y="9297"/>
                </a:lnTo>
                <a:lnTo>
                  <a:pt x="13392" y="9302"/>
                </a:lnTo>
                <a:lnTo>
                  <a:pt x="13391" y="9309"/>
                </a:lnTo>
                <a:lnTo>
                  <a:pt x="13389" y="9315"/>
                </a:lnTo>
                <a:lnTo>
                  <a:pt x="13387" y="9321"/>
                </a:lnTo>
                <a:lnTo>
                  <a:pt x="13380" y="9335"/>
                </a:lnTo>
                <a:lnTo>
                  <a:pt x="13371" y="9348"/>
                </a:lnTo>
                <a:lnTo>
                  <a:pt x="13360" y="9363"/>
                </a:lnTo>
                <a:lnTo>
                  <a:pt x="13347" y="9377"/>
                </a:lnTo>
                <a:lnTo>
                  <a:pt x="13334" y="9393"/>
                </a:lnTo>
                <a:lnTo>
                  <a:pt x="13319" y="9408"/>
                </a:lnTo>
                <a:lnTo>
                  <a:pt x="13289" y="9437"/>
                </a:lnTo>
                <a:lnTo>
                  <a:pt x="13260" y="9465"/>
                </a:lnTo>
                <a:lnTo>
                  <a:pt x="13246" y="9478"/>
                </a:lnTo>
                <a:lnTo>
                  <a:pt x="13234" y="9490"/>
                </a:lnTo>
                <a:lnTo>
                  <a:pt x="13224" y="9501"/>
                </a:lnTo>
                <a:lnTo>
                  <a:pt x="13215" y="9512"/>
                </a:lnTo>
                <a:lnTo>
                  <a:pt x="13206" y="9524"/>
                </a:lnTo>
                <a:lnTo>
                  <a:pt x="13194" y="9536"/>
                </a:lnTo>
                <a:lnTo>
                  <a:pt x="13181" y="9550"/>
                </a:lnTo>
                <a:lnTo>
                  <a:pt x="13166" y="9563"/>
                </a:lnTo>
                <a:lnTo>
                  <a:pt x="13136" y="9593"/>
                </a:lnTo>
                <a:lnTo>
                  <a:pt x="13104" y="9624"/>
                </a:lnTo>
                <a:lnTo>
                  <a:pt x="13088" y="9640"/>
                </a:lnTo>
                <a:lnTo>
                  <a:pt x="13073" y="9656"/>
                </a:lnTo>
                <a:lnTo>
                  <a:pt x="13059" y="9672"/>
                </a:lnTo>
                <a:lnTo>
                  <a:pt x="13047" y="9688"/>
                </a:lnTo>
                <a:lnTo>
                  <a:pt x="13034" y="9703"/>
                </a:lnTo>
                <a:lnTo>
                  <a:pt x="13025" y="9718"/>
                </a:lnTo>
                <a:lnTo>
                  <a:pt x="13021" y="9726"/>
                </a:lnTo>
                <a:lnTo>
                  <a:pt x="13018" y="9733"/>
                </a:lnTo>
                <a:lnTo>
                  <a:pt x="13015" y="9740"/>
                </a:lnTo>
                <a:lnTo>
                  <a:pt x="13013" y="9747"/>
                </a:lnTo>
                <a:lnTo>
                  <a:pt x="13011" y="9747"/>
                </a:lnTo>
                <a:lnTo>
                  <a:pt x="13008" y="9750"/>
                </a:lnTo>
                <a:lnTo>
                  <a:pt x="13004" y="9754"/>
                </a:lnTo>
                <a:lnTo>
                  <a:pt x="12992" y="9766"/>
                </a:lnTo>
                <a:lnTo>
                  <a:pt x="12977" y="9783"/>
                </a:lnTo>
                <a:lnTo>
                  <a:pt x="12939" y="9825"/>
                </a:lnTo>
                <a:lnTo>
                  <a:pt x="12896" y="9875"/>
                </a:lnTo>
                <a:lnTo>
                  <a:pt x="12876" y="9902"/>
                </a:lnTo>
                <a:lnTo>
                  <a:pt x="12857" y="9927"/>
                </a:lnTo>
                <a:lnTo>
                  <a:pt x="12840" y="9950"/>
                </a:lnTo>
                <a:lnTo>
                  <a:pt x="12827" y="9971"/>
                </a:lnTo>
                <a:lnTo>
                  <a:pt x="12822" y="9981"/>
                </a:lnTo>
                <a:lnTo>
                  <a:pt x="12818" y="9990"/>
                </a:lnTo>
                <a:lnTo>
                  <a:pt x="12815" y="9997"/>
                </a:lnTo>
                <a:lnTo>
                  <a:pt x="12813" y="10003"/>
                </a:lnTo>
                <a:lnTo>
                  <a:pt x="12813" y="10009"/>
                </a:lnTo>
                <a:lnTo>
                  <a:pt x="12814" y="10012"/>
                </a:lnTo>
                <a:lnTo>
                  <a:pt x="12817" y="10015"/>
                </a:lnTo>
                <a:lnTo>
                  <a:pt x="12822" y="10016"/>
                </a:lnTo>
                <a:lnTo>
                  <a:pt x="12819" y="10052"/>
                </a:lnTo>
                <a:lnTo>
                  <a:pt x="12812" y="10113"/>
                </a:lnTo>
                <a:lnTo>
                  <a:pt x="12808" y="10151"/>
                </a:lnTo>
                <a:lnTo>
                  <a:pt x="12804" y="10190"/>
                </a:lnTo>
                <a:lnTo>
                  <a:pt x="12800" y="10232"/>
                </a:lnTo>
                <a:lnTo>
                  <a:pt x="12797" y="10275"/>
                </a:lnTo>
                <a:lnTo>
                  <a:pt x="12796" y="10316"/>
                </a:lnTo>
                <a:lnTo>
                  <a:pt x="12795" y="10355"/>
                </a:lnTo>
                <a:lnTo>
                  <a:pt x="12796" y="10374"/>
                </a:lnTo>
                <a:lnTo>
                  <a:pt x="12797" y="10392"/>
                </a:lnTo>
                <a:lnTo>
                  <a:pt x="12798" y="10410"/>
                </a:lnTo>
                <a:lnTo>
                  <a:pt x="12800" y="10425"/>
                </a:lnTo>
                <a:lnTo>
                  <a:pt x="12803" y="10440"/>
                </a:lnTo>
                <a:lnTo>
                  <a:pt x="12806" y="10453"/>
                </a:lnTo>
                <a:lnTo>
                  <a:pt x="12810" y="10464"/>
                </a:lnTo>
                <a:lnTo>
                  <a:pt x="12815" y="10474"/>
                </a:lnTo>
                <a:lnTo>
                  <a:pt x="12821" y="10481"/>
                </a:lnTo>
                <a:lnTo>
                  <a:pt x="12827" y="10487"/>
                </a:lnTo>
                <a:lnTo>
                  <a:pt x="12834" y="10491"/>
                </a:lnTo>
                <a:lnTo>
                  <a:pt x="12843" y="10492"/>
                </a:lnTo>
                <a:lnTo>
                  <a:pt x="12846" y="10519"/>
                </a:lnTo>
                <a:lnTo>
                  <a:pt x="12854" y="10569"/>
                </a:lnTo>
                <a:lnTo>
                  <a:pt x="12865" y="10632"/>
                </a:lnTo>
                <a:lnTo>
                  <a:pt x="12876" y="10702"/>
                </a:lnTo>
                <a:lnTo>
                  <a:pt x="12881" y="10736"/>
                </a:lnTo>
                <a:lnTo>
                  <a:pt x="12885" y="10769"/>
                </a:lnTo>
                <a:lnTo>
                  <a:pt x="12888" y="10801"/>
                </a:lnTo>
                <a:lnTo>
                  <a:pt x="12889" y="10828"/>
                </a:lnTo>
                <a:lnTo>
                  <a:pt x="12889" y="10840"/>
                </a:lnTo>
                <a:lnTo>
                  <a:pt x="12889" y="10851"/>
                </a:lnTo>
                <a:lnTo>
                  <a:pt x="12888" y="10860"/>
                </a:lnTo>
                <a:lnTo>
                  <a:pt x="12886" y="10869"/>
                </a:lnTo>
                <a:lnTo>
                  <a:pt x="12884" y="10875"/>
                </a:lnTo>
                <a:lnTo>
                  <a:pt x="12881" y="10880"/>
                </a:lnTo>
                <a:lnTo>
                  <a:pt x="12878" y="10883"/>
                </a:lnTo>
                <a:lnTo>
                  <a:pt x="12874" y="10884"/>
                </a:lnTo>
                <a:lnTo>
                  <a:pt x="12873" y="10905"/>
                </a:lnTo>
                <a:lnTo>
                  <a:pt x="12871" y="10925"/>
                </a:lnTo>
                <a:lnTo>
                  <a:pt x="12867" y="10944"/>
                </a:lnTo>
                <a:lnTo>
                  <a:pt x="12862" y="10962"/>
                </a:lnTo>
                <a:lnTo>
                  <a:pt x="12857" y="10980"/>
                </a:lnTo>
                <a:lnTo>
                  <a:pt x="12851" y="10997"/>
                </a:lnTo>
                <a:lnTo>
                  <a:pt x="12844" y="11013"/>
                </a:lnTo>
                <a:lnTo>
                  <a:pt x="12837" y="11030"/>
                </a:lnTo>
                <a:lnTo>
                  <a:pt x="12824" y="11062"/>
                </a:lnTo>
                <a:lnTo>
                  <a:pt x="12812" y="11093"/>
                </a:lnTo>
                <a:lnTo>
                  <a:pt x="12807" y="11109"/>
                </a:lnTo>
                <a:lnTo>
                  <a:pt x="12804" y="11125"/>
                </a:lnTo>
                <a:lnTo>
                  <a:pt x="12801" y="11141"/>
                </a:lnTo>
                <a:lnTo>
                  <a:pt x="12801" y="11159"/>
                </a:lnTo>
                <a:lnTo>
                  <a:pt x="12771" y="11176"/>
                </a:lnTo>
                <a:lnTo>
                  <a:pt x="12740" y="11192"/>
                </a:lnTo>
                <a:lnTo>
                  <a:pt x="12726" y="11200"/>
                </a:lnTo>
                <a:lnTo>
                  <a:pt x="12714" y="11210"/>
                </a:lnTo>
                <a:lnTo>
                  <a:pt x="12708" y="11215"/>
                </a:lnTo>
                <a:lnTo>
                  <a:pt x="12703" y="11220"/>
                </a:lnTo>
                <a:lnTo>
                  <a:pt x="12698" y="11226"/>
                </a:lnTo>
                <a:lnTo>
                  <a:pt x="12694" y="11233"/>
                </a:lnTo>
                <a:lnTo>
                  <a:pt x="12689" y="11233"/>
                </a:lnTo>
                <a:lnTo>
                  <a:pt x="12683" y="11234"/>
                </a:lnTo>
                <a:lnTo>
                  <a:pt x="12677" y="11236"/>
                </a:lnTo>
                <a:lnTo>
                  <a:pt x="12672" y="11239"/>
                </a:lnTo>
                <a:lnTo>
                  <a:pt x="12661" y="11245"/>
                </a:lnTo>
                <a:lnTo>
                  <a:pt x="12651" y="11254"/>
                </a:lnTo>
                <a:lnTo>
                  <a:pt x="12642" y="11265"/>
                </a:lnTo>
                <a:lnTo>
                  <a:pt x="12634" y="11276"/>
                </a:lnTo>
                <a:lnTo>
                  <a:pt x="12626" y="11289"/>
                </a:lnTo>
                <a:lnTo>
                  <a:pt x="12618" y="11302"/>
                </a:lnTo>
                <a:lnTo>
                  <a:pt x="12604" y="11327"/>
                </a:lnTo>
                <a:lnTo>
                  <a:pt x="12591" y="11349"/>
                </a:lnTo>
                <a:lnTo>
                  <a:pt x="12585" y="11358"/>
                </a:lnTo>
                <a:lnTo>
                  <a:pt x="12579" y="11365"/>
                </a:lnTo>
                <a:lnTo>
                  <a:pt x="12576" y="11367"/>
                </a:lnTo>
                <a:lnTo>
                  <a:pt x="12573" y="11369"/>
                </a:lnTo>
                <a:lnTo>
                  <a:pt x="12571" y="11370"/>
                </a:lnTo>
                <a:lnTo>
                  <a:pt x="12568" y="11371"/>
                </a:lnTo>
                <a:lnTo>
                  <a:pt x="12567" y="11397"/>
                </a:lnTo>
                <a:lnTo>
                  <a:pt x="12566" y="11425"/>
                </a:lnTo>
                <a:lnTo>
                  <a:pt x="12564" y="11450"/>
                </a:lnTo>
                <a:lnTo>
                  <a:pt x="12561" y="11475"/>
                </a:lnTo>
                <a:lnTo>
                  <a:pt x="12554" y="11525"/>
                </a:lnTo>
                <a:lnTo>
                  <a:pt x="12547" y="11575"/>
                </a:lnTo>
                <a:lnTo>
                  <a:pt x="12539" y="11625"/>
                </a:lnTo>
                <a:lnTo>
                  <a:pt x="12531" y="11678"/>
                </a:lnTo>
                <a:lnTo>
                  <a:pt x="12528" y="11706"/>
                </a:lnTo>
                <a:lnTo>
                  <a:pt x="12526" y="11734"/>
                </a:lnTo>
                <a:lnTo>
                  <a:pt x="12525" y="11763"/>
                </a:lnTo>
                <a:lnTo>
                  <a:pt x="12525" y="11794"/>
                </a:lnTo>
                <a:lnTo>
                  <a:pt x="12525" y="11795"/>
                </a:lnTo>
                <a:lnTo>
                  <a:pt x="12526" y="11797"/>
                </a:lnTo>
                <a:lnTo>
                  <a:pt x="12525" y="11800"/>
                </a:lnTo>
                <a:lnTo>
                  <a:pt x="12524" y="11804"/>
                </a:lnTo>
                <a:lnTo>
                  <a:pt x="12521" y="11816"/>
                </a:lnTo>
                <a:lnTo>
                  <a:pt x="12516" y="11831"/>
                </a:lnTo>
                <a:lnTo>
                  <a:pt x="12503" y="11870"/>
                </a:lnTo>
                <a:lnTo>
                  <a:pt x="12487" y="11915"/>
                </a:lnTo>
                <a:lnTo>
                  <a:pt x="12470" y="11961"/>
                </a:lnTo>
                <a:lnTo>
                  <a:pt x="12455" y="12001"/>
                </a:lnTo>
                <a:lnTo>
                  <a:pt x="12445" y="12032"/>
                </a:lnTo>
                <a:lnTo>
                  <a:pt x="12441" y="12048"/>
                </a:lnTo>
                <a:lnTo>
                  <a:pt x="12425" y="12059"/>
                </a:lnTo>
                <a:lnTo>
                  <a:pt x="12406" y="12074"/>
                </a:lnTo>
                <a:lnTo>
                  <a:pt x="12386" y="12090"/>
                </a:lnTo>
                <a:lnTo>
                  <a:pt x="12364" y="12109"/>
                </a:lnTo>
                <a:lnTo>
                  <a:pt x="12342" y="12130"/>
                </a:lnTo>
                <a:lnTo>
                  <a:pt x="12319" y="12152"/>
                </a:lnTo>
                <a:lnTo>
                  <a:pt x="12297" y="12176"/>
                </a:lnTo>
                <a:lnTo>
                  <a:pt x="12273" y="12200"/>
                </a:lnTo>
                <a:lnTo>
                  <a:pt x="12252" y="12225"/>
                </a:lnTo>
                <a:lnTo>
                  <a:pt x="12232" y="12250"/>
                </a:lnTo>
                <a:lnTo>
                  <a:pt x="12213" y="12275"/>
                </a:lnTo>
                <a:lnTo>
                  <a:pt x="12197" y="12300"/>
                </a:lnTo>
                <a:lnTo>
                  <a:pt x="12190" y="12312"/>
                </a:lnTo>
                <a:lnTo>
                  <a:pt x="12184" y="12324"/>
                </a:lnTo>
                <a:lnTo>
                  <a:pt x="12179" y="12335"/>
                </a:lnTo>
                <a:lnTo>
                  <a:pt x="12174" y="12346"/>
                </a:lnTo>
                <a:lnTo>
                  <a:pt x="12170" y="12357"/>
                </a:lnTo>
                <a:lnTo>
                  <a:pt x="12168" y="12367"/>
                </a:lnTo>
                <a:lnTo>
                  <a:pt x="12166" y="12377"/>
                </a:lnTo>
                <a:lnTo>
                  <a:pt x="12166" y="12386"/>
                </a:lnTo>
                <a:lnTo>
                  <a:pt x="12160" y="12395"/>
                </a:lnTo>
                <a:lnTo>
                  <a:pt x="12143" y="12418"/>
                </a:lnTo>
                <a:lnTo>
                  <a:pt x="12120" y="12450"/>
                </a:lnTo>
                <a:lnTo>
                  <a:pt x="12094" y="12487"/>
                </a:lnTo>
                <a:lnTo>
                  <a:pt x="12066" y="12526"/>
                </a:lnTo>
                <a:lnTo>
                  <a:pt x="12041" y="12563"/>
                </a:lnTo>
                <a:lnTo>
                  <a:pt x="12019" y="12591"/>
                </a:lnTo>
                <a:lnTo>
                  <a:pt x="12006" y="12609"/>
                </a:lnTo>
                <a:lnTo>
                  <a:pt x="11979" y="12611"/>
                </a:lnTo>
                <a:lnTo>
                  <a:pt x="11933" y="12619"/>
                </a:lnTo>
                <a:lnTo>
                  <a:pt x="11874" y="12629"/>
                </a:lnTo>
                <a:lnTo>
                  <a:pt x="11811" y="12642"/>
                </a:lnTo>
                <a:lnTo>
                  <a:pt x="11779" y="12649"/>
                </a:lnTo>
                <a:lnTo>
                  <a:pt x="11749" y="12656"/>
                </a:lnTo>
                <a:lnTo>
                  <a:pt x="11722" y="12664"/>
                </a:lnTo>
                <a:lnTo>
                  <a:pt x="11697" y="12670"/>
                </a:lnTo>
                <a:lnTo>
                  <a:pt x="11676" y="12677"/>
                </a:lnTo>
                <a:lnTo>
                  <a:pt x="11661" y="12683"/>
                </a:lnTo>
                <a:lnTo>
                  <a:pt x="11654" y="12686"/>
                </a:lnTo>
                <a:lnTo>
                  <a:pt x="11650" y="12689"/>
                </a:lnTo>
                <a:lnTo>
                  <a:pt x="11647" y="12691"/>
                </a:lnTo>
                <a:lnTo>
                  <a:pt x="11646" y="12694"/>
                </a:lnTo>
                <a:lnTo>
                  <a:pt x="11632" y="12694"/>
                </a:lnTo>
                <a:lnTo>
                  <a:pt x="11616" y="12696"/>
                </a:lnTo>
                <a:lnTo>
                  <a:pt x="11598" y="12698"/>
                </a:lnTo>
                <a:lnTo>
                  <a:pt x="11579" y="12701"/>
                </a:lnTo>
                <a:lnTo>
                  <a:pt x="11538" y="12707"/>
                </a:lnTo>
                <a:lnTo>
                  <a:pt x="11494" y="12713"/>
                </a:lnTo>
                <a:lnTo>
                  <a:pt x="11472" y="12714"/>
                </a:lnTo>
                <a:lnTo>
                  <a:pt x="11452" y="12715"/>
                </a:lnTo>
                <a:lnTo>
                  <a:pt x="11432" y="12714"/>
                </a:lnTo>
                <a:lnTo>
                  <a:pt x="11414" y="12712"/>
                </a:lnTo>
                <a:lnTo>
                  <a:pt x="11406" y="12710"/>
                </a:lnTo>
                <a:lnTo>
                  <a:pt x="11397" y="12708"/>
                </a:lnTo>
                <a:lnTo>
                  <a:pt x="11389" y="12706"/>
                </a:lnTo>
                <a:lnTo>
                  <a:pt x="11382" y="12702"/>
                </a:lnTo>
                <a:lnTo>
                  <a:pt x="11376" y="12699"/>
                </a:lnTo>
                <a:lnTo>
                  <a:pt x="11370" y="12694"/>
                </a:lnTo>
                <a:lnTo>
                  <a:pt x="11365" y="12689"/>
                </a:lnTo>
                <a:lnTo>
                  <a:pt x="11361" y="12683"/>
                </a:lnTo>
                <a:lnTo>
                  <a:pt x="11360" y="12671"/>
                </a:lnTo>
                <a:lnTo>
                  <a:pt x="11359" y="12657"/>
                </a:lnTo>
                <a:lnTo>
                  <a:pt x="11357" y="12643"/>
                </a:lnTo>
                <a:lnTo>
                  <a:pt x="11355" y="12629"/>
                </a:lnTo>
                <a:lnTo>
                  <a:pt x="11349" y="12601"/>
                </a:lnTo>
                <a:lnTo>
                  <a:pt x="11342" y="12571"/>
                </a:lnTo>
                <a:lnTo>
                  <a:pt x="11334" y="12540"/>
                </a:lnTo>
                <a:lnTo>
                  <a:pt x="11327" y="12506"/>
                </a:lnTo>
                <a:lnTo>
                  <a:pt x="11325" y="12490"/>
                </a:lnTo>
                <a:lnTo>
                  <a:pt x="11322" y="12474"/>
                </a:lnTo>
                <a:lnTo>
                  <a:pt x="11320" y="12457"/>
                </a:lnTo>
                <a:lnTo>
                  <a:pt x="11319" y="12440"/>
                </a:lnTo>
                <a:lnTo>
                  <a:pt x="11316" y="12440"/>
                </a:lnTo>
                <a:lnTo>
                  <a:pt x="11313" y="12438"/>
                </a:lnTo>
                <a:lnTo>
                  <a:pt x="11310" y="12437"/>
                </a:lnTo>
                <a:lnTo>
                  <a:pt x="11308" y="12434"/>
                </a:lnTo>
                <a:lnTo>
                  <a:pt x="11303" y="12427"/>
                </a:lnTo>
                <a:lnTo>
                  <a:pt x="11298" y="12419"/>
                </a:lnTo>
                <a:lnTo>
                  <a:pt x="11291" y="12396"/>
                </a:lnTo>
                <a:lnTo>
                  <a:pt x="11283" y="12371"/>
                </a:lnTo>
                <a:lnTo>
                  <a:pt x="11275" y="12346"/>
                </a:lnTo>
                <a:lnTo>
                  <a:pt x="11266" y="12324"/>
                </a:lnTo>
                <a:lnTo>
                  <a:pt x="11262" y="12315"/>
                </a:lnTo>
                <a:lnTo>
                  <a:pt x="11256" y="12308"/>
                </a:lnTo>
                <a:lnTo>
                  <a:pt x="11254" y="12306"/>
                </a:lnTo>
                <a:lnTo>
                  <a:pt x="11251" y="12304"/>
                </a:lnTo>
                <a:lnTo>
                  <a:pt x="11248" y="12303"/>
                </a:lnTo>
                <a:lnTo>
                  <a:pt x="11244" y="12303"/>
                </a:lnTo>
                <a:lnTo>
                  <a:pt x="11242" y="12293"/>
                </a:lnTo>
                <a:lnTo>
                  <a:pt x="11236" y="12275"/>
                </a:lnTo>
                <a:lnTo>
                  <a:pt x="11226" y="12251"/>
                </a:lnTo>
                <a:lnTo>
                  <a:pt x="11214" y="12222"/>
                </a:lnTo>
                <a:lnTo>
                  <a:pt x="11183" y="12151"/>
                </a:lnTo>
                <a:lnTo>
                  <a:pt x="11147" y="12074"/>
                </a:lnTo>
                <a:lnTo>
                  <a:pt x="11130" y="12036"/>
                </a:lnTo>
                <a:lnTo>
                  <a:pt x="11114" y="11997"/>
                </a:lnTo>
                <a:lnTo>
                  <a:pt x="11100" y="11963"/>
                </a:lnTo>
                <a:lnTo>
                  <a:pt x="11088" y="11932"/>
                </a:lnTo>
                <a:lnTo>
                  <a:pt x="11079" y="11905"/>
                </a:lnTo>
                <a:lnTo>
                  <a:pt x="11073" y="11885"/>
                </a:lnTo>
                <a:lnTo>
                  <a:pt x="11072" y="11878"/>
                </a:lnTo>
                <a:lnTo>
                  <a:pt x="11072" y="11872"/>
                </a:lnTo>
                <a:lnTo>
                  <a:pt x="11073" y="11869"/>
                </a:lnTo>
                <a:lnTo>
                  <a:pt x="11075" y="11868"/>
                </a:lnTo>
                <a:lnTo>
                  <a:pt x="11074" y="11848"/>
                </a:lnTo>
                <a:lnTo>
                  <a:pt x="11070" y="11822"/>
                </a:lnTo>
                <a:lnTo>
                  <a:pt x="11064" y="11793"/>
                </a:lnTo>
                <a:lnTo>
                  <a:pt x="11057" y="11762"/>
                </a:lnTo>
                <a:lnTo>
                  <a:pt x="11049" y="11734"/>
                </a:lnTo>
                <a:lnTo>
                  <a:pt x="11043" y="11710"/>
                </a:lnTo>
                <a:lnTo>
                  <a:pt x="11040" y="11701"/>
                </a:lnTo>
                <a:lnTo>
                  <a:pt x="11037" y="11694"/>
                </a:lnTo>
                <a:lnTo>
                  <a:pt x="11035" y="11690"/>
                </a:lnTo>
                <a:lnTo>
                  <a:pt x="11033" y="11688"/>
                </a:lnTo>
                <a:lnTo>
                  <a:pt x="11033" y="11675"/>
                </a:lnTo>
                <a:lnTo>
                  <a:pt x="11032" y="11661"/>
                </a:lnTo>
                <a:lnTo>
                  <a:pt x="11031" y="11647"/>
                </a:lnTo>
                <a:lnTo>
                  <a:pt x="11029" y="11634"/>
                </a:lnTo>
                <a:lnTo>
                  <a:pt x="11023" y="11608"/>
                </a:lnTo>
                <a:lnTo>
                  <a:pt x="11016" y="11583"/>
                </a:lnTo>
                <a:lnTo>
                  <a:pt x="11008" y="11557"/>
                </a:lnTo>
                <a:lnTo>
                  <a:pt x="10999" y="11533"/>
                </a:lnTo>
                <a:lnTo>
                  <a:pt x="10989" y="11507"/>
                </a:lnTo>
                <a:lnTo>
                  <a:pt x="10980" y="11483"/>
                </a:lnTo>
                <a:lnTo>
                  <a:pt x="10970" y="11458"/>
                </a:lnTo>
                <a:lnTo>
                  <a:pt x="10960" y="11434"/>
                </a:lnTo>
                <a:lnTo>
                  <a:pt x="10951" y="11410"/>
                </a:lnTo>
                <a:lnTo>
                  <a:pt x="10943" y="11385"/>
                </a:lnTo>
                <a:lnTo>
                  <a:pt x="10937" y="11360"/>
                </a:lnTo>
                <a:lnTo>
                  <a:pt x="10932" y="11336"/>
                </a:lnTo>
                <a:lnTo>
                  <a:pt x="10930" y="11324"/>
                </a:lnTo>
                <a:lnTo>
                  <a:pt x="10928" y="11311"/>
                </a:lnTo>
                <a:lnTo>
                  <a:pt x="10927" y="11299"/>
                </a:lnTo>
                <a:lnTo>
                  <a:pt x="10927" y="11286"/>
                </a:lnTo>
                <a:lnTo>
                  <a:pt x="10924" y="11286"/>
                </a:lnTo>
                <a:lnTo>
                  <a:pt x="10921" y="11283"/>
                </a:lnTo>
                <a:lnTo>
                  <a:pt x="10918" y="11279"/>
                </a:lnTo>
                <a:lnTo>
                  <a:pt x="10914" y="11273"/>
                </a:lnTo>
                <a:lnTo>
                  <a:pt x="10907" y="11258"/>
                </a:lnTo>
                <a:lnTo>
                  <a:pt x="10900" y="11239"/>
                </a:lnTo>
                <a:lnTo>
                  <a:pt x="10891" y="11217"/>
                </a:lnTo>
                <a:lnTo>
                  <a:pt x="10884" y="11192"/>
                </a:lnTo>
                <a:lnTo>
                  <a:pt x="10877" y="11166"/>
                </a:lnTo>
                <a:lnTo>
                  <a:pt x="10871" y="11137"/>
                </a:lnTo>
                <a:lnTo>
                  <a:pt x="10865" y="11110"/>
                </a:lnTo>
                <a:lnTo>
                  <a:pt x="10861" y="11083"/>
                </a:lnTo>
                <a:lnTo>
                  <a:pt x="10857" y="11059"/>
                </a:lnTo>
                <a:lnTo>
                  <a:pt x="10855" y="11036"/>
                </a:lnTo>
                <a:lnTo>
                  <a:pt x="10854" y="11017"/>
                </a:lnTo>
                <a:lnTo>
                  <a:pt x="10855" y="11002"/>
                </a:lnTo>
                <a:lnTo>
                  <a:pt x="10857" y="10997"/>
                </a:lnTo>
                <a:lnTo>
                  <a:pt x="10858" y="10993"/>
                </a:lnTo>
                <a:lnTo>
                  <a:pt x="10861" y="10990"/>
                </a:lnTo>
                <a:lnTo>
                  <a:pt x="10863" y="10990"/>
                </a:lnTo>
                <a:lnTo>
                  <a:pt x="10864" y="10961"/>
                </a:lnTo>
                <a:lnTo>
                  <a:pt x="10866" y="10934"/>
                </a:lnTo>
                <a:lnTo>
                  <a:pt x="10868" y="10908"/>
                </a:lnTo>
                <a:lnTo>
                  <a:pt x="10872" y="10881"/>
                </a:lnTo>
                <a:lnTo>
                  <a:pt x="10876" y="10856"/>
                </a:lnTo>
                <a:lnTo>
                  <a:pt x="10882" y="10831"/>
                </a:lnTo>
                <a:lnTo>
                  <a:pt x="10887" y="10807"/>
                </a:lnTo>
                <a:lnTo>
                  <a:pt x="10893" y="10782"/>
                </a:lnTo>
                <a:lnTo>
                  <a:pt x="10907" y="10731"/>
                </a:lnTo>
                <a:lnTo>
                  <a:pt x="10919" y="10679"/>
                </a:lnTo>
                <a:lnTo>
                  <a:pt x="10925" y="10651"/>
                </a:lnTo>
                <a:lnTo>
                  <a:pt x="10931" y="10622"/>
                </a:lnTo>
                <a:lnTo>
                  <a:pt x="10936" y="10592"/>
                </a:lnTo>
                <a:lnTo>
                  <a:pt x="10941" y="10560"/>
                </a:lnTo>
                <a:lnTo>
                  <a:pt x="10944" y="10526"/>
                </a:lnTo>
                <a:lnTo>
                  <a:pt x="10947" y="10492"/>
                </a:lnTo>
                <a:lnTo>
                  <a:pt x="10948" y="10461"/>
                </a:lnTo>
                <a:lnTo>
                  <a:pt x="10948" y="10431"/>
                </a:lnTo>
                <a:lnTo>
                  <a:pt x="10948" y="10402"/>
                </a:lnTo>
                <a:lnTo>
                  <a:pt x="10946" y="10373"/>
                </a:lnTo>
                <a:lnTo>
                  <a:pt x="10943" y="10346"/>
                </a:lnTo>
                <a:lnTo>
                  <a:pt x="10940" y="10320"/>
                </a:lnTo>
                <a:lnTo>
                  <a:pt x="10935" y="10295"/>
                </a:lnTo>
                <a:lnTo>
                  <a:pt x="10931" y="10270"/>
                </a:lnTo>
                <a:lnTo>
                  <a:pt x="10926" y="10244"/>
                </a:lnTo>
                <a:lnTo>
                  <a:pt x="10920" y="10220"/>
                </a:lnTo>
                <a:lnTo>
                  <a:pt x="10908" y="10171"/>
                </a:lnTo>
                <a:lnTo>
                  <a:pt x="10895" y="10121"/>
                </a:lnTo>
                <a:lnTo>
                  <a:pt x="10891" y="10120"/>
                </a:lnTo>
                <a:lnTo>
                  <a:pt x="10886" y="10117"/>
                </a:lnTo>
                <a:lnTo>
                  <a:pt x="10881" y="10112"/>
                </a:lnTo>
                <a:lnTo>
                  <a:pt x="10875" y="10105"/>
                </a:lnTo>
                <a:lnTo>
                  <a:pt x="10862" y="10088"/>
                </a:lnTo>
                <a:lnTo>
                  <a:pt x="10848" y="10068"/>
                </a:lnTo>
                <a:lnTo>
                  <a:pt x="10835" y="10047"/>
                </a:lnTo>
                <a:lnTo>
                  <a:pt x="10824" y="10026"/>
                </a:lnTo>
                <a:lnTo>
                  <a:pt x="10815" y="10007"/>
                </a:lnTo>
                <a:lnTo>
                  <a:pt x="10811" y="9995"/>
                </a:lnTo>
                <a:lnTo>
                  <a:pt x="10795" y="9983"/>
                </a:lnTo>
                <a:lnTo>
                  <a:pt x="10781" y="9971"/>
                </a:lnTo>
                <a:lnTo>
                  <a:pt x="10768" y="9958"/>
                </a:lnTo>
                <a:lnTo>
                  <a:pt x="10756" y="9943"/>
                </a:lnTo>
                <a:lnTo>
                  <a:pt x="10746" y="9928"/>
                </a:lnTo>
                <a:lnTo>
                  <a:pt x="10736" y="9911"/>
                </a:lnTo>
                <a:lnTo>
                  <a:pt x="10728" y="9894"/>
                </a:lnTo>
                <a:lnTo>
                  <a:pt x="10720" y="9876"/>
                </a:lnTo>
                <a:lnTo>
                  <a:pt x="10714" y="9857"/>
                </a:lnTo>
                <a:lnTo>
                  <a:pt x="10709" y="9839"/>
                </a:lnTo>
                <a:lnTo>
                  <a:pt x="10704" y="9819"/>
                </a:lnTo>
                <a:lnTo>
                  <a:pt x="10701" y="9800"/>
                </a:lnTo>
                <a:lnTo>
                  <a:pt x="10698" y="9780"/>
                </a:lnTo>
                <a:lnTo>
                  <a:pt x="10696" y="9759"/>
                </a:lnTo>
                <a:lnTo>
                  <a:pt x="10695" y="9740"/>
                </a:lnTo>
                <a:lnTo>
                  <a:pt x="10694" y="9720"/>
                </a:lnTo>
                <a:lnTo>
                  <a:pt x="10699" y="9713"/>
                </a:lnTo>
                <a:lnTo>
                  <a:pt x="10704" y="9706"/>
                </a:lnTo>
                <a:lnTo>
                  <a:pt x="10709" y="9698"/>
                </a:lnTo>
                <a:lnTo>
                  <a:pt x="10713" y="9689"/>
                </a:lnTo>
                <a:lnTo>
                  <a:pt x="10722" y="9668"/>
                </a:lnTo>
                <a:lnTo>
                  <a:pt x="10729" y="9645"/>
                </a:lnTo>
                <a:lnTo>
                  <a:pt x="10736" y="9619"/>
                </a:lnTo>
                <a:lnTo>
                  <a:pt x="10742" y="9592"/>
                </a:lnTo>
                <a:lnTo>
                  <a:pt x="10747" y="9564"/>
                </a:lnTo>
                <a:lnTo>
                  <a:pt x="10752" y="9536"/>
                </a:lnTo>
                <a:lnTo>
                  <a:pt x="10755" y="9506"/>
                </a:lnTo>
                <a:lnTo>
                  <a:pt x="10758" y="9477"/>
                </a:lnTo>
                <a:lnTo>
                  <a:pt x="10760" y="9449"/>
                </a:lnTo>
                <a:lnTo>
                  <a:pt x="10761" y="9423"/>
                </a:lnTo>
                <a:lnTo>
                  <a:pt x="10761" y="9398"/>
                </a:lnTo>
                <a:lnTo>
                  <a:pt x="10761" y="9375"/>
                </a:lnTo>
                <a:lnTo>
                  <a:pt x="10759" y="9355"/>
                </a:lnTo>
                <a:lnTo>
                  <a:pt x="10757" y="9339"/>
                </a:lnTo>
                <a:lnTo>
                  <a:pt x="10738" y="9330"/>
                </a:lnTo>
                <a:lnTo>
                  <a:pt x="10720" y="9323"/>
                </a:lnTo>
                <a:lnTo>
                  <a:pt x="10704" y="9317"/>
                </a:lnTo>
                <a:lnTo>
                  <a:pt x="10688" y="9312"/>
                </a:lnTo>
                <a:lnTo>
                  <a:pt x="10673" y="9309"/>
                </a:lnTo>
                <a:lnTo>
                  <a:pt x="10658" y="9306"/>
                </a:lnTo>
                <a:lnTo>
                  <a:pt x="10643" y="9305"/>
                </a:lnTo>
                <a:lnTo>
                  <a:pt x="10628" y="9304"/>
                </a:lnTo>
                <a:lnTo>
                  <a:pt x="10599" y="9304"/>
                </a:lnTo>
                <a:lnTo>
                  <a:pt x="10568" y="9305"/>
                </a:lnTo>
                <a:lnTo>
                  <a:pt x="10533" y="9306"/>
                </a:lnTo>
                <a:lnTo>
                  <a:pt x="10493" y="9307"/>
                </a:lnTo>
                <a:lnTo>
                  <a:pt x="10485" y="9295"/>
                </a:lnTo>
                <a:lnTo>
                  <a:pt x="10476" y="9284"/>
                </a:lnTo>
                <a:lnTo>
                  <a:pt x="10464" y="9274"/>
                </a:lnTo>
                <a:lnTo>
                  <a:pt x="10451" y="9266"/>
                </a:lnTo>
                <a:lnTo>
                  <a:pt x="10435" y="9257"/>
                </a:lnTo>
                <a:lnTo>
                  <a:pt x="10418" y="9251"/>
                </a:lnTo>
                <a:lnTo>
                  <a:pt x="10400" y="9245"/>
                </a:lnTo>
                <a:lnTo>
                  <a:pt x="10379" y="9241"/>
                </a:lnTo>
                <a:lnTo>
                  <a:pt x="10359" y="9237"/>
                </a:lnTo>
                <a:lnTo>
                  <a:pt x="10337" y="9234"/>
                </a:lnTo>
                <a:lnTo>
                  <a:pt x="10314" y="9231"/>
                </a:lnTo>
                <a:lnTo>
                  <a:pt x="10290" y="9230"/>
                </a:lnTo>
                <a:lnTo>
                  <a:pt x="10264" y="9229"/>
                </a:lnTo>
                <a:lnTo>
                  <a:pt x="10239" y="9228"/>
                </a:lnTo>
                <a:lnTo>
                  <a:pt x="10214" y="9228"/>
                </a:lnTo>
                <a:lnTo>
                  <a:pt x="10188" y="9229"/>
                </a:lnTo>
                <a:lnTo>
                  <a:pt x="10135" y="9231"/>
                </a:lnTo>
                <a:lnTo>
                  <a:pt x="10083" y="9234"/>
                </a:lnTo>
                <a:lnTo>
                  <a:pt x="10033" y="9238"/>
                </a:lnTo>
                <a:lnTo>
                  <a:pt x="9984" y="9243"/>
                </a:lnTo>
                <a:lnTo>
                  <a:pt x="9940" y="9247"/>
                </a:lnTo>
                <a:lnTo>
                  <a:pt x="9900" y="9250"/>
                </a:lnTo>
                <a:lnTo>
                  <a:pt x="9864" y="9253"/>
                </a:lnTo>
                <a:lnTo>
                  <a:pt x="9836" y="9254"/>
                </a:lnTo>
                <a:lnTo>
                  <a:pt x="9836" y="9260"/>
                </a:lnTo>
                <a:lnTo>
                  <a:pt x="9833" y="9267"/>
                </a:lnTo>
                <a:lnTo>
                  <a:pt x="9829" y="9271"/>
                </a:lnTo>
                <a:lnTo>
                  <a:pt x="9823" y="9275"/>
                </a:lnTo>
                <a:lnTo>
                  <a:pt x="9816" y="9278"/>
                </a:lnTo>
                <a:lnTo>
                  <a:pt x="9807" y="9281"/>
                </a:lnTo>
                <a:lnTo>
                  <a:pt x="9797" y="9282"/>
                </a:lnTo>
                <a:lnTo>
                  <a:pt x="9787" y="9283"/>
                </a:lnTo>
                <a:lnTo>
                  <a:pt x="9775" y="9283"/>
                </a:lnTo>
                <a:lnTo>
                  <a:pt x="9761" y="9283"/>
                </a:lnTo>
                <a:lnTo>
                  <a:pt x="9748" y="9281"/>
                </a:lnTo>
                <a:lnTo>
                  <a:pt x="9734" y="9280"/>
                </a:lnTo>
                <a:lnTo>
                  <a:pt x="9704" y="9275"/>
                </a:lnTo>
                <a:lnTo>
                  <a:pt x="9674" y="9268"/>
                </a:lnTo>
                <a:lnTo>
                  <a:pt x="9642" y="9259"/>
                </a:lnTo>
                <a:lnTo>
                  <a:pt x="9611" y="9249"/>
                </a:lnTo>
                <a:lnTo>
                  <a:pt x="9582" y="9238"/>
                </a:lnTo>
                <a:lnTo>
                  <a:pt x="9555" y="9227"/>
                </a:lnTo>
                <a:lnTo>
                  <a:pt x="9543" y="9221"/>
                </a:lnTo>
                <a:lnTo>
                  <a:pt x="9531" y="9215"/>
                </a:lnTo>
                <a:lnTo>
                  <a:pt x="9521" y="9209"/>
                </a:lnTo>
                <a:lnTo>
                  <a:pt x="9511" y="9203"/>
                </a:lnTo>
                <a:lnTo>
                  <a:pt x="9503" y="9197"/>
                </a:lnTo>
                <a:lnTo>
                  <a:pt x="9496" y="9191"/>
                </a:lnTo>
                <a:lnTo>
                  <a:pt x="9491" y="9186"/>
                </a:lnTo>
                <a:lnTo>
                  <a:pt x="9487" y="9180"/>
                </a:lnTo>
                <a:lnTo>
                  <a:pt x="9480" y="9179"/>
                </a:lnTo>
                <a:lnTo>
                  <a:pt x="9472" y="9178"/>
                </a:lnTo>
                <a:lnTo>
                  <a:pt x="9464" y="9176"/>
                </a:lnTo>
                <a:lnTo>
                  <a:pt x="9455" y="9173"/>
                </a:lnTo>
                <a:lnTo>
                  <a:pt x="9446" y="9169"/>
                </a:lnTo>
                <a:lnTo>
                  <a:pt x="9437" y="9164"/>
                </a:lnTo>
                <a:lnTo>
                  <a:pt x="9428" y="9159"/>
                </a:lnTo>
                <a:lnTo>
                  <a:pt x="9418" y="9153"/>
                </a:lnTo>
                <a:lnTo>
                  <a:pt x="9399" y="9139"/>
                </a:lnTo>
                <a:lnTo>
                  <a:pt x="9379" y="9123"/>
                </a:lnTo>
                <a:lnTo>
                  <a:pt x="9360" y="9106"/>
                </a:lnTo>
                <a:lnTo>
                  <a:pt x="9342" y="9087"/>
                </a:lnTo>
                <a:lnTo>
                  <a:pt x="9324" y="9068"/>
                </a:lnTo>
                <a:lnTo>
                  <a:pt x="9308" y="9048"/>
                </a:lnTo>
                <a:lnTo>
                  <a:pt x="9293" y="9028"/>
                </a:lnTo>
                <a:lnTo>
                  <a:pt x="9280" y="9007"/>
                </a:lnTo>
                <a:lnTo>
                  <a:pt x="9270" y="8987"/>
                </a:lnTo>
                <a:lnTo>
                  <a:pt x="9262" y="8969"/>
                </a:lnTo>
                <a:lnTo>
                  <a:pt x="9258" y="8960"/>
                </a:lnTo>
                <a:lnTo>
                  <a:pt x="9256" y="8952"/>
                </a:lnTo>
                <a:lnTo>
                  <a:pt x="9255" y="8944"/>
                </a:lnTo>
                <a:lnTo>
                  <a:pt x="9254" y="8937"/>
                </a:lnTo>
                <a:lnTo>
                  <a:pt x="9246" y="8931"/>
                </a:lnTo>
                <a:lnTo>
                  <a:pt x="9238" y="8923"/>
                </a:lnTo>
                <a:lnTo>
                  <a:pt x="9229" y="8915"/>
                </a:lnTo>
                <a:lnTo>
                  <a:pt x="9220" y="8906"/>
                </a:lnTo>
                <a:lnTo>
                  <a:pt x="9202" y="8884"/>
                </a:lnTo>
                <a:lnTo>
                  <a:pt x="9184" y="8858"/>
                </a:lnTo>
                <a:lnTo>
                  <a:pt x="9166" y="8830"/>
                </a:lnTo>
                <a:lnTo>
                  <a:pt x="9147" y="8799"/>
                </a:lnTo>
                <a:lnTo>
                  <a:pt x="9129" y="8767"/>
                </a:lnTo>
                <a:lnTo>
                  <a:pt x="9111" y="8733"/>
                </a:lnTo>
                <a:lnTo>
                  <a:pt x="9095" y="8700"/>
                </a:lnTo>
                <a:lnTo>
                  <a:pt x="9080" y="8666"/>
                </a:lnTo>
                <a:lnTo>
                  <a:pt x="9067" y="8634"/>
                </a:lnTo>
                <a:lnTo>
                  <a:pt x="9056" y="8602"/>
                </a:lnTo>
                <a:lnTo>
                  <a:pt x="9046" y="8573"/>
                </a:lnTo>
                <a:lnTo>
                  <a:pt x="9039" y="8546"/>
                </a:lnTo>
                <a:lnTo>
                  <a:pt x="9037" y="8534"/>
                </a:lnTo>
                <a:lnTo>
                  <a:pt x="9035" y="8523"/>
                </a:lnTo>
                <a:lnTo>
                  <a:pt x="9033" y="8512"/>
                </a:lnTo>
                <a:lnTo>
                  <a:pt x="9033" y="8502"/>
                </a:lnTo>
                <a:lnTo>
                  <a:pt x="9026" y="8498"/>
                </a:lnTo>
                <a:lnTo>
                  <a:pt x="9020" y="8494"/>
                </a:lnTo>
                <a:lnTo>
                  <a:pt x="9015" y="8489"/>
                </a:lnTo>
                <a:lnTo>
                  <a:pt x="9010" y="8484"/>
                </a:lnTo>
                <a:lnTo>
                  <a:pt x="9004" y="8478"/>
                </a:lnTo>
                <a:lnTo>
                  <a:pt x="9000" y="8472"/>
                </a:lnTo>
                <a:lnTo>
                  <a:pt x="8997" y="8465"/>
                </a:lnTo>
                <a:lnTo>
                  <a:pt x="8994" y="8459"/>
                </a:lnTo>
                <a:lnTo>
                  <a:pt x="8989" y="8444"/>
                </a:lnTo>
                <a:lnTo>
                  <a:pt x="8986" y="8429"/>
                </a:lnTo>
                <a:lnTo>
                  <a:pt x="8984" y="8414"/>
                </a:lnTo>
                <a:lnTo>
                  <a:pt x="8984" y="8399"/>
                </a:lnTo>
                <a:lnTo>
                  <a:pt x="8985" y="8384"/>
                </a:lnTo>
                <a:lnTo>
                  <a:pt x="8988" y="8369"/>
                </a:lnTo>
                <a:lnTo>
                  <a:pt x="8991" y="8357"/>
                </a:lnTo>
                <a:lnTo>
                  <a:pt x="8996" y="8345"/>
                </a:lnTo>
                <a:lnTo>
                  <a:pt x="9001" y="8336"/>
                </a:lnTo>
                <a:lnTo>
                  <a:pt x="9007" y="8329"/>
                </a:lnTo>
                <a:lnTo>
                  <a:pt x="9011" y="8326"/>
                </a:lnTo>
                <a:lnTo>
                  <a:pt x="9015" y="8324"/>
                </a:lnTo>
                <a:lnTo>
                  <a:pt x="9019" y="8323"/>
                </a:lnTo>
                <a:lnTo>
                  <a:pt x="9022" y="8323"/>
                </a:lnTo>
                <a:lnTo>
                  <a:pt x="9024" y="8314"/>
                </a:lnTo>
                <a:lnTo>
                  <a:pt x="9024" y="8304"/>
                </a:lnTo>
                <a:lnTo>
                  <a:pt x="9024" y="8293"/>
                </a:lnTo>
                <a:lnTo>
                  <a:pt x="9022" y="8280"/>
                </a:lnTo>
                <a:lnTo>
                  <a:pt x="9018" y="8249"/>
                </a:lnTo>
                <a:lnTo>
                  <a:pt x="9011" y="8218"/>
                </a:lnTo>
                <a:lnTo>
                  <a:pt x="9002" y="8185"/>
                </a:lnTo>
                <a:lnTo>
                  <a:pt x="8994" y="8153"/>
                </a:lnTo>
                <a:lnTo>
                  <a:pt x="8986" y="8123"/>
                </a:lnTo>
                <a:lnTo>
                  <a:pt x="8978" y="8098"/>
                </a:lnTo>
                <a:lnTo>
                  <a:pt x="8977" y="8090"/>
                </a:lnTo>
                <a:lnTo>
                  <a:pt x="8977" y="8081"/>
                </a:lnTo>
                <a:lnTo>
                  <a:pt x="8978" y="8073"/>
                </a:lnTo>
                <a:lnTo>
                  <a:pt x="8980" y="8064"/>
                </a:lnTo>
                <a:lnTo>
                  <a:pt x="8986" y="8047"/>
                </a:lnTo>
                <a:lnTo>
                  <a:pt x="8995" y="8029"/>
                </a:lnTo>
                <a:lnTo>
                  <a:pt x="9004" y="8010"/>
                </a:lnTo>
                <a:lnTo>
                  <a:pt x="9014" y="7991"/>
                </a:lnTo>
                <a:lnTo>
                  <a:pt x="9017" y="7981"/>
                </a:lnTo>
                <a:lnTo>
                  <a:pt x="9020" y="7972"/>
                </a:lnTo>
                <a:lnTo>
                  <a:pt x="9022" y="7962"/>
                </a:lnTo>
                <a:lnTo>
                  <a:pt x="9022" y="7952"/>
                </a:lnTo>
                <a:lnTo>
                  <a:pt x="9023" y="7901"/>
                </a:lnTo>
                <a:lnTo>
                  <a:pt x="9024" y="7854"/>
                </a:lnTo>
                <a:lnTo>
                  <a:pt x="9026" y="7832"/>
                </a:lnTo>
                <a:lnTo>
                  <a:pt x="9028" y="7811"/>
                </a:lnTo>
                <a:lnTo>
                  <a:pt x="9031" y="7791"/>
                </a:lnTo>
                <a:lnTo>
                  <a:pt x="9034" y="7770"/>
                </a:lnTo>
                <a:lnTo>
                  <a:pt x="9039" y="7748"/>
                </a:lnTo>
                <a:lnTo>
                  <a:pt x="9045" y="7727"/>
                </a:lnTo>
                <a:lnTo>
                  <a:pt x="9052" y="7706"/>
                </a:lnTo>
                <a:lnTo>
                  <a:pt x="9060" y="7683"/>
                </a:lnTo>
                <a:lnTo>
                  <a:pt x="9069" y="7660"/>
                </a:lnTo>
                <a:lnTo>
                  <a:pt x="9080" y="7635"/>
                </a:lnTo>
                <a:lnTo>
                  <a:pt x="9093" y="7608"/>
                </a:lnTo>
                <a:lnTo>
                  <a:pt x="9107" y="7579"/>
                </a:lnTo>
                <a:lnTo>
                  <a:pt x="9117" y="7561"/>
                </a:lnTo>
                <a:lnTo>
                  <a:pt x="9128" y="7543"/>
                </a:lnTo>
                <a:lnTo>
                  <a:pt x="9139" y="7524"/>
                </a:lnTo>
                <a:lnTo>
                  <a:pt x="9150" y="7506"/>
                </a:lnTo>
                <a:lnTo>
                  <a:pt x="9161" y="7485"/>
                </a:lnTo>
                <a:lnTo>
                  <a:pt x="9172" y="7465"/>
                </a:lnTo>
                <a:lnTo>
                  <a:pt x="9182" y="7444"/>
                </a:lnTo>
                <a:lnTo>
                  <a:pt x="9191" y="7422"/>
                </a:lnTo>
                <a:lnTo>
                  <a:pt x="9199" y="7403"/>
                </a:lnTo>
                <a:lnTo>
                  <a:pt x="9206" y="7390"/>
                </a:lnTo>
                <a:lnTo>
                  <a:pt x="9213" y="7380"/>
                </a:lnTo>
                <a:lnTo>
                  <a:pt x="9219" y="7373"/>
                </a:lnTo>
                <a:lnTo>
                  <a:pt x="9226" y="7368"/>
                </a:lnTo>
                <a:lnTo>
                  <a:pt x="9231" y="7366"/>
                </a:lnTo>
                <a:lnTo>
                  <a:pt x="9237" y="7365"/>
                </a:lnTo>
                <a:lnTo>
                  <a:pt x="9243" y="7365"/>
                </a:lnTo>
                <a:lnTo>
                  <a:pt x="9249" y="7365"/>
                </a:lnTo>
                <a:lnTo>
                  <a:pt x="9256" y="7364"/>
                </a:lnTo>
                <a:lnTo>
                  <a:pt x="9264" y="7363"/>
                </a:lnTo>
                <a:lnTo>
                  <a:pt x="9271" y="7359"/>
                </a:lnTo>
                <a:lnTo>
                  <a:pt x="9279" y="7354"/>
                </a:lnTo>
                <a:lnTo>
                  <a:pt x="9288" y="7345"/>
                </a:lnTo>
                <a:lnTo>
                  <a:pt x="9297" y="7334"/>
                </a:lnTo>
                <a:lnTo>
                  <a:pt x="9308" y="7317"/>
                </a:lnTo>
                <a:lnTo>
                  <a:pt x="9318" y="7311"/>
                </a:lnTo>
                <a:lnTo>
                  <a:pt x="9328" y="7304"/>
                </a:lnTo>
                <a:lnTo>
                  <a:pt x="9337" y="7295"/>
                </a:lnTo>
                <a:lnTo>
                  <a:pt x="9346" y="7286"/>
                </a:lnTo>
                <a:lnTo>
                  <a:pt x="9364" y="7264"/>
                </a:lnTo>
                <a:lnTo>
                  <a:pt x="9381" y="7239"/>
                </a:lnTo>
                <a:lnTo>
                  <a:pt x="9399" y="7214"/>
                </a:lnTo>
                <a:lnTo>
                  <a:pt x="9417" y="7190"/>
                </a:lnTo>
                <a:lnTo>
                  <a:pt x="9426" y="7179"/>
                </a:lnTo>
                <a:lnTo>
                  <a:pt x="9435" y="7168"/>
                </a:lnTo>
                <a:lnTo>
                  <a:pt x="9445" y="7158"/>
                </a:lnTo>
                <a:lnTo>
                  <a:pt x="9456" y="7148"/>
                </a:lnTo>
                <a:lnTo>
                  <a:pt x="9464" y="7137"/>
                </a:lnTo>
                <a:lnTo>
                  <a:pt x="9470" y="7126"/>
                </a:lnTo>
                <a:lnTo>
                  <a:pt x="9472" y="7122"/>
                </a:lnTo>
                <a:lnTo>
                  <a:pt x="9474" y="7116"/>
                </a:lnTo>
                <a:lnTo>
                  <a:pt x="9475" y="7112"/>
                </a:lnTo>
                <a:lnTo>
                  <a:pt x="9475" y="7108"/>
                </a:lnTo>
                <a:lnTo>
                  <a:pt x="9475" y="7104"/>
                </a:lnTo>
                <a:lnTo>
                  <a:pt x="9474" y="7100"/>
                </a:lnTo>
                <a:lnTo>
                  <a:pt x="9473" y="7095"/>
                </a:lnTo>
                <a:lnTo>
                  <a:pt x="9471" y="7091"/>
                </a:lnTo>
                <a:lnTo>
                  <a:pt x="9465" y="7083"/>
                </a:lnTo>
                <a:lnTo>
                  <a:pt x="9456" y="7074"/>
                </a:lnTo>
                <a:lnTo>
                  <a:pt x="9459" y="7072"/>
                </a:lnTo>
                <a:lnTo>
                  <a:pt x="9463" y="7067"/>
                </a:lnTo>
                <a:lnTo>
                  <a:pt x="9467" y="7058"/>
                </a:lnTo>
                <a:lnTo>
                  <a:pt x="9472" y="7048"/>
                </a:lnTo>
                <a:lnTo>
                  <a:pt x="9484" y="7021"/>
                </a:lnTo>
                <a:lnTo>
                  <a:pt x="9497" y="6987"/>
                </a:lnTo>
                <a:lnTo>
                  <a:pt x="9509" y="6953"/>
                </a:lnTo>
                <a:lnTo>
                  <a:pt x="9521" y="6920"/>
                </a:lnTo>
                <a:lnTo>
                  <a:pt x="9525" y="6906"/>
                </a:lnTo>
                <a:lnTo>
                  <a:pt x="9528" y="6893"/>
                </a:lnTo>
                <a:lnTo>
                  <a:pt x="9530" y="6882"/>
                </a:lnTo>
                <a:lnTo>
                  <a:pt x="9530" y="6874"/>
                </a:lnTo>
                <a:lnTo>
                  <a:pt x="9555" y="6837"/>
                </a:lnTo>
                <a:lnTo>
                  <a:pt x="9570" y="6815"/>
                </a:lnTo>
                <a:lnTo>
                  <a:pt x="9575" y="6808"/>
                </a:lnTo>
                <a:lnTo>
                  <a:pt x="9578" y="6803"/>
                </a:lnTo>
                <a:lnTo>
                  <a:pt x="9581" y="6801"/>
                </a:lnTo>
                <a:lnTo>
                  <a:pt x="9583" y="6800"/>
                </a:lnTo>
                <a:lnTo>
                  <a:pt x="9588" y="6802"/>
                </a:lnTo>
                <a:lnTo>
                  <a:pt x="9596" y="6808"/>
                </a:lnTo>
                <a:lnTo>
                  <a:pt x="9602" y="6811"/>
                </a:lnTo>
                <a:lnTo>
                  <a:pt x="9611" y="6815"/>
                </a:lnTo>
                <a:lnTo>
                  <a:pt x="9622" y="6818"/>
                </a:lnTo>
                <a:lnTo>
                  <a:pt x="9635" y="6820"/>
                </a:lnTo>
                <a:lnTo>
                  <a:pt x="9662" y="6788"/>
                </a:lnTo>
                <a:lnTo>
                  <a:pt x="9693" y="6750"/>
                </a:lnTo>
                <a:lnTo>
                  <a:pt x="9701" y="6740"/>
                </a:lnTo>
                <a:lnTo>
                  <a:pt x="9709" y="6731"/>
                </a:lnTo>
                <a:lnTo>
                  <a:pt x="9718" y="6724"/>
                </a:lnTo>
                <a:lnTo>
                  <a:pt x="9727" y="6717"/>
                </a:lnTo>
                <a:lnTo>
                  <a:pt x="9736" y="6711"/>
                </a:lnTo>
                <a:lnTo>
                  <a:pt x="9744" y="6707"/>
                </a:lnTo>
                <a:lnTo>
                  <a:pt x="9753" y="6704"/>
                </a:lnTo>
                <a:lnTo>
                  <a:pt x="9762" y="6703"/>
                </a:lnTo>
                <a:lnTo>
                  <a:pt x="9767" y="6696"/>
                </a:lnTo>
                <a:lnTo>
                  <a:pt x="9772" y="6689"/>
                </a:lnTo>
                <a:lnTo>
                  <a:pt x="9778" y="6683"/>
                </a:lnTo>
                <a:lnTo>
                  <a:pt x="9784" y="6676"/>
                </a:lnTo>
                <a:lnTo>
                  <a:pt x="9790" y="6671"/>
                </a:lnTo>
                <a:lnTo>
                  <a:pt x="9797" y="6666"/>
                </a:lnTo>
                <a:lnTo>
                  <a:pt x="9805" y="6661"/>
                </a:lnTo>
                <a:lnTo>
                  <a:pt x="9812" y="6657"/>
                </a:lnTo>
                <a:lnTo>
                  <a:pt x="9820" y="6653"/>
                </a:lnTo>
                <a:lnTo>
                  <a:pt x="9828" y="6650"/>
                </a:lnTo>
                <a:lnTo>
                  <a:pt x="9837" y="6647"/>
                </a:lnTo>
                <a:lnTo>
                  <a:pt x="9845" y="6645"/>
                </a:lnTo>
                <a:lnTo>
                  <a:pt x="9862" y="6642"/>
                </a:lnTo>
                <a:lnTo>
                  <a:pt x="9879" y="6641"/>
                </a:lnTo>
                <a:lnTo>
                  <a:pt x="9879" y="6646"/>
                </a:lnTo>
                <a:lnTo>
                  <a:pt x="9880" y="6651"/>
                </a:lnTo>
                <a:lnTo>
                  <a:pt x="9883" y="6655"/>
                </a:lnTo>
                <a:lnTo>
                  <a:pt x="9886" y="6658"/>
                </a:lnTo>
                <a:lnTo>
                  <a:pt x="9890" y="6660"/>
                </a:lnTo>
                <a:lnTo>
                  <a:pt x="9895" y="6662"/>
                </a:lnTo>
                <a:lnTo>
                  <a:pt x="9901" y="6663"/>
                </a:lnTo>
                <a:lnTo>
                  <a:pt x="9907" y="6664"/>
                </a:lnTo>
                <a:lnTo>
                  <a:pt x="9920" y="6664"/>
                </a:lnTo>
                <a:lnTo>
                  <a:pt x="9935" y="6662"/>
                </a:lnTo>
                <a:lnTo>
                  <a:pt x="9951" y="6658"/>
                </a:lnTo>
                <a:lnTo>
                  <a:pt x="9967" y="6654"/>
                </a:lnTo>
                <a:lnTo>
                  <a:pt x="10001" y="6643"/>
                </a:lnTo>
                <a:lnTo>
                  <a:pt x="10033" y="6632"/>
                </a:lnTo>
                <a:lnTo>
                  <a:pt x="10056" y="6623"/>
                </a:lnTo>
                <a:lnTo>
                  <a:pt x="10070" y="6620"/>
                </a:lnTo>
                <a:lnTo>
                  <a:pt x="10073" y="6613"/>
                </a:lnTo>
                <a:lnTo>
                  <a:pt x="10077" y="6608"/>
                </a:lnTo>
                <a:lnTo>
                  <a:pt x="10082" y="6602"/>
                </a:lnTo>
                <a:lnTo>
                  <a:pt x="10088" y="6596"/>
                </a:lnTo>
                <a:lnTo>
                  <a:pt x="10101" y="6585"/>
                </a:lnTo>
                <a:lnTo>
                  <a:pt x="10117" y="6574"/>
                </a:lnTo>
                <a:lnTo>
                  <a:pt x="10135" y="6563"/>
                </a:lnTo>
                <a:lnTo>
                  <a:pt x="10155" y="6553"/>
                </a:lnTo>
                <a:lnTo>
                  <a:pt x="10175" y="6543"/>
                </a:lnTo>
                <a:lnTo>
                  <a:pt x="10196" y="6533"/>
                </a:lnTo>
                <a:lnTo>
                  <a:pt x="10217" y="6525"/>
                </a:lnTo>
                <a:lnTo>
                  <a:pt x="10238" y="6517"/>
                </a:lnTo>
                <a:lnTo>
                  <a:pt x="10258" y="6510"/>
                </a:lnTo>
                <a:lnTo>
                  <a:pt x="10278" y="6504"/>
                </a:lnTo>
                <a:lnTo>
                  <a:pt x="10296" y="6499"/>
                </a:lnTo>
                <a:lnTo>
                  <a:pt x="10311" y="6496"/>
                </a:lnTo>
                <a:lnTo>
                  <a:pt x="10324" y="6493"/>
                </a:lnTo>
                <a:lnTo>
                  <a:pt x="10334" y="6493"/>
                </a:lnTo>
                <a:lnTo>
                  <a:pt x="10335" y="6485"/>
                </a:lnTo>
                <a:lnTo>
                  <a:pt x="10338" y="6480"/>
                </a:lnTo>
                <a:lnTo>
                  <a:pt x="10343" y="6475"/>
                </a:lnTo>
                <a:lnTo>
                  <a:pt x="10350" y="6472"/>
                </a:lnTo>
                <a:lnTo>
                  <a:pt x="10359" y="6469"/>
                </a:lnTo>
                <a:lnTo>
                  <a:pt x="10369" y="6467"/>
                </a:lnTo>
                <a:lnTo>
                  <a:pt x="10380" y="6465"/>
                </a:lnTo>
                <a:lnTo>
                  <a:pt x="10393" y="6464"/>
                </a:lnTo>
                <a:lnTo>
                  <a:pt x="10423" y="6464"/>
                </a:lnTo>
                <a:lnTo>
                  <a:pt x="10456" y="6466"/>
                </a:lnTo>
                <a:lnTo>
                  <a:pt x="10491" y="6469"/>
                </a:lnTo>
                <a:lnTo>
                  <a:pt x="10529" y="6473"/>
                </a:lnTo>
                <a:lnTo>
                  <a:pt x="10605" y="6484"/>
                </a:lnTo>
                <a:lnTo>
                  <a:pt x="10676" y="6495"/>
                </a:lnTo>
                <a:lnTo>
                  <a:pt x="10706" y="6499"/>
                </a:lnTo>
                <a:lnTo>
                  <a:pt x="10732" y="6502"/>
                </a:lnTo>
                <a:lnTo>
                  <a:pt x="10753" y="6504"/>
                </a:lnTo>
                <a:lnTo>
                  <a:pt x="10768" y="6503"/>
                </a:lnTo>
                <a:close/>
                <a:moveTo>
                  <a:pt x="10938" y="6418"/>
                </a:moveTo>
                <a:lnTo>
                  <a:pt x="10941" y="6408"/>
                </a:lnTo>
                <a:lnTo>
                  <a:pt x="10945" y="6400"/>
                </a:lnTo>
                <a:lnTo>
                  <a:pt x="10949" y="6394"/>
                </a:lnTo>
                <a:lnTo>
                  <a:pt x="10953" y="6390"/>
                </a:lnTo>
                <a:lnTo>
                  <a:pt x="10958" y="6387"/>
                </a:lnTo>
                <a:lnTo>
                  <a:pt x="10963" y="6387"/>
                </a:lnTo>
                <a:lnTo>
                  <a:pt x="10969" y="6387"/>
                </a:lnTo>
                <a:lnTo>
                  <a:pt x="10974" y="6389"/>
                </a:lnTo>
                <a:lnTo>
                  <a:pt x="10999" y="6402"/>
                </a:lnTo>
                <a:lnTo>
                  <a:pt x="11026" y="6415"/>
                </a:lnTo>
                <a:lnTo>
                  <a:pt x="11040" y="6419"/>
                </a:lnTo>
                <a:lnTo>
                  <a:pt x="11052" y="6423"/>
                </a:lnTo>
                <a:lnTo>
                  <a:pt x="11061" y="6425"/>
                </a:lnTo>
                <a:lnTo>
                  <a:pt x="11069" y="6426"/>
                </a:lnTo>
                <a:lnTo>
                  <a:pt x="11076" y="6426"/>
                </a:lnTo>
                <a:lnTo>
                  <a:pt x="11081" y="6425"/>
                </a:lnTo>
                <a:lnTo>
                  <a:pt x="11086" y="6423"/>
                </a:lnTo>
                <a:lnTo>
                  <a:pt x="11090" y="6421"/>
                </a:lnTo>
                <a:lnTo>
                  <a:pt x="11098" y="6415"/>
                </a:lnTo>
                <a:lnTo>
                  <a:pt x="11107" y="6406"/>
                </a:lnTo>
                <a:lnTo>
                  <a:pt x="11113" y="6402"/>
                </a:lnTo>
                <a:lnTo>
                  <a:pt x="11120" y="6397"/>
                </a:lnTo>
                <a:lnTo>
                  <a:pt x="11128" y="6392"/>
                </a:lnTo>
                <a:lnTo>
                  <a:pt x="11138" y="6387"/>
                </a:lnTo>
                <a:lnTo>
                  <a:pt x="11138" y="6402"/>
                </a:lnTo>
                <a:lnTo>
                  <a:pt x="11137" y="6415"/>
                </a:lnTo>
                <a:lnTo>
                  <a:pt x="11136" y="6427"/>
                </a:lnTo>
                <a:lnTo>
                  <a:pt x="11134" y="6437"/>
                </a:lnTo>
                <a:lnTo>
                  <a:pt x="11132" y="6446"/>
                </a:lnTo>
                <a:lnTo>
                  <a:pt x="11129" y="6454"/>
                </a:lnTo>
                <a:lnTo>
                  <a:pt x="11125" y="6460"/>
                </a:lnTo>
                <a:lnTo>
                  <a:pt x="11121" y="6465"/>
                </a:lnTo>
                <a:lnTo>
                  <a:pt x="11117" y="6469"/>
                </a:lnTo>
                <a:lnTo>
                  <a:pt x="11113" y="6472"/>
                </a:lnTo>
                <a:lnTo>
                  <a:pt x="11108" y="6473"/>
                </a:lnTo>
                <a:lnTo>
                  <a:pt x="11102" y="6474"/>
                </a:lnTo>
                <a:lnTo>
                  <a:pt x="11096" y="6474"/>
                </a:lnTo>
                <a:lnTo>
                  <a:pt x="11090" y="6474"/>
                </a:lnTo>
                <a:lnTo>
                  <a:pt x="11084" y="6472"/>
                </a:lnTo>
                <a:lnTo>
                  <a:pt x="11077" y="6470"/>
                </a:lnTo>
                <a:lnTo>
                  <a:pt x="11047" y="6458"/>
                </a:lnTo>
                <a:lnTo>
                  <a:pt x="11012" y="6441"/>
                </a:lnTo>
                <a:lnTo>
                  <a:pt x="10994" y="6433"/>
                </a:lnTo>
                <a:lnTo>
                  <a:pt x="10976" y="6427"/>
                </a:lnTo>
                <a:lnTo>
                  <a:pt x="10966" y="6424"/>
                </a:lnTo>
                <a:lnTo>
                  <a:pt x="10957" y="6421"/>
                </a:lnTo>
                <a:lnTo>
                  <a:pt x="10947" y="6419"/>
                </a:lnTo>
                <a:lnTo>
                  <a:pt x="10938" y="6418"/>
                </a:lnTo>
                <a:close/>
                <a:moveTo>
                  <a:pt x="13446" y="10831"/>
                </a:moveTo>
                <a:lnTo>
                  <a:pt x="13446" y="10819"/>
                </a:lnTo>
                <a:lnTo>
                  <a:pt x="13447" y="10809"/>
                </a:lnTo>
                <a:lnTo>
                  <a:pt x="13449" y="10803"/>
                </a:lnTo>
                <a:lnTo>
                  <a:pt x="13452" y="10798"/>
                </a:lnTo>
                <a:lnTo>
                  <a:pt x="13462" y="10789"/>
                </a:lnTo>
                <a:lnTo>
                  <a:pt x="13477" y="10778"/>
                </a:lnTo>
                <a:lnTo>
                  <a:pt x="13481" y="10797"/>
                </a:lnTo>
                <a:lnTo>
                  <a:pt x="13485" y="10812"/>
                </a:lnTo>
                <a:lnTo>
                  <a:pt x="13486" y="10818"/>
                </a:lnTo>
                <a:lnTo>
                  <a:pt x="13486" y="10824"/>
                </a:lnTo>
                <a:lnTo>
                  <a:pt x="13486" y="10828"/>
                </a:lnTo>
                <a:lnTo>
                  <a:pt x="13485" y="10832"/>
                </a:lnTo>
                <a:lnTo>
                  <a:pt x="13484" y="10834"/>
                </a:lnTo>
                <a:lnTo>
                  <a:pt x="13482" y="10836"/>
                </a:lnTo>
                <a:lnTo>
                  <a:pt x="13479" y="10838"/>
                </a:lnTo>
                <a:lnTo>
                  <a:pt x="13474" y="10838"/>
                </a:lnTo>
                <a:lnTo>
                  <a:pt x="13463" y="10836"/>
                </a:lnTo>
                <a:lnTo>
                  <a:pt x="13446" y="10831"/>
                </a:lnTo>
                <a:close/>
                <a:moveTo>
                  <a:pt x="9520" y="5179"/>
                </a:moveTo>
                <a:lnTo>
                  <a:pt x="9509" y="5169"/>
                </a:lnTo>
                <a:lnTo>
                  <a:pt x="9503" y="5159"/>
                </a:lnTo>
                <a:lnTo>
                  <a:pt x="9498" y="5150"/>
                </a:lnTo>
                <a:lnTo>
                  <a:pt x="9495" y="5141"/>
                </a:lnTo>
                <a:lnTo>
                  <a:pt x="9494" y="5133"/>
                </a:lnTo>
                <a:lnTo>
                  <a:pt x="9494" y="5124"/>
                </a:lnTo>
                <a:lnTo>
                  <a:pt x="9495" y="5116"/>
                </a:lnTo>
                <a:lnTo>
                  <a:pt x="9498" y="5107"/>
                </a:lnTo>
                <a:lnTo>
                  <a:pt x="9505" y="5090"/>
                </a:lnTo>
                <a:lnTo>
                  <a:pt x="9515" y="5072"/>
                </a:lnTo>
                <a:lnTo>
                  <a:pt x="9520" y="5063"/>
                </a:lnTo>
                <a:lnTo>
                  <a:pt x="9524" y="5053"/>
                </a:lnTo>
                <a:lnTo>
                  <a:pt x="9528" y="5043"/>
                </a:lnTo>
                <a:lnTo>
                  <a:pt x="9530" y="5032"/>
                </a:lnTo>
                <a:lnTo>
                  <a:pt x="9522" y="5029"/>
                </a:lnTo>
                <a:lnTo>
                  <a:pt x="9515" y="5026"/>
                </a:lnTo>
                <a:lnTo>
                  <a:pt x="9508" y="5024"/>
                </a:lnTo>
                <a:lnTo>
                  <a:pt x="9504" y="5021"/>
                </a:lnTo>
                <a:lnTo>
                  <a:pt x="9502" y="5019"/>
                </a:lnTo>
                <a:lnTo>
                  <a:pt x="9501" y="5016"/>
                </a:lnTo>
                <a:lnTo>
                  <a:pt x="9501" y="5014"/>
                </a:lnTo>
                <a:lnTo>
                  <a:pt x="9502" y="5011"/>
                </a:lnTo>
                <a:lnTo>
                  <a:pt x="9508" y="5006"/>
                </a:lnTo>
                <a:lnTo>
                  <a:pt x="9519" y="5000"/>
                </a:lnTo>
                <a:lnTo>
                  <a:pt x="9531" y="4995"/>
                </a:lnTo>
                <a:lnTo>
                  <a:pt x="9546" y="4989"/>
                </a:lnTo>
                <a:lnTo>
                  <a:pt x="9578" y="4979"/>
                </a:lnTo>
                <a:lnTo>
                  <a:pt x="9609" y="4967"/>
                </a:lnTo>
                <a:lnTo>
                  <a:pt x="9623" y="4962"/>
                </a:lnTo>
                <a:lnTo>
                  <a:pt x="9634" y="4957"/>
                </a:lnTo>
                <a:lnTo>
                  <a:pt x="9638" y="4954"/>
                </a:lnTo>
                <a:lnTo>
                  <a:pt x="9643" y="4952"/>
                </a:lnTo>
                <a:lnTo>
                  <a:pt x="9645" y="4949"/>
                </a:lnTo>
                <a:lnTo>
                  <a:pt x="9647" y="4947"/>
                </a:lnTo>
                <a:lnTo>
                  <a:pt x="9640" y="4946"/>
                </a:lnTo>
                <a:lnTo>
                  <a:pt x="9633" y="4945"/>
                </a:lnTo>
                <a:lnTo>
                  <a:pt x="9627" y="4943"/>
                </a:lnTo>
                <a:lnTo>
                  <a:pt x="9622" y="4940"/>
                </a:lnTo>
                <a:lnTo>
                  <a:pt x="9617" y="4937"/>
                </a:lnTo>
                <a:lnTo>
                  <a:pt x="9612" y="4933"/>
                </a:lnTo>
                <a:lnTo>
                  <a:pt x="9608" y="4929"/>
                </a:lnTo>
                <a:lnTo>
                  <a:pt x="9605" y="4925"/>
                </a:lnTo>
                <a:lnTo>
                  <a:pt x="9602" y="4920"/>
                </a:lnTo>
                <a:lnTo>
                  <a:pt x="9599" y="4914"/>
                </a:lnTo>
                <a:lnTo>
                  <a:pt x="9597" y="4909"/>
                </a:lnTo>
                <a:lnTo>
                  <a:pt x="9596" y="4903"/>
                </a:lnTo>
                <a:lnTo>
                  <a:pt x="9596" y="4897"/>
                </a:lnTo>
                <a:lnTo>
                  <a:pt x="9597" y="4891"/>
                </a:lnTo>
                <a:lnTo>
                  <a:pt x="9598" y="4885"/>
                </a:lnTo>
                <a:lnTo>
                  <a:pt x="9600" y="4880"/>
                </a:lnTo>
                <a:lnTo>
                  <a:pt x="9603" y="4874"/>
                </a:lnTo>
                <a:lnTo>
                  <a:pt x="9606" y="4871"/>
                </a:lnTo>
                <a:lnTo>
                  <a:pt x="9610" y="4870"/>
                </a:lnTo>
                <a:lnTo>
                  <a:pt x="9613" y="4871"/>
                </a:lnTo>
                <a:lnTo>
                  <a:pt x="9622" y="4876"/>
                </a:lnTo>
                <a:lnTo>
                  <a:pt x="9631" y="4885"/>
                </a:lnTo>
                <a:lnTo>
                  <a:pt x="9642" y="4895"/>
                </a:lnTo>
                <a:lnTo>
                  <a:pt x="9653" y="4903"/>
                </a:lnTo>
                <a:lnTo>
                  <a:pt x="9659" y="4906"/>
                </a:lnTo>
                <a:lnTo>
                  <a:pt x="9665" y="4907"/>
                </a:lnTo>
                <a:lnTo>
                  <a:pt x="9672" y="4907"/>
                </a:lnTo>
                <a:lnTo>
                  <a:pt x="9678" y="4905"/>
                </a:lnTo>
                <a:lnTo>
                  <a:pt x="9696" y="4901"/>
                </a:lnTo>
                <a:lnTo>
                  <a:pt x="9715" y="4894"/>
                </a:lnTo>
                <a:lnTo>
                  <a:pt x="9725" y="4891"/>
                </a:lnTo>
                <a:lnTo>
                  <a:pt x="9734" y="4888"/>
                </a:lnTo>
                <a:lnTo>
                  <a:pt x="9743" y="4885"/>
                </a:lnTo>
                <a:lnTo>
                  <a:pt x="9752" y="4884"/>
                </a:lnTo>
                <a:lnTo>
                  <a:pt x="9755" y="4884"/>
                </a:lnTo>
                <a:lnTo>
                  <a:pt x="9759" y="4885"/>
                </a:lnTo>
                <a:lnTo>
                  <a:pt x="9762" y="4886"/>
                </a:lnTo>
                <a:lnTo>
                  <a:pt x="9766" y="4887"/>
                </a:lnTo>
                <a:lnTo>
                  <a:pt x="9768" y="4889"/>
                </a:lnTo>
                <a:lnTo>
                  <a:pt x="9770" y="4892"/>
                </a:lnTo>
                <a:lnTo>
                  <a:pt x="9772" y="4895"/>
                </a:lnTo>
                <a:lnTo>
                  <a:pt x="9773" y="4899"/>
                </a:lnTo>
                <a:lnTo>
                  <a:pt x="9774" y="4903"/>
                </a:lnTo>
                <a:lnTo>
                  <a:pt x="9774" y="4909"/>
                </a:lnTo>
                <a:lnTo>
                  <a:pt x="9774" y="4915"/>
                </a:lnTo>
                <a:lnTo>
                  <a:pt x="9773" y="4922"/>
                </a:lnTo>
                <a:lnTo>
                  <a:pt x="9769" y="4939"/>
                </a:lnTo>
                <a:lnTo>
                  <a:pt x="9761" y="4960"/>
                </a:lnTo>
                <a:lnTo>
                  <a:pt x="9753" y="4984"/>
                </a:lnTo>
                <a:lnTo>
                  <a:pt x="9745" y="5006"/>
                </a:lnTo>
                <a:lnTo>
                  <a:pt x="9736" y="5027"/>
                </a:lnTo>
                <a:lnTo>
                  <a:pt x="9727" y="5047"/>
                </a:lnTo>
                <a:lnTo>
                  <a:pt x="9718" y="5066"/>
                </a:lnTo>
                <a:lnTo>
                  <a:pt x="9707" y="5084"/>
                </a:lnTo>
                <a:lnTo>
                  <a:pt x="9696" y="5100"/>
                </a:lnTo>
                <a:lnTo>
                  <a:pt x="9684" y="5116"/>
                </a:lnTo>
                <a:lnTo>
                  <a:pt x="9677" y="5123"/>
                </a:lnTo>
                <a:lnTo>
                  <a:pt x="9670" y="5130"/>
                </a:lnTo>
                <a:lnTo>
                  <a:pt x="9662" y="5136"/>
                </a:lnTo>
                <a:lnTo>
                  <a:pt x="9654" y="5142"/>
                </a:lnTo>
                <a:lnTo>
                  <a:pt x="9646" y="5148"/>
                </a:lnTo>
                <a:lnTo>
                  <a:pt x="9636" y="5153"/>
                </a:lnTo>
                <a:lnTo>
                  <a:pt x="9627" y="5158"/>
                </a:lnTo>
                <a:lnTo>
                  <a:pt x="9617" y="5162"/>
                </a:lnTo>
                <a:lnTo>
                  <a:pt x="9607" y="5166"/>
                </a:lnTo>
                <a:lnTo>
                  <a:pt x="9596" y="5169"/>
                </a:lnTo>
                <a:lnTo>
                  <a:pt x="9585" y="5172"/>
                </a:lnTo>
                <a:lnTo>
                  <a:pt x="9573" y="5175"/>
                </a:lnTo>
                <a:lnTo>
                  <a:pt x="9561" y="5177"/>
                </a:lnTo>
                <a:lnTo>
                  <a:pt x="9548" y="5178"/>
                </a:lnTo>
                <a:lnTo>
                  <a:pt x="9534" y="5179"/>
                </a:lnTo>
                <a:lnTo>
                  <a:pt x="9520" y="5179"/>
                </a:lnTo>
                <a:close/>
                <a:moveTo>
                  <a:pt x="8577" y="3974"/>
                </a:moveTo>
                <a:lnTo>
                  <a:pt x="8596" y="3965"/>
                </a:lnTo>
                <a:lnTo>
                  <a:pt x="8640" y="3947"/>
                </a:lnTo>
                <a:lnTo>
                  <a:pt x="8664" y="3937"/>
                </a:lnTo>
                <a:lnTo>
                  <a:pt x="8687" y="3929"/>
                </a:lnTo>
                <a:lnTo>
                  <a:pt x="8704" y="3923"/>
                </a:lnTo>
                <a:lnTo>
                  <a:pt x="8715" y="3920"/>
                </a:lnTo>
                <a:lnTo>
                  <a:pt x="8714" y="3927"/>
                </a:lnTo>
                <a:lnTo>
                  <a:pt x="8712" y="3931"/>
                </a:lnTo>
                <a:lnTo>
                  <a:pt x="8709" y="3934"/>
                </a:lnTo>
                <a:lnTo>
                  <a:pt x="8707" y="3935"/>
                </a:lnTo>
                <a:lnTo>
                  <a:pt x="8707" y="3936"/>
                </a:lnTo>
                <a:lnTo>
                  <a:pt x="8709" y="3937"/>
                </a:lnTo>
                <a:lnTo>
                  <a:pt x="8715" y="3939"/>
                </a:lnTo>
                <a:lnTo>
                  <a:pt x="8725" y="3941"/>
                </a:lnTo>
                <a:lnTo>
                  <a:pt x="8727" y="3950"/>
                </a:lnTo>
                <a:lnTo>
                  <a:pt x="8727" y="3961"/>
                </a:lnTo>
                <a:lnTo>
                  <a:pt x="8727" y="3974"/>
                </a:lnTo>
                <a:lnTo>
                  <a:pt x="8727" y="3986"/>
                </a:lnTo>
                <a:lnTo>
                  <a:pt x="8725" y="4007"/>
                </a:lnTo>
                <a:lnTo>
                  <a:pt x="8725" y="4016"/>
                </a:lnTo>
                <a:lnTo>
                  <a:pt x="8726" y="4018"/>
                </a:lnTo>
                <a:lnTo>
                  <a:pt x="8727" y="4020"/>
                </a:lnTo>
                <a:lnTo>
                  <a:pt x="8729" y="4021"/>
                </a:lnTo>
                <a:lnTo>
                  <a:pt x="8732" y="4022"/>
                </a:lnTo>
                <a:lnTo>
                  <a:pt x="8740" y="4022"/>
                </a:lnTo>
                <a:lnTo>
                  <a:pt x="8751" y="4022"/>
                </a:lnTo>
                <a:lnTo>
                  <a:pt x="8779" y="4017"/>
                </a:lnTo>
                <a:lnTo>
                  <a:pt x="8810" y="4010"/>
                </a:lnTo>
                <a:lnTo>
                  <a:pt x="8842" y="4001"/>
                </a:lnTo>
                <a:lnTo>
                  <a:pt x="8872" y="3993"/>
                </a:lnTo>
                <a:lnTo>
                  <a:pt x="8897" y="3986"/>
                </a:lnTo>
                <a:lnTo>
                  <a:pt x="8912" y="3983"/>
                </a:lnTo>
                <a:lnTo>
                  <a:pt x="8935" y="3979"/>
                </a:lnTo>
                <a:lnTo>
                  <a:pt x="8955" y="3974"/>
                </a:lnTo>
                <a:lnTo>
                  <a:pt x="8974" y="3967"/>
                </a:lnTo>
                <a:lnTo>
                  <a:pt x="8991" y="3961"/>
                </a:lnTo>
                <a:lnTo>
                  <a:pt x="9020" y="3949"/>
                </a:lnTo>
                <a:lnTo>
                  <a:pt x="9041" y="3941"/>
                </a:lnTo>
                <a:lnTo>
                  <a:pt x="9046" y="3940"/>
                </a:lnTo>
                <a:lnTo>
                  <a:pt x="9050" y="3940"/>
                </a:lnTo>
                <a:lnTo>
                  <a:pt x="9054" y="3940"/>
                </a:lnTo>
                <a:lnTo>
                  <a:pt x="9057" y="3940"/>
                </a:lnTo>
                <a:lnTo>
                  <a:pt x="9060" y="3942"/>
                </a:lnTo>
                <a:lnTo>
                  <a:pt x="9063" y="3944"/>
                </a:lnTo>
                <a:lnTo>
                  <a:pt x="9065" y="3947"/>
                </a:lnTo>
                <a:lnTo>
                  <a:pt x="9067" y="3950"/>
                </a:lnTo>
                <a:lnTo>
                  <a:pt x="9071" y="3960"/>
                </a:lnTo>
                <a:lnTo>
                  <a:pt x="9073" y="3975"/>
                </a:lnTo>
                <a:lnTo>
                  <a:pt x="9074" y="3993"/>
                </a:lnTo>
                <a:lnTo>
                  <a:pt x="9075" y="4016"/>
                </a:lnTo>
                <a:lnTo>
                  <a:pt x="9087" y="4020"/>
                </a:lnTo>
                <a:lnTo>
                  <a:pt x="9097" y="4022"/>
                </a:lnTo>
                <a:lnTo>
                  <a:pt x="9106" y="4024"/>
                </a:lnTo>
                <a:lnTo>
                  <a:pt x="9113" y="4024"/>
                </a:lnTo>
                <a:lnTo>
                  <a:pt x="9120" y="4022"/>
                </a:lnTo>
                <a:lnTo>
                  <a:pt x="9125" y="4020"/>
                </a:lnTo>
                <a:lnTo>
                  <a:pt x="9130" y="4017"/>
                </a:lnTo>
                <a:lnTo>
                  <a:pt x="9136" y="4014"/>
                </a:lnTo>
                <a:lnTo>
                  <a:pt x="9144" y="4005"/>
                </a:lnTo>
                <a:lnTo>
                  <a:pt x="9153" y="3994"/>
                </a:lnTo>
                <a:lnTo>
                  <a:pt x="9159" y="3989"/>
                </a:lnTo>
                <a:lnTo>
                  <a:pt x="9165" y="3984"/>
                </a:lnTo>
                <a:lnTo>
                  <a:pt x="9172" y="3979"/>
                </a:lnTo>
                <a:lnTo>
                  <a:pt x="9181" y="3974"/>
                </a:lnTo>
                <a:lnTo>
                  <a:pt x="9182" y="3984"/>
                </a:lnTo>
                <a:lnTo>
                  <a:pt x="9183" y="3992"/>
                </a:lnTo>
                <a:lnTo>
                  <a:pt x="9185" y="3999"/>
                </a:lnTo>
                <a:lnTo>
                  <a:pt x="9188" y="4006"/>
                </a:lnTo>
                <a:lnTo>
                  <a:pt x="9194" y="4017"/>
                </a:lnTo>
                <a:lnTo>
                  <a:pt x="9198" y="4026"/>
                </a:lnTo>
                <a:lnTo>
                  <a:pt x="9199" y="4030"/>
                </a:lnTo>
                <a:lnTo>
                  <a:pt x="9200" y="4034"/>
                </a:lnTo>
                <a:lnTo>
                  <a:pt x="9199" y="4038"/>
                </a:lnTo>
                <a:lnTo>
                  <a:pt x="9196" y="4043"/>
                </a:lnTo>
                <a:lnTo>
                  <a:pt x="9191" y="4048"/>
                </a:lnTo>
                <a:lnTo>
                  <a:pt x="9185" y="4054"/>
                </a:lnTo>
                <a:lnTo>
                  <a:pt x="9176" y="4060"/>
                </a:lnTo>
                <a:lnTo>
                  <a:pt x="9165" y="4068"/>
                </a:lnTo>
                <a:lnTo>
                  <a:pt x="9143" y="4081"/>
                </a:lnTo>
                <a:lnTo>
                  <a:pt x="9120" y="4092"/>
                </a:lnTo>
                <a:lnTo>
                  <a:pt x="9098" y="4103"/>
                </a:lnTo>
                <a:lnTo>
                  <a:pt x="9076" y="4110"/>
                </a:lnTo>
                <a:lnTo>
                  <a:pt x="9053" y="4115"/>
                </a:lnTo>
                <a:lnTo>
                  <a:pt x="9029" y="4119"/>
                </a:lnTo>
                <a:lnTo>
                  <a:pt x="9002" y="4121"/>
                </a:lnTo>
                <a:lnTo>
                  <a:pt x="8974" y="4122"/>
                </a:lnTo>
                <a:lnTo>
                  <a:pt x="8959" y="4123"/>
                </a:lnTo>
                <a:lnTo>
                  <a:pt x="8932" y="4126"/>
                </a:lnTo>
                <a:lnTo>
                  <a:pt x="8899" y="4131"/>
                </a:lnTo>
                <a:lnTo>
                  <a:pt x="8862" y="4135"/>
                </a:lnTo>
                <a:lnTo>
                  <a:pt x="8827" y="4138"/>
                </a:lnTo>
                <a:lnTo>
                  <a:pt x="8797" y="4140"/>
                </a:lnTo>
                <a:lnTo>
                  <a:pt x="8785" y="4139"/>
                </a:lnTo>
                <a:lnTo>
                  <a:pt x="8776" y="4138"/>
                </a:lnTo>
                <a:lnTo>
                  <a:pt x="8773" y="4137"/>
                </a:lnTo>
                <a:lnTo>
                  <a:pt x="8770" y="4135"/>
                </a:lnTo>
                <a:lnTo>
                  <a:pt x="8769" y="4134"/>
                </a:lnTo>
                <a:lnTo>
                  <a:pt x="8768" y="4132"/>
                </a:lnTo>
                <a:lnTo>
                  <a:pt x="8755" y="4132"/>
                </a:lnTo>
                <a:lnTo>
                  <a:pt x="8743" y="4131"/>
                </a:lnTo>
                <a:lnTo>
                  <a:pt x="8731" y="4129"/>
                </a:lnTo>
                <a:lnTo>
                  <a:pt x="8719" y="4127"/>
                </a:lnTo>
                <a:lnTo>
                  <a:pt x="8696" y="4121"/>
                </a:lnTo>
                <a:lnTo>
                  <a:pt x="8672" y="4114"/>
                </a:lnTo>
                <a:lnTo>
                  <a:pt x="8648" y="4107"/>
                </a:lnTo>
                <a:lnTo>
                  <a:pt x="8622" y="4100"/>
                </a:lnTo>
                <a:lnTo>
                  <a:pt x="8595" y="4093"/>
                </a:lnTo>
                <a:lnTo>
                  <a:pt x="8567" y="4089"/>
                </a:lnTo>
                <a:lnTo>
                  <a:pt x="8568" y="4083"/>
                </a:lnTo>
                <a:lnTo>
                  <a:pt x="8571" y="4075"/>
                </a:lnTo>
                <a:lnTo>
                  <a:pt x="8577" y="4067"/>
                </a:lnTo>
                <a:lnTo>
                  <a:pt x="8583" y="4058"/>
                </a:lnTo>
                <a:lnTo>
                  <a:pt x="8597" y="4039"/>
                </a:lnTo>
                <a:lnTo>
                  <a:pt x="8611" y="4020"/>
                </a:lnTo>
                <a:lnTo>
                  <a:pt x="8616" y="4011"/>
                </a:lnTo>
                <a:lnTo>
                  <a:pt x="8619" y="4002"/>
                </a:lnTo>
                <a:lnTo>
                  <a:pt x="8620" y="3998"/>
                </a:lnTo>
                <a:lnTo>
                  <a:pt x="8620" y="3995"/>
                </a:lnTo>
                <a:lnTo>
                  <a:pt x="8620" y="3991"/>
                </a:lnTo>
                <a:lnTo>
                  <a:pt x="8619" y="3988"/>
                </a:lnTo>
                <a:lnTo>
                  <a:pt x="8617" y="3985"/>
                </a:lnTo>
                <a:lnTo>
                  <a:pt x="8615" y="3982"/>
                </a:lnTo>
                <a:lnTo>
                  <a:pt x="8611" y="3980"/>
                </a:lnTo>
                <a:lnTo>
                  <a:pt x="8606" y="3978"/>
                </a:lnTo>
                <a:lnTo>
                  <a:pt x="8601" y="3976"/>
                </a:lnTo>
                <a:lnTo>
                  <a:pt x="8594" y="3975"/>
                </a:lnTo>
                <a:lnTo>
                  <a:pt x="8586" y="3974"/>
                </a:lnTo>
                <a:lnTo>
                  <a:pt x="8577" y="3974"/>
                </a:lnTo>
                <a:close/>
                <a:moveTo>
                  <a:pt x="13139" y="11127"/>
                </a:moveTo>
                <a:lnTo>
                  <a:pt x="13154" y="11140"/>
                </a:lnTo>
                <a:lnTo>
                  <a:pt x="13170" y="11154"/>
                </a:lnTo>
                <a:lnTo>
                  <a:pt x="13177" y="11160"/>
                </a:lnTo>
                <a:lnTo>
                  <a:pt x="13184" y="11166"/>
                </a:lnTo>
                <a:lnTo>
                  <a:pt x="13190" y="11170"/>
                </a:lnTo>
                <a:lnTo>
                  <a:pt x="13197" y="11174"/>
                </a:lnTo>
                <a:lnTo>
                  <a:pt x="13203" y="11176"/>
                </a:lnTo>
                <a:lnTo>
                  <a:pt x="13209" y="11176"/>
                </a:lnTo>
                <a:lnTo>
                  <a:pt x="13212" y="11176"/>
                </a:lnTo>
                <a:lnTo>
                  <a:pt x="13215" y="11175"/>
                </a:lnTo>
                <a:lnTo>
                  <a:pt x="13218" y="11173"/>
                </a:lnTo>
                <a:lnTo>
                  <a:pt x="13221" y="11171"/>
                </a:lnTo>
                <a:lnTo>
                  <a:pt x="13227" y="11164"/>
                </a:lnTo>
                <a:lnTo>
                  <a:pt x="13233" y="11155"/>
                </a:lnTo>
                <a:lnTo>
                  <a:pt x="13239" y="11142"/>
                </a:lnTo>
                <a:lnTo>
                  <a:pt x="13245" y="11127"/>
                </a:lnTo>
                <a:lnTo>
                  <a:pt x="13231" y="11124"/>
                </a:lnTo>
                <a:lnTo>
                  <a:pt x="13220" y="11121"/>
                </a:lnTo>
                <a:lnTo>
                  <a:pt x="13211" y="11117"/>
                </a:lnTo>
                <a:lnTo>
                  <a:pt x="13204" y="11113"/>
                </a:lnTo>
                <a:lnTo>
                  <a:pt x="13199" y="11109"/>
                </a:lnTo>
                <a:lnTo>
                  <a:pt x="13195" y="11104"/>
                </a:lnTo>
                <a:lnTo>
                  <a:pt x="13192" y="11099"/>
                </a:lnTo>
                <a:lnTo>
                  <a:pt x="13191" y="11093"/>
                </a:lnTo>
                <a:lnTo>
                  <a:pt x="13191" y="11086"/>
                </a:lnTo>
                <a:lnTo>
                  <a:pt x="13192" y="11079"/>
                </a:lnTo>
                <a:lnTo>
                  <a:pt x="13194" y="11071"/>
                </a:lnTo>
                <a:lnTo>
                  <a:pt x="13197" y="11063"/>
                </a:lnTo>
                <a:lnTo>
                  <a:pt x="13204" y="11044"/>
                </a:lnTo>
                <a:lnTo>
                  <a:pt x="13213" y="11021"/>
                </a:lnTo>
                <a:lnTo>
                  <a:pt x="13224" y="11028"/>
                </a:lnTo>
                <a:lnTo>
                  <a:pt x="13236" y="11034"/>
                </a:lnTo>
                <a:lnTo>
                  <a:pt x="13251" y="11041"/>
                </a:lnTo>
                <a:lnTo>
                  <a:pt x="13266" y="11047"/>
                </a:lnTo>
                <a:lnTo>
                  <a:pt x="13282" y="11052"/>
                </a:lnTo>
                <a:lnTo>
                  <a:pt x="13300" y="11056"/>
                </a:lnTo>
                <a:lnTo>
                  <a:pt x="13317" y="11059"/>
                </a:lnTo>
                <a:lnTo>
                  <a:pt x="13333" y="11061"/>
                </a:lnTo>
                <a:lnTo>
                  <a:pt x="13341" y="11062"/>
                </a:lnTo>
                <a:lnTo>
                  <a:pt x="13349" y="11061"/>
                </a:lnTo>
                <a:lnTo>
                  <a:pt x="13357" y="11061"/>
                </a:lnTo>
                <a:lnTo>
                  <a:pt x="13364" y="11059"/>
                </a:lnTo>
                <a:lnTo>
                  <a:pt x="13371" y="11058"/>
                </a:lnTo>
                <a:lnTo>
                  <a:pt x="13378" y="11055"/>
                </a:lnTo>
                <a:lnTo>
                  <a:pt x="13384" y="11052"/>
                </a:lnTo>
                <a:lnTo>
                  <a:pt x="13390" y="11048"/>
                </a:lnTo>
                <a:lnTo>
                  <a:pt x="13395" y="11044"/>
                </a:lnTo>
                <a:lnTo>
                  <a:pt x="13400" y="11039"/>
                </a:lnTo>
                <a:lnTo>
                  <a:pt x="13404" y="11033"/>
                </a:lnTo>
                <a:lnTo>
                  <a:pt x="13407" y="11026"/>
                </a:lnTo>
                <a:lnTo>
                  <a:pt x="13410" y="11018"/>
                </a:lnTo>
                <a:lnTo>
                  <a:pt x="13412" y="11009"/>
                </a:lnTo>
                <a:lnTo>
                  <a:pt x="13413" y="11000"/>
                </a:lnTo>
                <a:lnTo>
                  <a:pt x="13414" y="10990"/>
                </a:lnTo>
                <a:lnTo>
                  <a:pt x="13403" y="10989"/>
                </a:lnTo>
                <a:lnTo>
                  <a:pt x="13394" y="10987"/>
                </a:lnTo>
                <a:lnTo>
                  <a:pt x="13386" y="10985"/>
                </a:lnTo>
                <a:lnTo>
                  <a:pt x="13380" y="10981"/>
                </a:lnTo>
                <a:lnTo>
                  <a:pt x="13375" y="10977"/>
                </a:lnTo>
                <a:lnTo>
                  <a:pt x="13371" y="10972"/>
                </a:lnTo>
                <a:lnTo>
                  <a:pt x="13368" y="10966"/>
                </a:lnTo>
                <a:lnTo>
                  <a:pt x="13366" y="10960"/>
                </a:lnTo>
                <a:lnTo>
                  <a:pt x="13365" y="10954"/>
                </a:lnTo>
                <a:lnTo>
                  <a:pt x="13365" y="10947"/>
                </a:lnTo>
                <a:lnTo>
                  <a:pt x="13366" y="10940"/>
                </a:lnTo>
                <a:lnTo>
                  <a:pt x="13367" y="10933"/>
                </a:lnTo>
                <a:lnTo>
                  <a:pt x="13369" y="10926"/>
                </a:lnTo>
                <a:lnTo>
                  <a:pt x="13372" y="10919"/>
                </a:lnTo>
                <a:lnTo>
                  <a:pt x="13375" y="10912"/>
                </a:lnTo>
                <a:lnTo>
                  <a:pt x="13379" y="10905"/>
                </a:lnTo>
                <a:lnTo>
                  <a:pt x="13383" y="10898"/>
                </a:lnTo>
                <a:lnTo>
                  <a:pt x="13387" y="10892"/>
                </a:lnTo>
                <a:lnTo>
                  <a:pt x="13391" y="10887"/>
                </a:lnTo>
                <a:lnTo>
                  <a:pt x="13396" y="10882"/>
                </a:lnTo>
                <a:lnTo>
                  <a:pt x="13401" y="10879"/>
                </a:lnTo>
                <a:lnTo>
                  <a:pt x="13405" y="10876"/>
                </a:lnTo>
                <a:lnTo>
                  <a:pt x="13410" y="10874"/>
                </a:lnTo>
                <a:lnTo>
                  <a:pt x="13414" y="10873"/>
                </a:lnTo>
                <a:lnTo>
                  <a:pt x="13418" y="10873"/>
                </a:lnTo>
                <a:lnTo>
                  <a:pt x="13423" y="10875"/>
                </a:lnTo>
                <a:lnTo>
                  <a:pt x="13427" y="10877"/>
                </a:lnTo>
                <a:lnTo>
                  <a:pt x="13430" y="10882"/>
                </a:lnTo>
                <a:lnTo>
                  <a:pt x="13432" y="10888"/>
                </a:lnTo>
                <a:lnTo>
                  <a:pt x="13434" y="10895"/>
                </a:lnTo>
                <a:lnTo>
                  <a:pt x="13435" y="10905"/>
                </a:lnTo>
                <a:lnTo>
                  <a:pt x="13436" y="10916"/>
                </a:lnTo>
                <a:lnTo>
                  <a:pt x="13445" y="10916"/>
                </a:lnTo>
                <a:lnTo>
                  <a:pt x="13454" y="10915"/>
                </a:lnTo>
                <a:lnTo>
                  <a:pt x="13461" y="10913"/>
                </a:lnTo>
                <a:lnTo>
                  <a:pt x="13468" y="10910"/>
                </a:lnTo>
                <a:lnTo>
                  <a:pt x="13474" y="10907"/>
                </a:lnTo>
                <a:lnTo>
                  <a:pt x="13479" y="10904"/>
                </a:lnTo>
                <a:lnTo>
                  <a:pt x="13484" y="10898"/>
                </a:lnTo>
                <a:lnTo>
                  <a:pt x="13487" y="10894"/>
                </a:lnTo>
                <a:lnTo>
                  <a:pt x="13491" y="10888"/>
                </a:lnTo>
                <a:lnTo>
                  <a:pt x="13493" y="10883"/>
                </a:lnTo>
                <a:lnTo>
                  <a:pt x="13496" y="10877"/>
                </a:lnTo>
                <a:lnTo>
                  <a:pt x="13497" y="10871"/>
                </a:lnTo>
                <a:lnTo>
                  <a:pt x="13500" y="10857"/>
                </a:lnTo>
                <a:lnTo>
                  <a:pt x="13501" y="10843"/>
                </a:lnTo>
                <a:lnTo>
                  <a:pt x="13501" y="10813"/>
                </a:lnTo>
                <a:lnTo>
                  <a:pt x="13502" y="10784"/>
                </a:lnTo>
                <a:lnTo>
                  <a:pt x="13504" y="10769"/>
                </a:lnTo>
                <a:lnTo>
                  <a:pt x="13507" y="10756"/>
                </a:lnTo>
                <a:lnTo>
                  <a:pt x="13509" y="10750"/>
                </a:lnTo>
                <a:lnTo>
                  <a:pt x="13512" y="10745"/>
                </a:lnTo>
                <a:lnTo>
                  <a:pt x="13515" y="10740"/>
                </a:lnTo>
                <a:lnTo>
                  <a:pt x="13519" y="10735"/>
                </a:lnTo>
                <a:lnTo>
                  <a:pt x="13521" y="10760"/>
                </a:lnTo>
                <a:lnTo>
                  <a:pt x="13524" y="10792"/>
                </a:lnTo>
                <a:lnTo>
                  <a:pt x="13530" y="10827"/>
                </a:lnTo>
                <a:lnTo>
                  <a:pt x="13538" y="10863"/>
                </a:lnTo>
                <a:lnTo>
                  <a:pt x="13542" y="10880"/>
                </a:lnTo>
                <a:lnTo>
                  <a:pt x="13548" y="10896"/>
                </a:lnTo>
                <a:lnTo>
                  <a:pt x="13553" y="10913"/>
                </a:lnTo>
                <a:lnTo>
                  <a:pt x="13559" y="10926"/>
                </a:lnTo>
                <a:lnTo>
                  <a:pt x="13565" y="10938"/>
                </a:lnTo>
                <a:lnTo>
                  <a:pt x="13571" y="10947"/>
                </a:lnTo>
                <a:lnTo>
                  <a:pt x="13574" y="10951"/>
                </a:lnTo>
                <a:lnTo>
                  <a:pt x="13577" y="10954"/>
                </a:lnTo>
                <a:lnTo>
                  <a:pt x="13580" y="10957"/>
                </a:lnTo>
                <a:lnTo>
                  <a:pt x="13583" y="10958"/>
                </a:lnTo>
                <a:lnTo>
                  <a:pt x="13591" y="10965"/>
                </a:lnTo>
                <a:lnTo>
                  <a:pt x="13596" y="10972"/>
                </a:lnTo>
                <a:lnTo>
                  <a:pt x="13601" y="10978"/>
                </a:lnTo>
                <a:lnTo>
                  <a:pt x="13604" y="10984"/>
                </a:lnTo>
                <a:lnTo>
                  <a:pt x="13607" y="10990"/>
                </a:lnTo>
                <a:lnTo>
                  <a:pt x="13608" y="10996"/>
                </a:lnTo>
                <a:lnTo>
                  <a:pt x="13609" y="11001"/>
                </a:lnTo>
                <a:lnTo>
                  <a:pt x="13608" y="11007"/>
                </a:lnTo>
                <a:lnTo>
                  <a:pt x="13607" y="11012"/>
                </a:lnTo>
                <a:lnTo>
                  <a:pt x="13605" y="11017"/>
                </a:lnTo>
                <a:lnTo>
                  <a:pt x="13603" y="11022"/>
                </a:lnTo>
                <a:lnTo>
                  <a:pt x="13600" y="11027"/>
                </a:lnTo>
                <a:lnTo>
                  <a:pt x="13592" y="11036"/>
                </a:lnTo>
                <a:lnTo>
                  <a:pt x="13583" y="11045"/>
                </a:lnTo>
                <a:lnTo>
                  <a:pt x="13562" y="11062"/>
                </a:lnTo>
                <a:lnTo>
                  <a:pt x="13541" y="11079"/>
                </a:lnTo>
                <a:lnTo>
                  <a:pt x="13532" y="11088"/>
                </a:lnTo>
                <a:lnTo>
                  <a:pt x="13525" y="11097"/>
                </a:lnTo>
                <a:lnTo>
                  <a:pt x="13523" y="11102"/>
                </a:lnTo>
                <a:lnTo>
                  <a:pt x="13521" y="11106"/>
                </a:lnTo>
                <a:lnTo>
                  <a:pt x="13520" y="11111"/>
                </a:lnTo>
                <a:lnTo>
                  <a:pt x="13519" y="11117"/>
                </a:lnTo>
                <a:lnTo>
                  <a:pt x="13513" y="11121"/>
                </a:lnTo>
                <a:lnTo>
                  <a:pt x="13507" y="11126"/>
                </a:lnTo>
                <a:lnTo>
                  <a:pt x="13503" y="11132"/>
                </a:lnTo>
                <a:lnTo>
                  <a:pt x="13499" y="11139"/>
                </a:lnTo>
                <a:lnTo>
                  <a:pt x="13496" y="11147"/>
                </a:lnTo>
                <a:lnTo>
                  <a:pt x="13493" y="11156"/>
                </a:lnTo>
                <a:lnTo>
                  <a:pt x="13491" y="11165"/>
                </a:lnTo>
                <a:lnTo>
                  <a:pt x="13490" y="11174"/>
                </a:lnTo>
                <a:lnTo>
                  <a:pt x="13488" y="11192"/>
                </a:lnTo>
                <a:lnTo>
                  <a:pt x="13488" y="11208"/>
                </a:lnTo>
                <a:lnTo>
                  <a:pt x="13488" y="11222"/>
                </a:lnTo>
                <a:lnTo>
                  <a:pt x="13488" y="11233"/>
                </a:lnTo>
                <a:lnTo>
                  <a:pt x="13475" y="11233"/>
                </a:lnTo>
                <a:lnTo>
                  <a:pt x="13462" y="11233"/>
                </a:lnTo>
                <a:lnTo>
                  <a:pt x="13449" y="11233"/>
                </a:lnTo>
                <a:lnTo>
                  <a:pt x="13436" y="11233"/>
                </a:lnTo>
                <a:lnTo>
                  <a:pt x="13434" y="11253"/>
                </a:lnTo>
                <a:lnTo>
                  <a:pt x="13432" y="11272"/>
                </a:lnTo>
                <a:lnTo>
                  <a:pt x="13429" y="11293"/>
                </a:lnTo>
                <a:lnTo>
                  <a:pt x="13425" y="11314"/>
                </a:lnTo>
                <a:lnTo>
                  <a:pt x="13415" y="11354"/>
                </a:lnTo>
                <a:lnTo>
                  <a:pt x="13406" y="11393"/>
                </a:lnTo>
                <a:lnTo>
                  <a:pt x="13397" y="11433"/>
                </a:lnTo>
                <a:lnTo>
                  <a:pt x="13389" y="11471"/>
                </a:lnTo>
                <a:lnTo>
                  <a:pt x="13386" y="11489"/>
                </a:lnTo>
                <a:lnTo>
                  <a:pt x="13384" y="11506"/>
                </a:lnTo>
                <a:lnTo>
                  <a:pt x="13383" y="11523"/>
                </a:lnTo>
                <a:lnTo>
                  <a:pt x="13382" y="11540"/>
                </a:lnTo>
                <a:lnTo>
                  <a:pt x="13378" y="11541"/>
                </a:lnTo>
                <a:lnTo>
                  <a:pt x="13374" y="11542"/>
                </a:lnTo>
                <a:lnTo>
                  <a:pt x="13370" y="11545"/>
                </a:lnTo>
                <a:lnTo>
                  <a:pt x="13367" y="11548"/>
                </a:lnTo>
                <a:lnTo>
                  <a:pt x="13364" y="11552"/>
                </a:lnTo>
                <a:lnTo>
                  <a:pt x="13361" y="11557"/>
                </a:lnTo>
                <a:lnTo>
                  <a:pt x="13359" y="11562"/>
                </a:lnTo>
                <a:lnTo>
                  <a:pt x="13357" y="11569"/>
                </a:lnTo>
                <a:lnTo>
                  <a:pt x="13353" y="11583"/>
                </a:lnTo>
                <a:lnTo>
                  <a:pt x="13350" y="11600"/>
                </a:lnTo>
                <a:lnTo>
                  <a:pt x="13348" y="11619"/>
                </a:lnTo>
                <a:lnTo>
                  <a:pt x="13347" y="11639"/>
                </a:lnTo>
                <a:lnTo>
                  <a:pt x="13345" y="11684"/>
                </a:lnTo>
                <a:lnTo>
                  <a:pt x="13345" y="11731"/>
                </a:lnTo>
                <a:lnTo>
                  <a:pt x="13344" y="11778"/>
                </a:lnTo>
                <a:lnTo>
                  <a:pt x="13343" y="11824"/>
                </a:lnTo>
                <a:lnTo>
                  <a:pt x="13324" y="11850"/>
                </a:lnTo>
                <a:lnTo>
                  <a:pt x="13305" y="11877"/>
                </a:lnTo>
                <a:lnTo>
                  <a:pt x="13285" y="11904"/>
                </a:lnTo>
                <a:lnTo>
                  <a:pt x="13266" y="11931"/>
                </a:lnTo>
                <a:lnTo>
                  <a:pt x="13242" y="11932"/>
                </a:lnTo>
                <a:lnTo>
                  <a:pt x="13221" y="11929"/>
                </a:lnTo>
                <a:lnTo>
                  <a:pt x="13202" y="11922"/>
                </a:lnTo>
                <a:lnTo>
                  <a:pt x="13184" y="11911"/>
                </a:lnTo>
                <a:lnTo>
                  <a:pt x="13168" y="11896"/>
                </a:lnTo>
                <a:lnTo>
                  <a:pt x="13153" y="11879"/>
                </a:lnTo>
                <a:lnTo>
                  <a:pt x="13140" y="11859"/>
                </a:lnTo>
                <a:lnTo>
                  <a:pt x="13130" y="11837"/>
                </a:lnTo>
                <a:lnTo>
                  <a:pt x="13120" y="11812"/>
                </a:lnTo>
                <a:lnTo>
                  <a:pt x="13112" y="11784"/>
                </a:lnTo>
                <a:lnTo>
                  <a:pt x="13105" y="11754"/>
                </a:lnTo>
                <a:lnTo>
                  <a:pt x="13100" y="11724"/>
                </a:lnTo>
                <a:lnTo>
                  <a:pt x="13095" y="11692"/>
                </a:lnTo>
                <a:lnTo>
                  <a:pt x="13092" y="11658"/>
                </a:lnTo>
                <a:lnTo>
                  <a:pt x="13090" y="11623"/>
                </a:lnTo>
                <a:lnTo>
                  <a:pt x="13089" y="11588"/>
                </a:lnTo>
                <a:lnTo>
                  <a:pt x="13088" y="11553"/>
                </a:lnTo>
                <a:lnTo>
                  <a:pt x="13089" y="11516"/>
                </a:lnTo>
                <a:lnTo>
                  <a:pt x="13090" y="11480"/>
                </a:lnTo>
                <a:lnTo>
                  <a:pt x="13092" y="11445"/>
                </a:lnTo>
                <a:lnTo>
                  <a:pt x="13094" y="11410"/>
                </a:lnTo>
                <a:lnTo>
                  <a:pt x="13097" y="11375"/>
                </a:lnTo>
                <a:lnTo>
                  <a:pt x="13101" y="11342"/>
                </a:lnTo>
                <a:lnTo>
                  <a:pt x="13104" y="11310"/>
                </a:lnTo>
                <a:lnTo>
                  <a:pt x="13113" y="11250"/>
                </a:lnTo>
                <a:lnTo>
                  <a:pt x="13122" y="11199"/>
                </a:lnTo>
                <a:lnTo>
                  <a:pt x="13126" y="11177"/>
                </a:lnTo>
                <a:lnTo>
                  <a:pt x="13130" y="11158"/>
                </a:lnTo>
                <a:lnTo>
                  <a:pt x="13135" y="11140"/>
                </a:lnTo>
                <a:lnTo>
                  <a:pt x="13139" y="11127"/>
                </a:lnTo>
                <a:close/>
                <a:moveTo>
                  <a:pt x="14524" y="7522"/>
                </a:moveTo>
                <a:lnTo>
                  <a:pt x="14491" y="7522"/>
                </a:lnTo>
                <a:lnTo>
                  <a:pt x="14457" y="7520"/>
                </a:lnTo>
                <a:lnTo>
                  <a:pt x="14422" y="7516"/>
                </a:lnTo>
                <a:lnTo>
                  <a:pt x="14389" y="7511"/>
                </a:lnTo>
                <a:lnTo>
                  <a:pt x="14359" y="7506"/>
                </a:lnTo>
                <a:lnTo>
                  <a:pt x="14332" y="7500"/>
                </a:lnTo>
                <a:lnTo>
                  <a:pt x="14310" y="7492"/>
                </a:lnTo>
                <a:lnTo>
                  <a:pt x="14292" y="7487"/>
                </a:lnTo>
                <a:lnTo>
                  <a:pt x="14272" y="7486"/>
                </a:lnTo>
                <a:lnTo>
                  <a:pt x="14253" y="7484"/>
                </a:lnTo>
                <a:lnTo>
                  <a:pt x="14233" y="7482"/>
                </a:lnTo>
                <a:lnTo>
                  <a:pt x="14214" y="7478"/>
                </a:lnTo>
                <a:lnTo>
                  <a:pt x="14195" y="7474"/>
                </a:lnTo>
                <a:lnTo>
                  <a:pt x="14176" y="7469"/>
                </a:lnTo>
                <a:lnTo>
                  <a:pt x="14157" y="7463"/>
                </a:lnTo>
                <a:lnTo>
                  <a:pt x="14138" y="7456"/>
                </a:lnTo>
                <a:lnTo>
                  <a:pt x="14101" y="7442"/>
                </a:lnTo>
                <a:lnTo>
                  <a:pt x="14064" y="7427"/>
                </a:lnTo>
                <a:lnTo>
                  <a:pt x="14027" y="7410"/>
                </a:lnTo>
                <a:lnTo>
                  <a:pt x="13990" y="7394"/>
                </a:lnTo>
                <a:lnTo>
                  <a:pt x="13954" y="7379"/>
                </a:lnTo>
                <a:lnTo>
                  <a:pt x="13917" y="7364"/>
                </a:lnTo>
                <a:lnTo>
                  <a:pt x="13898" y="7358"/>
                </a:lnTo>
                <a:lnTo>
                  <a:pt x="13880" y="7352"/>
                </a:lnTo>
                <a:lnTo>
                  <a:pt x="13861" y="7347"/>
                </a:lnTo>
                <a:lnTo>
                  <a:pt x="13843" y="7343"/>
                </a:lnTo>
                <a:lnTo>
                  <a:pt x="13824" y="7340"/>
                </a:lnTo>
                <a:lnTo>
                  <a:pt x="13806" y="7338"/>
                </a:lnTo>
                <a:lnTo>
                  <a:pt x="13786" y="7336"/>
                </a:lnTo>
                <a:lnTo>
                  <a:pt x="13767" y="7336"/>
                </a:lnTo>
                <a:lnTo>
                  <a:pt x="13748" y="7337"/>
                </a:lnTo>
                <a:lnTo>
                  <a:pt x="13729" y="7340"/>
                </a:lnTo>
                <a:lnTo>
                  <a:pt x="13709" y="7343"/>
                </a:lnTo>
                <a:lnTo>
                  <a:pt x="13690" y="7349"/>
                </a:lnTo>
                <a:lnTo>
                  <a:pt x="13690" y="7345"/>
                </a:lnTo>
                <a:lnTo>
                  <a:pt x="13691" y="7342"/>
                </a:lnTo>
                <a:lnTo>
                  <a:pt x="13690" y="7340"/>
                </a:lnTo>
                <a:lnTo>
                  <a:pt x="13689" y="7338"/>
                </a:lnTo>
                <a:lnTo>
                  <a:pt x="13688" y="7337"/>
                </a:lnTo>
                <a:lnTo>
                  <a:pt x="13685" y="7337"/>
                </a:lnTo>
                <a:lnTo>
                  <a:pt x="13682" y="7337"/>
                </a:lnTo>
                <a:lnTo>
                  <a:pt x="13679" y="7338"/>
                </a:lnTo>
                <a:lnTo>
                  <a:pt x="13680" y="7333"/>
                </a:lnTo>
                <a:lnTo>
                  <a:pt x="13680" y="7326"/>
                </a:lnTo>
                <a:lnTo>
                  <a:pt x="13679" y="7318"/>
                </a:lnTo>
                <a:lnTo>
                  <a:pt x="13677" y="7309"/>
                </a:lnTo>
                <a:lnTo>
                  <a:pt x="13674" y="7298"/>
                </a:lnTo>
                <a:lnTo>
                  <a:pt x="13669" y="7287"/>
                </a:lnTo>
                <a:lnTo>
                  <a:pt x="13665" y="7275"/>
                </a:lnTo>
                <a:lnTo>
                  <a:pt x="13659" y="7263"/>
                </a:lnTo>
                <a:lnTo>
                  <a:pt x="13647" y="7236"/>
                </a:lnTo>
                <a:lnTo>
                  <a:pt x="13632" y="7209"/>
                </a:lnTo>
                <a:lnTo>
                  <a:pt x="13615" y="7182"/>
                </a:lnTo>
                <a:lnTo>
                  <a:pt x="13596" y="7156"/>
                </a:lnTo>
                <a:lnTo>
                  <a:pt x="13587" y="7144"/>
                </a:lnTo>
                <a:lnTo>
                  <a:pt x="13577" y="7133"/>
                </a:lnTo>
                <a:lnTo>
                  <a:pt x="13567" y="7122"/>
                </a:lnTo>
                <a:lnTo>
                  <a:pt x="13557" y="7111"/>
                </a:lnTo>
                <a:lnTo>
                  <a:pt x="13546" y="7102"/>
                </a:lnTo>
                <a:lnTo>
                  <a:pt x="13535" y="7095"/>
                </a:lnTo>
                <a:lnTo>
                  <a:pt x="13525" y="7089"/>
                </a:lnTo>
                <a:lnTo>
                  <a:pt x="13515" y="7084"/>
                </a:lnTo>
                <a:lnTo>
                  <a:pt x="13505" y="7081"/>
                </a:lnTo>
                <a:lnTo>
                  <a:pt x="13495" y="7079"/>
                </a:lnTo>
                <a:lnTo>
                  <a:pt x="13486" y="7080"/>
                </a:lnTo>
                <a:lnTo>
                  <a:pt x="13477" y="7082"/>
                </a:lnTo>
                <a:lnTo>
                  <a:pt x="13468" y="7087"/>
                </a:lnTo>
                <a:lnTo>
                  <a:pt x="13460" y="7093"/>
                </a:lnTo>
                <a:lnTo>
                  <a:pt x="13452" y="7102"/>
                </a:lnTo>
                <a:lnTo>
                  <a:pt x="13445" y="7113"/>
                </a:lnTo>
                <a:lnTo>
                  <a:pt x="13443" y="7117"/>
                </a:lnTo>
                <a:lnTo>
                  <a:pt x="13442" y="7122"/>
                </a:lnTo>
                <a:lnTo>
                  <a:pt x="13442" y="7127"/>
                </a:lnTo>
                <a:lnTo>
                  <a:pt x="13442" y="7132"/>
                </a:lnTo>
                <a:lnTo>
                  <a:pt x="13443" y="7144"/>
                </a:lnTo>
                <a:lnTo>
                  <a:pt x="13447" y="7156"/>
                </a:lnTo>
                <a:lnTo>
                  <a:pt x="13451" y="7170"/>
                </a:lnTo>
                <a:lnTo>
                  <a:pt x="13457" y="7185"/>
                </a:lnTo>
                <a:lnTo>
                  <a:pt x="13464" y="7200"/>
                </a:lnTo>
                <a:lnTo>
                  <a:pt x="13472" y="7215"/>
                </a:lnTo>
                <a:lnTo>
                  <a:pt x="13481" y="7230"/>
                </a:lnTo>
                <a:lnTo>
                  <a:pt x="13490" y="7246"/>
                </a:lnTo>
                <a:lnTo>
                  <a:pt x="13499" y="7260"/>
                </a:lnTo>
                <a:lnTo>
                  <a:pt x="13508" y="7273"/>
                </a:lnTo>
                <a:lnTo>
                  <a:pt x="13517" y="7284"/>
                </a:lnTo>
                <a:lnTo>
                  <a:pt x="13526" y="7294"/>
                </a:lnTo>
                <a:lnTo>
                  <a:pt x="13534" y="7301"/>
                </a:lnTo>
                <a:lnTo>
                  <a:pt x="13541" y="7307"/>
                </a:lnTo>
                <a:lnTo>
                  <a:pt x="13541" y="7319"/>
                </a:lnTo>
                <a:lnTo>
                  <a:pt x="13544" y="7334"/>
                </a:lnTo>
                <a:lnTo>
                  <a:pt x="13549" y="7349"/>
                </a:lnTo>
                <a:lnTo>
                  <a:pt x="13554" y="7366"/>
                </a:lnTo>
                <a:lnTo>
                  <a:pt x="13560" y="7383"/>
                </a:lnTo>
                <a:lnTo>
                  <a:pt x="13567" y="7399"/>
                </a:lnTo>
                <a:lnTo>
                  <a:pt x="13571" y="7405"/>
                </a:lnTo>
                <a:lnTo>
                  <a:pt x="13575" y="7412"/>
                </a:lnTo>
                <a:lnTo>
                  <a:pt x="13579" y="7417"/>
                </a:lnTo>
                <a:lnTo>
                  <a:pt x="13584" y="7422"/>
                </a:lnTo>
                <a:lnTo>
                  <a:pt x="13594" y="7433"/>
                </a:lnTo>
                <a:lnTo>
                  <a:pt x="13601" y="7443"/>
                </a:lnTo>
                <a:lnTo>
                  <a:pt x="13605" y="7452"/>
                </a:lnTo>
                <a:lnTo>
                  <a:pt x="13607" y="7460"/>
                </a:lnTo>
                <a:lnTo>
                  <a:pt x="13608" y="7468"/>
                </a:lnTo>
                <a:lnTo>
                  <a:pt x="13607" y="7475"/>
                </a:lnTo>
                <a:lnTo>
                  <a:pt x="13604" y="7482"/>
                </a:lnTo>
                <a:lnTo>
                  <a:pt x="13601" y="7489"/>
                </a:lnTo>
                <a:lnTo>
                  <a:pt x="13594" y="7502"/>
                </a:lnTo>
                <a:lnTo>
                  <a:pt x="13586" y="7514"/>
                </a:lnTo>
                <a:lnTo>
                  <a:pt x="13584" y="7520"/>
                </a:lnTo>
                <a:lnTo>
                  <a:pt x="13582" y="7526"/>
                </a:lnTo>
                <a:lnTo>
                  <a:pt x="13582" y="7533"/>
                </a:lnTo>
                <a:lnTo>
                  <a:pt x="13583" y="7540"/>
                </a:lnTo>
                <a:lnTo>
                  <a:pt x="13597" y="7540"/>
                </a:lnTo>
                <a:lnTo>
                  <a:pt x="13609" y="7539"/>
                </a:lnTo>
                <a:lnTo>
                  <a:pt x="13618" y="7538"/>
                </a:lnTo>
                <a:lnTo>
                  <a:pt x="13627" y="7536"/>
                </a:lnTo>
                <a:lnTo>
                  <a:pt x="13633" y="7533"/>
                </a:lnTo>
                <a:lnTo>
                  <a:pt x="13639" y="7529"/>
                </a:lnTo>
                <a:lnTo>
                  <a:pt x="13644" y="7525"/>
                </a:lnTo>
                <a:lnTo>
                  <a:pt x="13648" y="7519"/>
                </a:lnTo>
                <a:lnTo>
                  <a:pt x="13651" y="7511"/>
                </a:lnTo>
                <a:lnTo>
                  <a:pt x="13653" y="7503"/>
                </a:lnTo>
                <a:lnTo>
                  <a:pt x="13655" y="7491"/>
                </a:lnTo>
                <a:lnTo>
                  <a:pt x="13658" y="7480"/>
                </a:lnTo>
                <a:lnTo>
                  <a:pt x="13662" y="7450"/>
                </a:lnTo>
                <a:lnTo>
                  <a:pt x="13668" y="7413"/>
                </a:lnTo>
                <a:lnTo>
                  <a:pt x="13674" y="7417"/>
                </a:lnTo>
                <a:lnTo>
                  <a:pt x="13678" y="7421"/>
                </a:lnTo>
                <a:lnTo>
                  <a:pt x="13682" y="7423"/>
                </a:lnTo>
                <a:lnTo>
                  <a:pt x="13690" y="7423"/>
                </a:lnTo>
                <a:lnTo>
                  <a:pt x="13686" y="7439"/>
                </a:lnTo>
                <a:lnTo>
                  <a:pt x="13685" y="7454"/>
                </a:lnTo>
                <a:lnTo>
                  <a:pt x="13685" y="7469"/>
                </a:lnTo>
                <a:lnTo>
                  <a:pt x="13687" y="7484"/>
                </a:lnTo>
                <a:lnTo>
                  <a:pt x="13690" y="7499"/>
                </a:lnTo>
                <a:lnTo>
                  <a:pt x="13695" y="7513"/>
                </a:lnTo>
                <a:lnTo>
                  <a:pt x="13701" y="7527"/>
                </a:lnTo>
                <a:lnTo>
                  <a:pt x="13709" y="7540"/>
                </a:lnTo>
                <a:lnTo>
                  <a:pt x="13721" y="7560"/>
                </a:lnTo>
                <a:lnTo>
                  <a:pt x="13730" y="7575"/>
                </a:lnTo>
                <a:lnTo>
                  <a:pt x="13736" y="7586"/>
                </a:lnTo>
                <a:lnTo>
                  <a:pt x="13739" y="7593"/>
                </a:lnTo>
                <a:lnTo>
                  <a:pt x="13740" y="7597"/>
                </a:lnTo>
                <a:lnTo>
                  <a:pt x="13739" y="7600"/>
                </a:lnTo>
                <a:lnTo>
                  <a:pt x="13736" y="7600"/>
                </a:lnTo>
                <a:lnTo>
                  <a:pt x="13733" y="7599"/>
                </a:lnTo>
                <a:lnTo>
                  <a:pt x="13729" y="7599"/>
                </a:lnTo>
                <a:lnTo>
                  <a:pt x="13724" y="7598"/>
                </a:lnTo>
                <a:lnTo>
                  <a:pt x="13720" y="7598"/>
                </a:lnTo>
                <a:lnTo>
                  <a:pt x="13717" y="7600"/>
                </a:lnTo>
                <a:lnTo>
                  <a:pt x="13716" y="7601"/>
                </a:lnTo>
                <a:lnTo>
                  <a:pt x="13715" y="7604"/>
                </a:lnTo>
                <a:lnTo>
                  <a:pt x="13715" y="7607"/>
                </a:lnTo>
                <a:lnTo>
                  <a:pt x="13715" y="7610"/>
                </a:lnTo>
                <a:lnTo>
                  <a:pt x="13717" y="7620"/>
                </a:lnTo>
                <a:lnTo>
                  <a:pt x="13721" y="7635"/>
                </a:lnTo>
                <a:lnTo>
                  <a:pt x="13741" y="7635"/>
                </a:lnTo>
                <a:lnTo>
                  <a:pt x="13761" y="7633"/>
                </a:lnTo>
                <a:lnTo>
                  <a:pt x="13781" y="7629"/>
                </a:lnTo>
                <a:lnTo>
                  <a:pt x="13801" y="7624"/>
                </a:lnTo>
                <a:lnTo>
                  <a:pt x="13820" y="7617"/>
                </a:lnTo>
                <a:lnTo>
                  <a:pt x="13838" y="7609"/>
                </a:lnTo>
                <a:lnTo>
                  <a:pt x="13856" y="7600"/>
                </a:lnTo>
                <a:lnTo>
                  <a:pt x="13874" y="7589"/>
                </a:lnTo>
                <a:lnTo>
                  <a:pt x="13890" y="7577"/>
                </a:lnTo>
                <a:lnTo>
                  <a:pt x="13907" y="7563"/>
                </a:lnTo>
                <a:lnTo>
                  <a:pt x="13922" y="7547"/>
                </a:lnTo>
                <a:lnTo>
                  <a:pt x="13937" y="7530"/>
                </a:lnTo>
                <a:lnTo>
                  <a:pt x="13951" y="7512"/>
                </a:lnTo>
                <a:lnTo>
                  <a:pt x="13963" y="7490"/>
                </a:lnTo>
                <a:lnTo>
                  <a:pt x="13975" y="7468"/>
                </a:lnTo>
                <a:lnTo>
                  <a:pt x="13986" y="7444"/>
                </a:lnTo>
                <a:lnTo>
                  <a:pt x="13992" y="7450"/>
                </a:lnTo>
                <a:lnTo>
                  <a:pt x="13997" y="7456"/>
                </a:lnTo>
                <a:lnTo>
                  <a:pt x="14000" y="7463"/>
                </a:lnTo>
                <a:lnTo>
                  <a:pt x="14002" y="7469"/>
                </a:lnTo>
                <a:lnTo>
                  <a:pt x="14003" y="7476"/>
                </a:lnTo>
                <a:lnTo>
                  <a:pt x="14003" y="7482"/>
                </a:lnTo>
                <a:lnTo>
                  <a:pt x="14002" y="7489"/>
                </a:lnTo>
                <a:lnTo>
                  <a:pt x="14001" y="7495"/>
                </a:lnTo>
                <a:lnTo>
                  <a:pt x="14001" y="7503"/>
                </a:lnTo>
                <a:lnTo>
                  <a:pt x="14000" y="7509"/>
                </a:lnTo>
                <a:lnTo>
                  <a:pt x="14000" y="7515"/>
                </a:lnTo>
                <a:lnTo>
                  <a:pt x="14001" y="7521"/>
                </a:lnTo>
                <a:lnTo>
                  <a:pt x="14003" y="7526"/>
                </a:lnTo>
                <a:lnTo>
                  <a:pt x="14006" y="7531"/>
                </a:lnTo>
                <a:lnTo>
                  <a:pt x="14010" y="7536"/>
                </a:lnTo>
                <a:lnTo>
                  <a:pt x="14017" y="7540"/>
                </a:lnTo>
                <a:lnTo>
                  <a:pt x="14042" y="7567"/>
                </a:lnTo>
                <a:lnTo>
                  <a:pt x="14063" y="7591"/>
                </a:lnTo>
                <a:lnTo>
                  <a:pt x="14066" y="7598"/>
                </a:lnTo>
                <a:lnTo>
                  <a:pt x="14069" y="7604"/>
                </a:lnTo>
                <a:lnTo>
                  <a:pt x="14071" y="7610"/>
                </a:lnTo>
                <a:lnTo>
                  <a:pt x="14071" y="7617"/>
                </a:lnTo>
                <a:lnTo>
                  <a:pt x="14071" y="7625"/>
                </a:lnTo>
                <a:lnTo>
                  <a:pt x="14070" y="7633"/>
                </a:lnTo>
                <a:lnTo>
                  <a:pt x="14068" y="7641"/>
                </a:lnTo>
                <a:lnTo>
                  <a:pt x="14064" y="7650"/>
                </a:lnTo>
                <a:lnTo>
                  <a:pt x="14063" y="7653"/>
                </a:lnTo>
                <a:lnTo>
                  <a:pt x="14063" y="7656"/>
                </a:lnTo>
                <a:lnTo>
                  <a:pt x="14063" y="7659"/>
                </a:lnTo>
                <a:lnTo>
                  <a:pt x="14064" y="7663"/>
                </a:lnTo>
                <a:lnTo>
                  <a:pt x="14067" y="7670"/>
                </a:lnTo>
                <a:lnTo>
                  <a:pt x="14072" y="7676"/>
                </a:lnTo>
                <a:lnTo>
                  <a:pt x="14078" y="7683"/>
                </a:lnTo>
                <a:lnTo>
                  <a:pt x="14085" y="7688"/>
                </a:lnTo>
                <a:lnTo>
                  <a:pt x="14093" y="7692"/>
                </a:lnTo>
                <a:lnTo>
                  <a:pt x="14101" y="7695"/>
                </a:lnTo>
                <a:lnTo>
                  <a:pt x="14105" y="7695"/>
                </a:lnTo>
                <a:lnTo>
                  <a:pt x="14109" y="7696"/>
                </a:lnTo>
                <a:lnTo>
                  <a:pt x="14113" y="7695"/>
                </a:lnTo>
                <a:lnTo>
                  <a:pt x="14116" y="7694"/>
                </a:lnTo>
                <a:lnTo>
                  <a:pt x="14120" y="7693"/>
                </a:lnTo>
                <a:lnTo>
                  <a:pt x="14123" y="7691"/>
                </a:lnTo>
                <a:lnTo>
                  <a:pt x="14126" y="7688"/>
                </a:lnTo>
                <a:lnTo>
                  <a:pt x="14129" y="7684"/>
                </a:lnTo>
                <a:lnTo>
                  <a:pt x="14131" y="7680"/>
                </a:lnTo>
                <a:lnTo>
                  <a:pt x="14133" y="7675"/>
                </a:lnTo>
                <a:lnTo>
                  <a:pt x="14135" y="7669"/>
                </a:lnTo>
                <a:lnTo>
                  <a:pt x="14135" y="7662"/>
                </a:lnTo>
                <a:lnTo>
                  <a:pt x="14136" y="7654"/>
                </a:lnTo>
                <a:lnTo>
                  <a:pt x="14136" y="7646"/>
                </a:lnTo>
                <a:lnTo>
                  <a:pt x="14135" y="7636"/>
                </a:lnTo>
                <a:lnTo>
                  <a:pt x="14133" y="7625"/>
                </a:lnTo>
                <a:lnTo>
                  <a:pt x="14144" y="7628"/>
                </a:lnTo>
                <a:lnTo>
                  <a:pt x="14153" y="7632"/>
                </a:lnTo>
                <a:lnTo>
                  <a:pt x="14162" y="7637"/>
                </a:lnTo>
                <a:lnTo>
                  <a:pt x="14170" y="7642"/>
                </a:lnTo>
                <a:lnTo>
                  <a:pt x="14179" y="7648"/>
                </a:lnTo>
                <a:lnTo>
                  <a:pt x="14185" y="7654"/>
                </a:lnTo>
                <a:lnTo>
                  <a:pt x="14191" y="7660"/>
                </a:lnTo>
                <a:lnTo>
                  <a:pt x="14196" y="7667"/>
                </a:lnTo>
                <a:lnTo>
                  <a:pt x="14201" y="7674"/>
                </a:lnTo>
                <a:lnTo>
                  <a:pt x="14205" y="7682"/>
                </a:lnTo>
                <a:lnTo>
                  <a:pt x="14208" y="7689"/>
                </a:lnTo>
                <a:lnTo>
                  <a:pt x="14210" y="7698"/>
                </a:lnTo>
                <a:lnTo>
                  <a:pt x="14212" y="7706"/>
                </a:lnTo>
                <a:lnTo>
                  <a:pt x="14213" y="7714"/>
                </a:lnTo>
                <a:lnTo>
                  <a:pt x="14214" y="7723"/>
                </a:lnTo>
                <a:lnTo>
                  <a:pt x="14214" y="7732"/>
                </a:lnTo>
                <a:lnTo>
                  <a:pt x="14214" y="7740"/>
                </a:lnTo>
                <a:lnTo>
                  <a:pt x="14213" y="7750"/>
                </a:lnTo>
                <a:lnTo>
                  <a:pt x="14211" y="7759"/>
                </a:lnTo>
                <a:lnTo>
                  <a:pt x="14209" y="7768"/>
                </a:lnTo>
                <a:lnTo>
                  <a:pt x="14206" y="7777"/>
                </a:lnTo>
                <a:lnTo>
                  <a:pt x="14203" y="7785"/>
                </a:lnTo>
                <a:lnTo>
                  <a:pt x="14199" y="7794"/>
                </a:lnTo>
                <a:lnTo>
                  <a:pt x="14195" y="7802"/>
                </a:lnTo>
                <a:lnTo>
                  <a:pt x="14190" y="7810"/>
                </a:lnTo>
                <a:lnTo>
                  <a:pt x="14185" y="7818"/>
                </a:lnTo>
                <a:lnTo>
                  <a:pt x="14180" y="7825"/>
                </a:lnTo>
                <a:lnTo>
                  <a:pt x="14172" y="7832"/>
                </a:lnTo>
                <a:lnTo>
                  <a:pt x="14166" y="7839"/>
                </a:lnTo>
                <a:lnTo>
                  <a:pt x="14159" y="7845"/>
                </a:lnTo>
                <a:lnTo>
                  <a:pt x="14152" y="7851"/>
                </a:lnTo>
                <a:lnTo>
                  <a:pt x="14144" y="7857"/>
                </a:lnTo>
                <a:lnTo>
                  <a:pt x="14144" y="7867"/>
                </a:lnTo>
                <a:lnTo>
                  <a:pt x="14142" y="7876"/>
                </a:lnTo>
                <a:lnTo>
                  <a:pt x="14139" y="7884"/>
                </a:lnTo>
                <a:lnTo>
                  <a:pt x="14136" y="7892"/>
                </a:lnTo>
                <a:lnTo>
                  <a:pt x="14127" y="7905"/>
                </a:lnTo>
                <a:lnTo>
                  <a:pt x="14118" y="7917"/>
                </a:lnTo>
                <a:lnTo>
                  <a:pt x="14113" y="7924"/>
                </a:lnTo>
                <a:lnTo>
                  <a:pt x="14108" y="7931"/>
                </a:lnTo>
                <a:lnTo>
                  <a:pt x="14104" y="7938"/>
                </a:lnTo>
                <a:lnTo>
                  <a:pt x="14100" y="7946"/>
                </a:lnTo>
                <a:lnTo>
                  <a:pt x="14096" y="7955"/>
                </a:lnTo>
                <a:lnTo>
                  <a:pt x="14094" y="7965"/>
                </a:lnTo>
                <a:lnTo>
                  <a:pt x="14092" y="7977"/>
                </a:lnTo>
                <a:lnTo>
                  <a:pt x="14091" y="7989"/>
                </a:lnTo>
                <a:lnTo>
                  <a:pt x="14091" y="7998"/>
                </a:lnTo>
                <a:lnTo>
                  <a:pt x="14090" y="8009"/>
                </a:lnTo>
                <a:lnTo>
                  <a:pt x="14088" y="8019"/>
                </a:lnTo>
                <a:lnTo>
                  <a:pt x="14085" y="8030"/>
                </a:lnTo>
                <a:lnTo>
                  <a:pt x="14082" y="8041"/>
                </a:lnTo>
                <a:lnTo>
                  <a:pt x="14079" y="8051"/>
                </a:lnTo>
                <a:lnTo>
                  <a:pt x="14074" y="8062"/>
                </a:lnTo>
                <a:lnTo>
                  <a:pt x="14069" y="8073"/>
                </a:lnTo>
                <a:lnTo>
                  <a:pt x="14064" y="8083"/>
                </a:lnTo>
                <a:lnTo>
                  <a:pt x="14058" y="8093"/>
                </a:lnTo>
                <a:lnTo>
                  <a:pt x="14052" y="8102"/>
                </a:lnTo>
                <a:lnTo>
                  <a:pt x="14045" y="8110"/>
                </a:lnTo>
                <a:lnTo>
                  <a:pt x="14038" y="8117"/>
                </a:lnTo>
                <a:lnTo>
                  <a:pt x="14031" y="8123"/>
                </a:lnTo>
                <a:lnTo>
                  <a:pt x="14024" y="8129"/>
                </a:lnTo>
                <a:lnTo>
                  <a:pt x="14017" y="8133"/>
                </a:lnTo>
                <a:lnTo>
                  <a:pt x="14016" y="8136"/>
                </a:lnTo>
                <a:lnTo>
                  <a:pt x="14013" y="8139"/>
                </a:lnTo>
                <a:lnTo>
                  <a:pt x="14009" y="8143"/>
                </a:lnTo>
                <a:lnTo>
                  <a:pt x="14003" y="8148"/>
                </a:lnTo>
                <a:lnTo>
                  <a:pt x="13988" y="8159"/>
                </a:lnTo>
                <a:lnTo>
                  <a:pt x="13968" y="8171"/>
                </a:lnTo>
                <a:lnTo>
                  <a:pt x="13918" y="8200"/>
                </a:lnTo>
                <a:lnTo>
                  <a:pt x="13862" y="8232"/>
                </a:lnTo>
                <a:lnTo>
                  <a:pt x="13834" y="8249"/>
                </a:lnTo>
                <a:lnTo>
                  <a:pt x="13807" y="8267"/>
                </a:lnTo>
                <a:lnTo>
                  <a:pt x="13781" y="8283"/>
                </a:lnTo>
                <a:lnTo>
                  <a:pt x="13759" y="8300"/>
                </a:lnTo>
                <a:lnTo>
                  <a:pt x="13749" y="8307"/>
                </a:lnTo>
                <a:lnTo>
                  <a:pt x="13741" y="8315"/>
                </a:lnTo>
                <a:lnTo>
                  <a:pt x="13734" y="8322"/>
                </a:lnTo>
                <a:lnTo>
                  <a:pt x="13728" y="8329"/>
                </a:lnTo>
                <a:lnTo>
                  <a:pt x="13724" y="8336"/>
                </a:lnTo>
                <a:lnTo>
                  <a:pt x="13721" y="8343"/>
                </a:lnTo>
                <a:lnTo>
                  <a:pt x="13720" y="8349"/>
                </a:lnTo>
                <a:lnTo>
                  <a:pt x="13721" y="8354"/>
                </a:lnTo>
                <a:lnTo>
                  <a:pt x="13709" y="8355"/>
                </a:lnTo>
                <a:lnTo>
                  <a:pt x="13695" y="8357"/>
                </a:lnTo>
                <a:lnTo>
                  <a:pt x="13677" y="8360"/>
                </a:lnTo>
                <a:lnTo>
                  <a:pt x="13657" y="8364"/>
                </a:lnTo>
                <a:lnTo>
                  <a:pt x="13637" y="8369"/>
                </a:lnTo>
                <a:lnTo>
                  <a:pt x="13616" y="8375"/>
                </a:lnTo>
                <a:lnTo>
                  <a:pt x="13593" y="8384"/>
                </a:lnTo>
                <a:lnTo>
                  <a:pt x="13571" y="8392"/>
                </a:lnTo>
                <a:lnTo>
                  <a:pt x="13549" y="8401"/>
                </a:lnTo>
                <a:lnTo>
                  <a:pt x="13526" y="8410"/>
                </a:lnTo>
                <a:lnTo>
                  <a:pt x="13506" y="8421"/>
                </a:lnTo>
                <a:lnTo>
                  <a:pt x="13487" y="8432"/>
                </a:lnTo>
                <a:lnTo>
                  <a:pt x="13470" y="8443"/>
                </a:lnTo>
                <a:lnTo>
                  <a:pt x="13456" y="8455"/>
                </a:lnTo>
                <a:lnTo>
                  <a:pt x="13449" y="8462"/>
                </a:lnTo>
                <a:lnTo>
                  <a:pt x="13444" y="8468"/>
                </a:lnTo>
                <a:lnTo>
                  <a:pt x="13439" y="8475"/>
                </a:lnTo>
                <a:lnTo>
                  <a:pt x="13436" y="8481"/>
                </a:lnTo>
                <a:lnTo>
                  <a:pt x="13427" y="8482"/>
                </a:lnTo>
                <a:lnTo>
                  <a:pt x="13415" y="8484"/>
                </a:lnTo>
                <a:lnTo>
                  <a:pt x="13402" y="8487"/>
                </a:lnTo>
                <a:lnTo>
                  <a:pt x="13387" y="8490"/>
                </a:lnTo>
                <a:lnTo>
                  <a:pt x="13355" y="8500"/>
                </a:lnTo>
                <a:lnTo>
                  <a:pt x="13320" y="8514"/>
                </a:lnTo>
                <a:lnTo>
                  <a:pt x="13303" y="8520"/>
                </a:lnTo>
                <a:lnTo>
                  <a:pt x="13286" y="8527"/>
                </a:lnTo>
                <a:lnTo>
                  <a:pt x="13271" y="8534"/>
                </a:lnTo>
                <a:lnTo>
                  <a:pt x="13257" y="8541"/>
                </a:lnTo>
                <a:lnTo>
                  <a:pt x="13245" y="8548"/>
                </a:lnTo>
                <a:lnTo>
                  <a:pt x="13235" y="8554"/>
                </a:lnTo>
                <a:lnTo>
                  <a:pt x="13228" y="8561"/>
                </a:lnTo>
                <a:lnTo>
                  <a:pt x="13223" y="8566"/>
                </a:lnTo>
                <a:lnTo>
                  <a:pt x="13206" y="8566"/>
                </a:lnTo>
                <a:lnTo>
                  <a:pt x="13190" y="8564"/>
                </a:lnTo>
                <a:lnTo>
                  <a:pt x="13174" y="8560"/>
                </a:lnTo>
                <a:lnTo>
                  <a:pt x="13159" y="8556"/>
                </a:lnTo>
                <a:lnTo>
                  <a:pt x="13147" y="8551"/>
                </a:lnTo>
                <a:lnTo>
                  <a:pt x="13135" y="8545"/>
                </a:lnTo>
                <a:lnTo>
                  <a:pt x="13124" y="8538"/>
                </a:lnTo>
                <a:lnTo>
                  <a:pt x="13114" y="8530"/>
                </a:lnTo>
                <a:lnTo>
                  <a:pt x="13105" y="8522"/>
                </a:lnTo>
                <a:lnTo>
                  <a:pt x="13096" y="8513"/>
                </a:lnTo>
                <a:lnTo>
                  <a:pt x="13089" y="8502"/>
                </a:lnTo>
                <a:lnTo>
                  <a:pt x="13082" y="8492"/>
                </a:lnTo>
                <a:lnTo>
                  <a:pt x="13069" y="8471"/>
                </a:lnTo>
                <a:lnTo>
                  <a:pt x="13059" y="8450"/>
                </a:lnTo>
                <a:lnTo>
                  <a:pt x="13039" y="8407"/>
                </a:lnTo>
                <a:lnTo>
                  <a:pt x="13021" y="8369"/>
                </a:lnTo>
                <a:lnTo>
                  <a:pt x="13016" y="8362"/>
                </a:lnTo>
                <a:lnTo>
                  <a:pt x="13011" y="8355"/>
                </a:lnTo>
                <a:lnTo>
                  <a:pt x="13005" y="8348"/>
                </a:lnTo>
                <a:lnTo>
                  <a:pt x="12999" y="8343"/>
                </a:lnTo>
                <a:lnTo>
                  <a:pt x="12993" y="8339"/>
                </a:lnTo>
                <a:lnTo>
                  <a:pt x="12986" y="8336"/>
                </a:lnTo>
                <a:lnTo>
                  <a:pt x="12978" y="8334"/>
                </a:lnTo>
                <a:lnTo>
                  <a:pt x="12970" y="8333"/>
                </a:lnTo>
                <a:lnTo>
                  <a:pt x="12971" y="8326"/>
                </a:lnTo>
                <a:lnTo>
                  <a:pt x="12971" y="8320"/>
                </a:lnTo>
                <a:lnTo>
                  <a:pt x="12970" y="8313"/>
                </a:lnTo>
                <a:lnTo>
                  <a:pt x="12969" y="8308"/>
                </a:lnTo>
                <a:lnTo>
                  <a:pt x="12966" y="8296"/>
                </a:lnTo>
                <a:lnTo>
                  <a:pt x="12960" y="8286"/>
                </a:lnTo>
                <a:lnTo>
                  <a:pt x="12945" y="8264"/>
                </a:lnTo>
                <a:lnTo>
                  <a:pt x="12928" y="8238"/>
                </a:lnTo>
                <a:lnTo>
                  <a:pt x="12932" y="8236"/>
                </a:lnTo>
                <a:lnTo>
                  <a:pt x="12935" y="8232"/>
                </a:lnTo>
                <a:lnTo>
                  <a:pt x="12937" y="8226"/>
                </a:lnTo>
                <a:lnTo>
                  <a:pt x="12937" y="8218"/>
                </a:lnTo>
                <a:lnTo>
                  <a:pt x="12935" y="8207"/>
                </a:lnTo>
                <a:lnTo>
                  <a:pt x="12932" y="8194"/>
                </a:lnTo>
                <a:lnTo>
                  <a:pt x="12928" y="8180"/>
                </a:lnTo>
                <a:lnTo>
                  <a:pt x="12923" y="8164"/>
                </a:lnTo>
                <a:lnTo>
                  <a:pt x="12909" y="8128"/>
                </a:lnTo>
                <a:lnTo>
                  <a:pt x="12893" y="8086"/>
                </a:lnTo>
                <a:lnTo>
                  <a:pt x="12875" y="8042"/>
                </a:lnTo>
                <a:lnTo>
                  <a:pt x="12855" y="7995"/>
                </a:lnTo>
                <a:lnTo>
                  <a:pt x="12813" y="7901"/>
                </a:lnTo>
                <a:lnTo>
                  <a:pt x="12775" y="7813"/>
                </a:lnTo>
                <a:lnTo>
                  <a:pt x="12759" y="7776"/>
                </a:lnTo>
                <a:lnTo>
                  <a:pt x="12747" y="7742"/>
                </a:lnTo>
                <a:lnTo>
                  <a:pt x="12743" y="7728"/>
                </a:lnTo>
                <a:lnTo>
                  <a:pt x="12740" y="7716"/>
                </a:lnTo>
                <a:lnTo>
                  <a:pt x="12738" y="7706"/>
                </a:lnTo>
                <a:lnTo>
                  <a:pt x="12737" y="7698"/>
                </a:lnTo>
                <a:lnTo>
                  <a:pt x="12730" y="7693"/>
                </a:lnTo>
                <a:lnTo>
                  <a:pt x="12722" y="7686"/>
                </a:lnTo>
                <a:lnTo>
                  <a:pt x="12715" y="7677"/>
                </a:lnTo>
                <a:lnTo>
                  <a:pt x="12707" y="7666"/>
                </a:lnTo>
                <a:lnTo>
                  <a:pt x="12700" y="7653"/>
                </a:lnTo>
                <a:lnTo>
                  <a:pt x="12692" y="7640"/>
                </a:lnTo>
                <a:lnTo>
                  <a:pt x="12685" y="7625"/>
                </a:lnTo>
                <a:lnTo>
                  <a:pt x="12678" y="7609"/>
                </a:lnTo>
                <a:lnTo>
                  <a:pt x="12666" y="7577"/>
                </a:lnTo>
                <a:lnTo>
                  <a:pt x="12654" y="7547"/>
                </a:lnTo>
                <a:lnTo>
                  <a:pt x="12646" y="7520"/>
                </a:lnTo>
                <a:lnTo>
                  <a:pt x="12641" y="7498"/>
                </a:lnTo>
                <a:lnTo>
                  <a:pt x="12631" y="7490"/>
                </a:lnTo>
                <a:lnTo>
                  <a:pt x="12622" y="7481"/>
                </a:lnTo>
                <a:lnTo>
                  <a:pt x="12612" y="7470"/>
                </a:lnTo>
                <a:lnTo>
                  <a:pt x="12603" y="7459"/>
                </a:lnTo>
                <a:lnTo>
                  <a:pt x="12593" y="7446"/>
                </a:lnTo>
                <a:lnTo>
                  <a:pt x="12584" y="7432"/>
                </a:lnTo>
                <a:lnTo>
                  <a:pt x="12575" y="7418"/>
                </a:lnTo>
                <a:lnTo>
                  <a:pt x="12567" y="7403"/>
                </a:lnTo>
                <a:lnTo>
                  <a:pt x="12551" y="7372"/>
                </a:lnTo>
                <a:lnTo>
                  <a:pt x="12535" y="7341"/>
                </a:lnTo>
                <a:lnTo>
                  <a:pt x="12523" y="7312"/>
                </a:lnTo>
                <a:lnTo>
                  <a:pt x="12514" y="7286"/>
                </a:lnTo>
                <a:lnTo>
                  <a:pt x="12503" y="7278"/>
                </a:lnTo>
                <a:lnTo>
                  <a:pt x="12491" y="7268"/>
                </a:lnTo>
                <a:lnTo>
                  <a:pt x="12478" y="7255"/>
                </a:lnTo>
                <a:lnTo>
                  <a:pt x="12464" y="7239"/>
                </a:lnTo>
                <a:lnTo>
                  <a:pt x="12449" y="7223"/>
                </a:lnTo>
                <a:lnTo>
                  <a:pt x="12433" y="7206"/>
                </a:lnTo>
                <a:lnTo>
                  <a:pt x="12418" y="7187"/>
                </a:lnTo>
                <a:lnTo>
                  <a:pt x="12401" y="7168"/>
                </a:lnTo>
                <a:lnTo>
                  <a:pt x="12386" y="7148"/>
                </a:lnTo>
                <a:lnTo>
                  <a:pt x="12372" y="7128"/>
                </a:lnTo>
                <a:lnTo>
                  <a:pt x="12358" y="7108"/>
                </a:lnTo>
                <a:lnTo>
                  <a:pt x="12346" y="7088"/>
                </a:lnTo>
                <a:lnTo>
                  <a:pt x="12335" y="7070"/>
                </a:lnTo>
                <a:lnTo>
                  <a:pt x="12326" y="7052"/>
                </a:lnTo>
                <a:lnTo>
                  <a:pt x="12319" y="7036"/>
                </a:lnTo>
                <a:lnTo>
                  <a:pt x="12313" y="7021"/>
                </a:lnTo>
                <a:lnTo>
                  <a:pt x="12343" y="7025"/>
                </a:lnTo>
                <a:lnTo>
                  <a:pt x="12375" y="7027"/>
                </a:lnTo>
                <a:lnTo>
                  <a:pt x="12391" y="7028"/>
                </a:lnTo>
                <a:lnTo>
                  <a:pt x="12406" y="7027"/>
                </a:lnTo>
                <a:lnTo>
                  <a:pt x="12423" y="7026"/>
                </a:lnTo>
                <a:lnTo>
                  <a:pt x="12437" y="7024"/>
                </a:lnTo>
                <a:lnTo>
                  <a:pt x="12451" y="7021"/>
                </a:lnTo>
                <a:lnTo>
                  <a:pt x="12464" y="7016"/>
                </a:lnTo>
                <a:lnTo>
                  <a:pt x="12469" y="7013"/>
                </a:lnTo>
                <a:lnTo>
                  <a:pt x="12475" y="7010"/>
                </a:lnTo>
                <a:lnTo>
                  <a:pt x="12480" y="7006"/>
                </a:lnTo>
                <a:lnTo>
                  <a:pt x="12485" y="7001"/>
                </a:lnTo>
                <a:lnTo>
                  <a:pt x="12489" y="6997"/>
                </a:lnTo>
                <a:lnTo>
                  <a:pt x="12492" y="6990"/>
                </a:lnTo>
                <a:lnTo>
                  <a:pt x="12496" y="6985"/>
                </a:lnTo>
                <a:lnTo>
                  <a:pt x="12498" y="6978"/>
                </a:lnTo>
                <a:lnTo>
                  <a:pt x="12501" y="6971"/>
                </a:lnTo>
                <a:lnTo>
                  <a:pt x="12502" y="6964"/>
                </a:lnTo>
                <a:lnTo>
                  <a:pt x="12503" y="6956"/>
                </a:lnTo>
                <a:lnTo>
                  <a:pt x="12504" y="6947"/>
                </a:lnTo>
                <a:lnTo>
                  <a:pt x="12494" y="6946"/>
                </a:lnTo>
                <a:lnTo>
                  <a:pt x="12486" y="6944"/>
                </a:lnTo>
                <a:lnTo>
                  <a:pt x="12480" y="6941"/>
                </a:lnTo>
                <a:lnTo>
                  <a:pt x="12474" y="6937"/>
                </a:lnTo>
                <a:lnTo>
                  <a:pt x="12469" y="6932"/>
                </a:lnTo>
                <a:lnTo>
                  <a:pt x="12465" y="6927"/>
                </a:lnTo>
                <a:lnTo>
                  <a:pt x="12463" y="6921"/>
                </a:lnTo>
                <a:lnTo>
                  <a:pt x="12461" y="6915"/>
                </a:lnTo>
                <a:lnTo>
                  <a:pt x="12461" y="6910"/>
                </a:lnTo>
                <a:lnTo>
                  <a:pt x="12462" y="6904"/>
                </a:lnTo>
                <a:lnTo>
                  <a:pt x="12464" y="6899"/>
                </a:lnTo>
                <a:lnTo>
                  <a:pt x="12467" y="6894"/>
                </a:lnTo>
                <a:lnTo>
                  <a:pt x="12472" y="6890"/>
                </a:lnTo>
                <a:lnTo>
                  <a:pt x="12478" y="6887"/>
                </a:lnTo>
                <a:lnTo>
                  <a:pt x="12485" y="6885"/>
                </a:lnTo>
                <a:lnTo>
                  <a:pt x="12493" y="6884"/>
                </a:lnTo>
                <a:lnTo>
                  <a:pt x="12491" y="6872"/>
                </a:lnTo>
                <a:lnTo>
                  <a:pt x="12490" y="6860"/>
                </a:lnTo>
                <a:lnTo>
                  <a:pt x="12490" y="6849"/>
                </a:lnTo>
                <a:lnTo>
                  <a:pt x="12492" y="6838"/>
                </a:lnTo>
                <a:lnTo>
                  <a:pt x="12494" y="6827"/>
                </a:lnTo>
                <a:lnTo>
                  <a:pt x="12498" y="6817"/>
                </a:lnTo>
                <a:lnTo>
                  <a:pt x="12501" y="6807"/>
                </a:lnTo>
                <a:lnTo>
                  <a:pt x="12506" y="6797"/>
                </a:lnTo>
                <a:lnTo>
                  <a:pt x="12515" y="6778"/>
                </a:lnTo>
                <a:lnTo>
                  <a:pt x="12524" y="6759"/>
                </a:lnTo>
                <a:lnTo>
                  <a:pt x="12528" y="6750"/>
                </a:lnTo>
                <a:lnTo>
                  <a:pt x="12532" y="6740"/>
                </a:lnTo>
                <a:lnTo>
                  <a:pt x="12535" y="6730"/>
                </a:lnTo>
                <a:lnTo>
                  <a:pt x="12539" y="6721"/>
                </a:lnTo>
                <a:lnTo>
                  <a:pt x="12544" y="6697"/>
                </a:lnTo>
                <a:lnTo>
                  <a:pt x="12550" y="6670"/>
                </a:lnTo>
                <a:lnTo>
                  <a:pt x="12557" y="6641"/>
                </a:lnTo>
                <a:lnTo>
                  <a:pt x="12563" y="6611"/>
                </a:lnTo>
                <a:lnTo>
                  <a:pt x="12569" y="6580"/>
                </a:lnTo>
                <a:lnTo>
                  <a:pt x="12574" y="6550"/>
                </a:lnTo>
                <a:lnTo>
                  <a:pt x="12577" y="6521"/>
                </a:lnTo>
                <a:lnTo>
                  <a:pt x="12578" y="6493"/>
                </a:lnTo>
                <a:lnTo>
                  <a:pt x="12553" y="6493"/>
                </a:lnTo>
                <a:lnTo>
                  <a:pt x="12531" y="6495"/>
                </a:lnTo>
                <a:lnTo>
                  <a:pt x="12514" y="6497"/>
                </a:lnTo>
                <a:lnTo>
                  <a:pt x="12498" y="6501"/>
                </a:lnTo>
                <a:lnTo>
                  <a:pt x="12467" y="6511"/>
                </a:lnTo>
                <a:lnTo>
                  <a:pt x="12430" y="6524"/>
                </a:lnTo>
                <a:lnTo>
                  <a:pt x="12430" y="6528"/>
                </a:lnTo>
                <a:lnTo>
                  <a:pt x="12428" y="6531"/>
                </a:lnTo>
                <a:lnTo>
                  <a:pt x="12427" y="6534"/>
                </a:lnTo>
                <a:lnTo>
                  <a:pt x="12424" y="6536"/>
                </a:lnTo>
                <a:lnTo>
                  <a:pt x="12421" y="6538"/>
                </a:lnTo>
                <a:lnTo>
                  <a:pt x="12418" y="6539"/>
                </a:lnTo>
                <a:lnTo>
                  <a:pt x="12414" y="6540"/>
                </a:lnTo>
                <a:lnTo>
                  <a:pt x="12409" y="6540"/>
                </a:lnTo>
                <a:lnTo>
                  <a:pt x="12399" y="6540"/>
                </a:lnTo>
                <a:lnTo>
                  <a:pt x="12387" y="6539"/>
                </a:lnTo>
                <a:lnTo>
                  <a:pt x="12375" y="6537"/>
                </a:lnTo>
                <a:lnTo>
                  <a:pt x="12363" y="6535"/>
                </a:lnTo>
                <a:lnTo>
                  <a:pt x="12313" y="6521"/>
                </a:lnTo>
                <a:lnTo>
                  <a:pt x="12281" y="6513"/>
                </a:lnTo>
                <a:lnTo>
                  <a:pt x="12278" y="6509"/>
                </a:lnTo>
                <a:lnTo>
                  <a:pt x="12274" y="6505"/>
                </a:lnTo>
                <a:lnTo>
                  <a:pt x="12269" y="6502"/>
                </a:lnTo>
                <a:lnTo>
                  <a:pt x="12263" y="6500"/>
                </a:lnTo>
                <a:lnTo>
                  <a:pt x="12257" y="6499"/>
                </a:lnTo>
                <a:lnTo>
                  <a:pt x="12249" y="6499"/>
                </a:lnTo>
                <a:lnTo>
                  <a:pt x="12241" y="6499"/>
                </a:lnTo>
                <a:lnTo>
                  <a:pt x="12233" y="6500"/>
                </a:lnTo>
                <a:lnTo>
                  <a:pt x="12194" y="6506"/>
                </a:lnTo>
                <a:lnTo>
                  <a:pt x="12149" y="6514"/>
                </a:lnTo>
                <a:lnTo>
                  <a:pt x="12127" y="6518"/>
                </a:lnTo>
                <a:lnTo>
                  <a:pt x="12104" y="6520"/>
                </a:lnTo>
                <a:lnTo>
                  <a:pt x="12093" y="6521"/>
                </a:lnTo>
                <a:lnTo>
                  <a:pt x="12082" y="6520"/>
                </a:lnTo>
                <a:lnTo>
                  <a:pt x="12071" y="6520"/>
                </a:lnTo>
                <a:lnTo>
                  <a:pt x="12061" y="6518"/>
                </a:lnTo>
                <a:lnTo>
                  <a:pt x="12051" y="6516"/>
                </a:lnTo>
                <a:lnTo>
                  <a:pt x="12042" y="6513"/>
                </a:lnTo>
                <a:lnTo>
                  <a:pt x="12032" y="6509"/>
                </a:lnTo>
                <a:lnTo>
                  <a:pt x="12023" y="6504"/>
                </a:lnTo>
                <a:lnTo>
                  <a:pt x="12015" y="6497"/>
                </a:lnTo>
                <a:lnTo>
                  <a:pt x="12008" y="6490"/>
                </a:lnTo>
                <a:lnTo>
                  <a:pt x="12002" y="6480"/>
                </a:lnTo>
                <a:lnTo>
                  <a:pt x="11996" y="6470"/>
                </a:lnTo>
                <a:lnTo>
                  <a:pt x="11980" y="6455"/>
                </a:lnTo>
                <a:lnTo>
                  <a:pt x="11967" y="6440"/>
                </a:lnTo>
                <a:lnTo>
                  <a:pt x="11956" y="6426"/>
                </a:lnTo>
                <a:lnTo>
                  <a:pt x="11947" y="6411"/>
                </a:lnTo>
                <a:lnTo>
                  <a:pt x="11940" y="6397"/>
                </a:lnTo>
                <a:lnTo>
                  <a:pt x="11934" y="6382"/>
                </a:lnTo>
                <a:lnTo>
                  <a:pt x="11929" y="6368"/>
                </a:lnTo>
                <a:lnTo>
                  <a:pt x="11925" y="6352"/>
                </a:lnTo>
                <a:lnTo>
                  <a:pt x="11920" y="6320"/>
                </a:lnTo>
                <a:lnTo>
                  <a:pt x="11915" y="6287"/>
                </a:lnTo>
                <a:lnTo>
                  <a:pt x="11913" y="6269"/>
                </a:lnTo>
                <a:lnTo>
                  <a:pt x="11909" y="6250"/>
                </a:lnTo>
                <a:lnTo>
                  <a:pt x="11905" y="6229"/>
                </a:lnTo>
                <a:lnTo>
                  <a:pt x="11900" y="6207"/>
                </a:lnTo>
                <a:lnTo>
                  <a:pt x="11896" y="6197"/>
                </a:lnTo>
                <a:lnTo>
                  <a:pt x="11891" y="6188"/>
                </a:lnTo>
                <a:lnTo>
                  <a:pt x="11885" y="6180"/>
                </a:lnTo>
                <a:lnTo>
                  <a:pt x="11878" y="6173"/>
                </a:lnTo>
                <a:lnTo>
                  <a:pt x="11870" y="6167"/>
                </a:lnTo>
                <a:lnTo>
                  <a:pt x="11861" y="6162"/>
                </a:lnTo>
                <a:lnTo>
                  <a:pt x="11851" y="6157"/>
                </a:lnTo>
                <a:lnTo>
                  <a:pt x="11841" y="6153"/>
                </a:lnTo>
                <a:lnTo>
                  <a:pt x="11819" y="6147"/>
                </a:lnTo>
                <a:lnTo>
                  <a:pt x="11797" y="6143"/>
                </a:lnTo>
                <a:lnTo>
                  <a:pt x="11775" y="6139"/>
                </a:lnTo>
                <a:lnTo>
                  <a:pt x="11756" y="6136"/>
                </a:lnTo>
                <a:lnTo>
                  <a:pt x="11743" y="6134"/>
                </a:lnTo>
                <a:lnTo>
                  <a:pt x="11733" y="6133"/>
                </a:lnTo>
                <a:lnTo>
                  <a:pt x="11723" y="6134"/>
                </a:lnTo>
                <a:lnTo>
                  <a:pt x="11715" y="6135"/>
                </a:lnTo>
                <a:lnTo>
                  <a:pt x="11707" y="6138"/>
                </a:lnTo>
                <a:lnTo>
                  <a:pt x="11701" y="6141"/>
                </a:lnTo>
                <a:lnTo>
                  <a:pt x="11696" y="6145"/>
                </a:lnTo>
                <a:lnTo>
                  <a:pt x="11692" y="6151"/>
                </a:lnTo>
                <a:lnTo>
                  <a:pt x="11688" y="6156"/>
                </a:lnTo>
                <a:lnTo>
                  <a:pt x="11686" y="6163"/>
                </a:lnTo>
                <a:lnTo>
                  <a:pt x="11684" y="6170"/>
                </a:lnTo>
                <a:lnTo>
                  <a:pt x="11683" y="6178"/>
                </a:lnTo>
                <a:lnTo>
                  <a:pt x="11683" y="6195"/>
                </a:lnTo>
                <a:lnTo>
                  <a:pt x="11684" y="6213"/>
                </a:lnTo>
                <a:lnTo>
                  <a:pt x="11687" y="6232"/>
                </a:lnTo>
                <a:lnTo>
                  <a:pt x="11692" y="6252"/>
                </a:lnTo>
                <a:lnTo>
                  <a:pt x="11696" y="6271"/>
                </a:lnTo>
                <a:lnTo>
                  <a:pt x="11701" y="6289"/>
                </a:lnTo>
                <a:lnTo>
                  <a:pt x="11705" y="6306"/>
                </a:lnTo>
                <a:lnTo>
                  <a:pt x="11709" y="6321"/>
                </a:lnTo>
                <a:lnTo>
                  <a:pt x="11710" y="6334"/>
                </a:lnTo>
                <a:lnTo>
                  <a:pt x="11710" y="6343"/>
                </a:lnTo>
                <a:lnTo>
                  <a:pt x="11717" y="6344"/>
                </a:lnTo>
                <a:lnTo>
                  <a:pt x="11723" y="6345"/>
                </a:lnTo>
                <a:lnTo>
                  <a:pt x="11728" y="6346"/>
                </a:lnTo>
                <a:lnTo>
                  <a:pt x="11732" y="6348"/>
                </a:lnTo>
                <a:lnTo>
                  <a:pt x="11735" y="6351"/>
                </a:lnTo>
                <a:lnTo>
                  <a:pt x="11737" y="6353"/>
                </a:lnTo>
                <a:lnTo>
                  <a:pt x="11737" y="6357"/>
                </a:lnTo>
                <a:lnTo>
                  <a:pt x="11737" y="6361"/>
                </a:lnTo>
                <a:lnTo>
                  <a:pt x="11735" y="6370"/>
                </a:lnTo>
                <a:lnTo>
                  <a:pt x="11730" y="6380"/>
                </a:lnTo>
                <a:lnTo>
                  <a:pt x="11724" y="6391"/>
                </a:lnTo>
                <a:lnTo>
                  <a:pt x="11715" y="6403"/>
                </a:lnTo>
                <a:lnTo>
                  <a:pt x="11696" y="6429"/>
                </a:lnTo>
                <a:lnTo>
                  <a:pt x="11677" y="6455"/>
                </a:lnTo>
                <a:lnTo>
                  <a:pt x="11669" y="6468"/>
                </a:lnTo>
                <a:lnTo>
                  <a:pt x="11663" y="6480"/>
                </a:lnTo>
                <a:lnTo>
                  <a:pt x="11661" y="6486"/>
                </a:lnTo>
                <a:lnTo>
                  <a:pt x="11659" y="6492"/>
                </a:lnTo>
                <a:lnTo>
                  <a:pt x="11658" y="6498"/>
                </a:lnTo>
                <a:lnTo>
                  <a:pt x="11657" y="6503"/>
                </a:lnTo>
                <a:lnTo>
                  <a:pt x="11644" y="6500"/>
                </a:lnTo>
                <a:lnTo>
                  <a:pt x="11632" y="6496"/>
                </a:lnTo>
                <a:lnTo>
                  <a:pt x="11621" y="6491"/>
                </a:lnTo>
                <a:lnTo>
                  <a:pt x="11612" y="6485"/>
                </a:lnTo>
                <a:lnTo>
                  <a:pt x="11603" y="6479"/>
                </a:lnTo>
                <a:lnTo>
                  <a:pt x="11595" y="6473"/>
                </a:lnTo>
                <a:lnTo>
                  <a:pt x="11587" y="6466"/>
                </a:lnTo>
                <a:lnTo>
                  <a:pt x="11581" y="6459"/>
                </a:lnTo>
                <a:lnTo>
                  <a:pt x="11575" y="6451"/>
                </a:lnTo>
                <a:lnTo>
                  <a:pt x="11569" y="6443"/>
                </a:lnTo>
                <a:lnTo>
                  <a:pt x="11564" y="6435"/>
                </a:lnTo>
                <a:lnTo>
                  <a:pt x="11560" y="6427"/>
                </a:lnTo>
                <a:lnTo>
                  <a:pt x="11552" y="6409"/>
                </a:lnTo>
                <a:lnTo>
                  <a:pt x="11546" y="6391"/>
                </a:lnTo>
                <a:lnTo>
                  <a:pt x="11534" y="6353"/>
                </a:lnTo>
                <a:lnTo>
                  <a:pt x="11521" y="6320"/>
                </a:lnTo>
                <a:lnTo>
                  <a:pt x="11517" y="6312"/>
                </a:lnTo>
                <a:lnTo>
                  <a:pt x="11513" y="6304"/>
                </a:lnTo>
                <a:lnTo>
                  <a:pt x="11508" y="6297"/>
                </a:lnTo>
                <a:lnTo>
                  <a:pt x="11503" y="6291"/>
                </a:lnTo>
                <a:lnTo>
                  <a:pt x="11498" y="6285"/>
                </a:lnTo>
                <a:lnTo>
                  <a:pt x="11491" y="6279"/>
                </a:lnTo>
                <a:lnTo>
                  <a:pt x="11485" y="6274"/>
                </a:lnTo>
                <a:lnTo>
                  <a:pt x="11477" y="6270"/>
                </a:lnTo>
                <a:lnTo>
                  <a:pt x="11473" y="6262"/>
                </a:lnTo>
                <a:lnTo>
                  <a:pt x="11470" y="6255"/>
                </a:lnTo>
                <a:lnTo>
                  <a:pt x="11467" y="6248"/>
                </a:lnTo>
                <a:lnTo>
                  <a:pt x="11465" y="6241"/>
                </a:lnTo>
                <a:lnTo>
                  <a:pt x="11462" y="6227"/>
                </a:lnTo>
                <a:lnTo>
                  <a:pt x="11458" y="6217"/>
                </a:lnTo>
                <a:lnTo>
                  <a:pt x="11456" y="6212"/>
                </a:lnTo>
                <a:lnTo>
                  <a:pt x="11453" y="6208"/>
                </a:lnTo>
                <a:lnTo>
                  <a:pt x="11450" y="6204"/>
                </a:lnTo>
                <a:lnTo>
                  <a:pt x="11445" y="6201"/>
                </a:lnTo>
                <a:lnTo>
                  <a:pt x="11440" y="6199"/>
                </a:lnTo>
                <a:lnTo>
                  <a:pt x="11433" y="6197"/>
                </a:lnTo>
                <a:lnTo>
                  <a:pt x="11424" y="6196"/>
                </a:lnTo>
                <a:lnTo>
                  <a:pt x="11414" y="6196"/>
                </a:lnTo>
                <a:lnTo>
                  <a:pt x="11415" y="6173"/>
                </a:lnTo>
                <a:lnTo>
                  <a:pt x="11418" y="6147"/>
                </a:lnTo>
                <a:lnTo>
                  <a:pt x="11420" y="6120"/>
                </a:lnTo>
                <a:lnTo>
                  <a:pt x="11422" y="6092"/>
                </a:lnTo>
                <a:lnTo>
                  <a:pt x="11421" y="6079"/>
                </a:lnTo>
                <a:lnTo>
                  <a:pt x="11420" y="6067"/>
                </a:lnTo>
                <a:lnTo>
                  <a:pt x="11417" y="6055"/>
                </a:lnTo>
                <a:lnTo>
                  <a:pt x="11414" y="6045"/>
                </a:lnTo>
                <a:lnTo>
                  <a:pt x="11411" y="6040"/>
                </a:lnTo>
                <a:lnTo>
                  <a:pt x="11409" y="6035"/>
                </a:lnTo>
                <a:lnTo>
                  <a:pt x="11405" y="6031"/>
                </a:lnTo>
                <a:lnTo>
                  <a:pt x="11401" y="6027"/>
                </a:lnTo>
                <a:lnTo>
                  <a:pt x="11397" y="6024"/>
                </a:lnTo>
                <a:lnTo>
                  <a:pt x="11392" y="6021"/>
                </a:lnTo>
                <a:lnTo>
                  <a:pt x="11387" y="6018"/>
                </a:lnTo>
                <a:lnTo>
                  <a:pt x="11382" y="6016"/>
                </a:lnTo>
                <a:lnTo>
                  <a:pt x="11381" y="6013"/>
                </a:lnTo>
                <a:lnTo>
                  <a:pt x="11380" y="6011"/>
                </a:lnTo>
                <a:lnTo>
                  <a:pt x="11379" y="6009"/>
                </a:lnTo>
                <a:lnTo>
                  <a:pt x="11377" y="6006"/>
                </a:lnTo>
                <a:lnTo>
                  <a:pt x="11371" y="6002"/>
                </a:lnTo>
                <a:lnTo>
                  <a:pt x="11363" y="5998"/>
                </a:lnTo>
                <a:lnTo>
                  <a:pt x="11343" y="5990"/>
                </a:lnTo>
                <a:lnTo>
                  <a:pt x="11320" y="5981"/>
                </a:lnTo>
                <a:lnTo>
                  <a:pt x="11296" y="5973"/>
                </a:lnTo>
                <a:lnTo>
                  <a:pt x="11273" y="5964"/>
                </a:lnTo>
                <a:lnTo>
                  <a:pt x="11263" y="5959"/>
                </a:lnTo>
                <a:lnTo>
                  <a:pt x="11255" y="5954"/>
                </a:lnTo>
                <a:lnTo>
                  <a:pt x="11249" y="5948"/>
                </a:lnTo>
                <a:lnTo>
                  <a:pt x="11244" y="5941"/>
                </a:lnTo>
                <a:lnTo>
                  <a:pt x="11237" y="5941"/>
                </a:lnTo>
                <a:lnTo>
                  <a:pt x="11229" y="5938"/>
                </a:lnTo>
                <a:lnTo>
                  <a:pt x="11221" y="5934"/>
                </a:lnTo>
                <a:lnTo>
                  <a:pt x="11212" y="5929"/>
                </a:lnTo>
                <a:lnTo>
                  <a:pt x="11203" y="5923"/>
                </a:lnTo>
                <a:lnTo>
                  <a:pt x="11193" y="5916"/>
                </a:lnTo>
                <a:lnTo>
                  <a:pt x="11183" y="5907"/>
                </a:lnTo>
                <a:lnTo>
                  <a:pt x="11173" y="5898"/>
                </a:lnTo>
                <a:lnTo>
                  <a:pt x="11128" y="5855"/>
                </a:lnTo>
                <a:lnTo>
                  <a:pt x="11083" y="5810"/>
                </a:lnTo>
                <a:lnTo>
                  <a:pt x="11061" y="5789"/>
                </a:lnTo>
                <a:lnTo>
                  <a:pt x="11040" y="5769"/>
                </a:lnTo>
                <a:lnTo>
                  <a:pt x="11029" y="5761"/>
                </a:lnTo>
                <a:lnTo>
                  <a:pt x="11018" y="5753"/>
                </a:lnTo>
                <a:lnTo>
                  <a:pt x="11008" y="5746"/>
                </a:lnTo>
                <a:lnTo>
                  <a:pt x="10998" y="5741"/>
                </a:lnTo>
                <a:lnTo>
                  <a:pt x="10989" y="5736"/>
                </a:lnTo>
                <a:lnTo>
                  <a:pt x="10980" y="5732"/>
                </a:lnTo>
                <a:lnTo>
                  <a:pt x="10972" y="5731"/>
                </a:lnTo>
                <a:lnTo>
                  <a:pt x="10964" y="5731"/>
                </a:lnTo>
                <a:lnTo>
                  <a:pt x="10957" y="5734"/>
                </a:lnTo>
                <a:lnTo>
                  <a:pt x="10950" y="5738"/>
                </a:lnTo>
                <a:lnTo>
                  <a:pt x="10944" y="5744"/>
                </a:lnTo>
                <a:lnTo>
                  <a:pt x="10939" y="5752"/>
                </a:lnTo>
                <a:lnTo>
                  <a:pt x="10934" y="5763"/>
                </a:lnTo>
                <a:lnTo>
                  <a:pt x="10930" y="5773"/>
                </a:lnTo>
                <a:lnTo>
                  <a:pt x="10929" y="5782"/>
                </a:lnTo>
                <a:lnTo>
                  <a:pt x="10929" y="5790"/>
                </a:lnTo>
                <a:lnTo>
                  <a:pt x="10931" y="5798"/>
                </a:lnTo>
                <a:lnTo>
                  <a:pt x="10934" y="5805"/>
                </a:lnTo>
                <a:lnTo>
                  <a:pt x="10937" y="5812"/>
                </a:lnTo>
                <a:lnTo>
                  <a:pt x="10942" y="5819"/>
                </a:lnTo>
                <a:lnTo>
                  <a:pt x="10952" y="5832"/>
                </a:lnTo>
                <a:lnTo>
                  <a:pt x="10963" y="5846"/>
                </a:lnTo>
                <a:lnTo>
                  <a:pt x="10968" y="5853"/>
                </a:lnTo>
                <a:lnTo>
                  <a:pt x="10973" y="5861"/>
                </a:lnTo>
                <a:lnTo>
                  <a:pt x="10977" y="5870"/>
                </a:lnTo>
                <a:lnTo>
                  <a:pt x="10980" y="5879"/>
                </a:lnTo>
                <a:lnTo>
                  <a:pt x="10990" y="5877"/>
                </a:lnTo>
                <a:lnTo>
                  <a:pt x="10999" y="5877"/>
                </a:lnTo>
                <a:lnTo>
                  <a:pt x="11007" y="5878"/>
                </a:lnTo>
                <a:lnTo>
                  <a:pt x="11015" y="5880"/>
                </a:lnTo>
                <a:lnTo>
                  <a:pt x="11023" y="5883"/>
                </a:lnTo>
                <a:lnTo>
                  <a:pt x="11031" y="5887"/>
                </a:lnTo>
                <a:lnTo>
                  <a:pt x="11038" y="5892"/>
                </a:lnTo>
                <a:lnTo>
                  <a:pt x="11044" y="5897"/>
                </a:lnTo>
                <a:lnTo>
                  <a:pt x="11056" y="5910"/>
                </a:lnTo>
                <a:lnTo>
                  <a:pt x="11066" y="5925"/>
                </a:lnTo>
                <a:lnTo>
                  <a:pt x="11077" y="5941"/>
                </a:lnTo>
                <a:lnTo>
                  <a:pt x="11087" y="5958"/>
                </a:lnTo>
                <a:lnTo>
                  <a:pt x="11098" y="5974"/>
                </a:lnTo>
                <a:lnTo>
                  <a:pt x="11109" y="5991"/>
                </a:lnTo>
                <a:lnTo>
                  <a:pt x="11115" y="5999"/>
                </a:lnTo>
                <a:lnTo>
                  <a:pt x="11121" y="6006"/>
                </a:lnTo>
                <a:lnTo>
                  <a:pt x="11128" y="6013"/>
                </a:lnTo>
                <a:lnTo>
                  <a:pt x="11135" y="6019"/>
                </a:lnTo>
                <a:lnTo>
                  <a:pt x="11142" y="6024"/>
                </a:lnTo>
                <a:lnTo>
                  <a:pt x="11150" y="6029"/>
                </a:lnTo>
                <a:lnTo>
                  <a:pt x="11160" y="6033"/>
                </a:lnTo>
                <a:lnTo>
                  <a:pt x="11169" y="6036"/>
                </a:lnTo>
                <a:lnTo>
                  <a:pt x="11179" y="6038"/>
                </a:lnTo>
                <a:lnTo>
                  <a:pt x="11189" y="6039"/>
                </a:lnTo>
                <a:lnTo>
                  <a:pt x="11201" y="6038"/>
                </a:lnTo>
                <a:lnTo>
                  <a:pt x="11213" y="6037"/>
                </a:lnTo>
                <a:lnTo>
                  <a:pt x="11213" y="6058"/>
                </a:lnTo>
                <a:lnTo>
                  <a:pt x="11215" y="6079"/>
                </a:lnTo>
                <a:lnTo>
                  <a:pt x="11219" y="6100"/>
                </a:lnTo>
                <a:lnTo>
                  <a:pt x="11223" y="6122"/>
                </a:lnTo>
                <a:lnTo>
                  <a:pt x="11232" y="6120"/>
                </a:lnTo>
                <a:lnTo>
                  <a:pt x="11240" y="6119"/>
                </a:lnTo>
                <a:lnTo>
                  <a:pt x="11248" y="6119"/>
                </a:lnTo>
                <a:lnTo>
                  <a:pt x="11255" y="6119"/>
                </a:lnTo>
                <a:lnTo>
                  <a:pt x="11262" y="6119"/>
                </a:lnTo>
                <a:lnTo>
                  <a:pt x="11268" y="6120"/>
                </a:lnTo>
                <a:lnTo>
                  <a:pt x="11274" y="6122"/>
                </a:lnTo>
                <a:lnTo>
                  <a:pt x="11280" y="6124"/>
                </a:lnTo>
                <a:lnTo>
                  <a:pt x="11289" y="6129"/>
                </a:lnTo>
                <a:lnTo>
                  <a:pt x="11297" y="6135"/>
                </a:lnTo>
                <a:lnTo>
                  <a:pt x="11304" y="6142"/>
                </a:lnTo>
                <a:lnTo>
                  <a:pt x="11311" y="6150"/>
                </a:lnTo>
                <a:lnTo>
                  <a:pt x="11322" y="6166"/>
                </a:lnTo>
                <a:lnTo>
                  <a:pt x="11332" y="6181"/>
                </a:lnTo>
                <a:lnTo>
                  <a:pt x="11338" y="6187"/>
                </a:lnTo>
                <a:lnTo>
                  <a:pt x="11345" y="6191"/>
                </a:lnTo>
                <a:lnTo>
                  <a:pt x="11348" y="6193"/>
                </a:lnTo>
                <a:lnTo>
                  <a:pt x="11352" y="6194"/>
                </a:lnTo>
                <a:lnTo>
                  <a:pt x="11356" y="6195"/>
                </a:lnTo>
                <a:lnTo>
                  <a:pt x="11361" y="6196"/>
                </a:lnTo>
                <a:lnTo>
                  <a:pt x="11357" y="6200"/>
                </a:lnTo>
                <a:lnTo>
                  <a:pt x="11353" y="6203"/>
                </a:lnTo>
                <a:lnTo>
                  <a:pt x="11349" y="6205"/>
                </a:lnTo>
                <a:lnTo>
                  <a:pt x="11344" y="6206"/>
                </a:lnTo>
                <a:lnTo>
                  <a:pt x="11339" y="6207"/>
                </a:lnTo>
                <a:lnTo>
                  <a:pt x="11334" y="6207"/>
                </a:lnTo>
                <a:lnTo>
                  <a:pt x="11328" y="6206"/>
                </a:lnTo>
                <a:lnTo>
                  <a:pt x="11323" y="6205"/>
                </a:lnTo>
                <a:lnTo>
                  <a:pt x="11311" y="6202"/>
                </a:lnTo>
                <a:lnTo>
                  <a:pt x="11299" y="6198"/>
                </a:lnTo>
                <a:lnTo>
                  <a:pt x="11287" y="6193"/>
                </a:lnTo>
                <a:lnTo>
                  <a:pt x="11275" y="6188"/>
                </a:lnTo>
                <a:lnTo>
                  <a:pt x="11265" y="6184"/>
                </a:lnTo>
                <a:lnTo>
                  <a:pt x="11255" y="6182"/>
                </a:lnTo>
                <a:lnTo>
                  <a:pt x="11251" y="6181"/>
                </a:lnTo>
                <a:lnTo>
                  <a:pt x="11248" y="6181"/>
                </a:lnTo>
                <a:lnTo>
                  <a:pt x="11244" y="6181"/>
                </a:lnTo>
                <a:lnTo>
                  <a:pt x="11241" y="6182"/>
                </a:lnTo>
                <a:lnTo>
                  <a:pt x="11239" y="6184"/>
                </a:lnTo>
                <a:lnTo>
                  <a:pt x="11237" y="6186"/>
                </a:lnTo>
                <a:lnTo>
                  <a:pt x="11236" y="6190"/>
                </a:lnTo>
                <a:lnTo>
                  <a:pt x="11236" y="6194"/>
                </a:lnTo>
                <a:lnTo>
                  <a:pt x="11236" y="6200"/>
                </a:lnTo>
                <a:lnTo>
                  <a:pt x="11237" y="6207"/>
                </a:lnTo>
                <a:lnTo>
                  <a:pt x="11238" y="6214"/>
                </a:lnTo>
                <a:lnTo>
                  <a:pt x="11241" y="6224"/>
                </a:lnTo>
                <a:lnTo>
                  <a:pt x="11244" y="6235"/>
                </a:lnTo>
                <a:lnTo>
                  <a:pt x="11246" y="6247"/>
                </a:lnTo>
                <a:lnTo>
                  <a:pt x="11248" y="6258"/>
                </a:lnTo>
                <a:lnTo>
                  <a:pt x="11249" y="6269"/>
                </a:lnTo>
                <a:lnTo>
                  <a:pt x="11248" y="6279"/>
                </a:lnTo>
                <a:lnTo>
                  <a:pt x="11247" y="6290"/>
                </a:lnTo>
                <a:lnTo>
                  <a:pt x="11245" y="6300"/>
                </a:lnTo>
                <a:lnTo>
                  <a:pt x="11242" y="6311"/>
                </a:lnTo>
                <a:lnTo>
                  <a:pt x="11238" y="6321"/>
                </a:lnTo>
                <a:lnTo>
                  <a:pt x="11232" y="6332"/>
                </a:lnTo>
                <a:lnTo>
                  <a:pt x="11225" y="6342"/>
                </a:lnTo>
                <a:lnTo>
                  <a:pt x="11217" y="6353"/>
                </a:lnTo>
                <a:lnTo>
                  <a:pt x="11208" y="6364"/>
                </a:lnTo>
                <a:lnTo>
                  <a:pt x="11197" y="6375"/>
                </a:lnTo>
                <a:lnTo>
                  <a:pt x="11184" y="6386"/>
                </a:lnTo>
                <a:lnTo>
                  <a:pt x="11171" y="6397"/>
                </a:lnTo>
                <a:lnTo>
                  <a:pt x="11170" y="6368"/>
                </a:lnTo>
                <a:lnTo>
                  <a:pt x="11169" y="6331"/>
                </a:lnTo>
                <a:lnTo>
                  <a:pt x="11167" y="6311"/>
                </a:lnTo>
                <a:lnTo>
                  <a:pt x="11165" y="6291"/>
                </a:lnTo>
                <a:lnTo>
                  <a:pt x="11163" y="6271"/>
                </a:lnTo>
                <a:lnTo>
                  <a:pt x="11159" y="6251"/>
                </a:lnTo>
                <a:lnTo>
                  <a:pt x="11155" y="6231"/>
                </a:lnTo>
                <a:lnTo>
                  <a:pt x="11149" y="6213"/>
                </a:lnTo>
                <a:lnTo>
                  <a:pt x="11143" y="6196"/>
                </a:lnTo>
                <a:lnTo>
                  <a:pt x="11136" y="6182"/>
                </a:lnTo>
                <a:lnTo>
                  <a:pt x="11133" y="6176"/>
                </a:lnTo>
                <a:lnTo>
                  <a:pt x="11128" y="6170"/>
                </a:lnTo>
                <a:lnTo>
                  <a:pt x="11124" y="6165"/>
                </a:lnTo>
                <a:lnTo>
                  <a:pt x="11119" y="6161"/>
                </a:lnTo>
                <a:lnTo>
                  <a:pt x="11114" y="6158"/>
                </a:lnTo>
                <a:lnTo>
                  <a:pt x="11108" y="6155"/>
                </a:lnTo>
                <a:lnTo>
                  <a:pt x="11102" y="6154"/>
                </a:lnTo>
                <a:lnTo>
                  <a:pt x="11096" y="6153"/>
                </a:lnTo>
                <a:lnTo>
                  <a:pt x="11092" y="6145"/>
                </a:lnTo>
                <a:lnTo>
                  <a:pt x="11087" y="6137"/>
                </a:lnTo>
                <a:lnTo>
                  <a:pt x="11081" y="6130"/>
                </a:lnTo>
                <a:lnTo>
                  <a:pt x="11075" y="6124"/>
                </a:lnTo>
                <a:lnTo>
                  <a:pt x="11068" y="6117"/>
                </a:lnTo>
                <a:lnTo>
                  <a:pt x="11062" y="6112"/>
                </a:lnTo>
                <a:lnTo>
                  <a:pt x="11054" y="6106"/>
                </a:lnTo>
                <a:lnTo>
                  <a:pt x="11047" y="6101"/>
                </a:lnTo>
                <a:lnTo>
                  <a:pt x="11031" y="6092"/>
                </a:lnTo>
                <a:lnTo>
                  <a:pt x="11014" y="6085"/>
                </a:lnTo>
                <a:lnTo>
                  <a:pt x="10996" y="6078"/>
                </a:lnTo>
                <a:lnTo>
                  <a:pt x="10979" y="6071"/>
                </a:lnTo>
                <a:lnTo>
                  <a:pt x="10961" y="6065"/>
                </a:lnTo>
                <a:lnTo>
                  <a:pt x="10943" y="6058"/>
                </a:lnTo>
                <a:lnTo>
                  <a:pt x="10926" y="6051"/>
                </a:lnTo>
                <a:lnTo>
                  <a:pt x="10909" y="6043"/>
                </a:lnTo>
                <a:lnTo>
                  <a:pt x="10892" y="6034"/>
                </a:lnTo>
                <a:lnTo>
                  <a:pt x="10878" y="6023"/>
                </a:lnTo>
                <a:lnTo>
                  <a:pt x="10871" y="6017"/>
                </a:lnTo>
                <a:lnTo>
                  <a:pt x="10864" y="6010"/>
                </a:lnTo>
                <a:lnTo>
                  <a:pt x="10858" y="6003"/>
                </a:lnTo>
                <a:lnTo>
                  <a:pt x="10852" y="5995"/>
                </a:lnTo>
                <a:lnTo>
                  <a:pt x="10848" y="5995"/>
                </a:lnTo>
                <a:lnTo>
                  <a:pt x="10844" y="5993"/>
                </a:lnTo>
                <a:lnTo>
                  <a:pt x="10840" y="5991"/>
                </a:lnTo>
                <a:lnTo>
                  <a:pt x="10836" y="5989"/>
                </a:lnTo>
                <a:lnTo>
                  <a:pt x="10828" y="5980"/>
                </a:lnTo>
                <a:lnTo>
                  <a:pt x="10821" y="5971"/>
                </a:lnTo>
                <a:lnTo>
                  <a:pt x="10806" y="5947"/>
                </a:lnTo>
                <a:lnTo>
                  <a:pt x="10792" y="5919"/>
                </a:lnTo>
                <a:lnTo>
                  <a:pt x="10784" y="5905"/>
                </a:lnTo>
                <a:lnTo>
                  <a:pt x="10775" y="5891"/>
                </a:lnTo>
                <a:lnTo>
                  <a:pt x="10765" y="5878"/>
                </a:lnTo>
                <a:lnTo>
                  <a:pt x="10755" y="5866"/>
                </a:lnTo>
                <a:lnTo>
                  <a:pt x="10750" y="5860"/>
                </a:lnTo>
                <a:lnTo>
                  <a:pt x="10744" y="5854"/>
                </a:lnTo>
                <a:lnTo>
                  <a:pt x="10738" y="5849"/>
                </a:lnTo>
                <a:lnTo>
                  <a:pt x="10732" y="5845"/>
                </a:lnTo>
                <a:lnTo>
                  <a:pt x="10726" y="5842"/>
                </a:lnTo>
                <a:lnTo>
                  <a:pt x="10719" y="5839"/>
                </a:lnTo>
                <a:lnTo>
                  <a:pt x="10712" y="5837"/>
                </a:lnTo>
                <a:lnTo>
                  <a:pt x="10705" y="5836"/>
                </a:lnTo>
                <a:lnTo>
                  <a:pt x="10701" y="5840"/>
                </a:lnTo>
                <a:lnTo>
                  <a:pt x="10697" y="5844"/>
                </a:lnTo>
                <a:lnTo>
                  <a:pt x="10692" y="5847"/>
                </a:lnTo>
                <a:lnTo>
                  <a:pt x="10687" y="5851"/>
                </a:lnTo>
                <a:lnTo>
                  <a:pt x="10674" y="5858"/>
                </a:lnTo>
                <a:lnTo>
                  <a:pt x="10660" y="5866"/>
                </a:lnTo>
                <a:lnTo>
                  <a:pt x="10645" y="5871"/>
                </a:lnTo>
                <a:lnTo>
                  <a:pt x="10631" y="5875"/>
                </a:lnTo>
                <a:lnTo>
                  <a:pt x="10619" y="5878"/>
                </a:lnTo>
                <a:lnTo>
                  <a:pt x="10609" y="5879"/>
                </a:lnTo>
                <a:lnTo>
                  <a:pt x="10604" y="5886"/>
                </a:lnTo>
                <a:lnTo>
                  <a:pt x="10599" y="5893"/>
                </a:lnTo>
                <a:lnTo>
                  <a:pt x="10592" y="5899"/>
                </a:lnTo>
                <a:lnTo>
                  <a:pt x="10584" y="5905"/>
                </a:lnTo>
                <a:lnTo>
                  <a:pt x="10575" y="5909"/>
                </a:lnTo>
                <a:lnTo>
                  <a:pt x="10566" y="5912"/>
                </a:lnTo>
                <a:lnTo>
                  <a:pt x="10555" y="5915"/>
                </a:lnTo>
                <a:lnTo>
                  <a:pt x="10545" y="5918"/>
                </a:lnTo>
                <a:lnTo>
                  <a:pt x="10533" y="5919"/>
                </a:lnTo>
                <a:lnTo>
                  <a:pt x="10522" y="5920"/>
                </a:lnTo>
                <a:lnTo>
                  <a:pt x="10508" y="5921"/>
                </a:lnTo>
                <a:lnTo>
                  <a:pt x="10496" y="5921"/>
                </a:lnTo>
                <a:lnTo>
                  <a:pt x="10470" y="5920"/>
                </a:lnTo>
                <a:lnTo>
                  <a:pt x="10445" y="5918"/>
                </a:lnTo>
                <a:lnTo>
                  <a:pt x="10396" y="5911"/>
                </a:lnTo>
                <a:lnTo>
                  <a:pt x="10353" y="5904"/>
                </a:lnTo>
                <a:lnTo>
                  <a:pt x="10337" y="5901"/>
                </a:lnTo>
                <a:lnTo>
                  <a:pt x="10324" y="5899"/>
                </a:lnTo>
                <a:lnTo>
                  <a:pt x="10320" y="5898"/>
                </a:lnTo>
                <a:lnTo>
                  <a:pt x="10316" y="5898"/>
                </a:lnTo>
                <a:lnTo>
                  <a:pt x="10314" y="5899"/>
                </a:lnTo>
                <a:lnTo>
                  <a:pt x="10306" y="5914"/>
                </a:lnTo>
                <a:lnTo>
                  <a:pt x="10290" y="5953"/>
                </a:lnTo>
                <a:lnTo>
                  <a:pt x="10266" y="6009"/>
                </a:lnTo>
                <a:lnTo>
                  <a:pt x="10240" y="6073"/>
                </a:lnTo>
                <a:lnTo>
                  <a:pt x="10214" y="6141"/>
                </a:lnTo>
                <a:lnTo>
                  <a:pt x="10191" y="6202"/>
                </a:lnTo>
                <a:lnTo>
                  <a:pt x="10181" y="6228"/>
                </a:lnTo>
                <a:lnTo>
                  <a:pt x="10174" y="6251"/>
                </a:lnTo>
                <a:lnTo>
                  <a:pt x="10168" y="6269"/>
                </a:lnTo>
                <a:lnTo>
                  <a:pt x="10165" y="6280"/>
                </a:lnTo>
                <a:lnTo>
                  <a:pt x="10162" y="6297"/>
                </a:lnTo>
                <a:lnTo>
                  <a:pt x="10157" y="6312"/>
                </a:lnTo>
                <a:lnTo>
                  <a:pt x="10151" y="6325"/>
                </a:lnTo>
                <a:lnTo>
                  <a:pt x="10144" y="6336"/>
                </a:lnTo>
                <a:lnTo>
                  <a:pt x="10135" y="6347"/>
                </a:lnTo>
                <a:lnTo>
                  <a:pt x="10127" y="6357"/>
                </a:lnTo>
                <a:lnTo>
                  <a:pt x="10119" y="6367"/>
                </a:lnTo>
                <a:lnTo>
                  <a:pt x="10110" y="6376"/>
                </a:lnTo>
                <a:lnTo>
                  <a:pt x="10092" y="6394"/>
                </a:lnTo>
                <a:lnTo>
                  <a:pt x="10075" y="6413"/>
                </a:lnTo>
                <a:lnTo>
                  <a:pt x="10068" y="6424"/>
                </a:lnTo>
                <a:lnTo>
                  <a:pt x="10061" y="6437"/>
                </a:lnTo>
                <a:lnTo>
                  <a:pt x="10055" y="6451"/>
                </a:lnTo>
                <a:lnTo>
                  <a:pt x="10050" y="6467"/>
                </a:lnTo>
                <a:lnTo>
                  <a:pt x="10048" y="6471"/>
                </a:lnTo>
                <a:lnTo>
                  <a:pt x="10045" y="6474"/>
                </a:lnTo>
                <a:lnTo>
                  <a:pt x="10041" y="6478"/>
                </a:lnTo>
                <a:lnTo>
                  <a:pt x="10035" y="6481"/>
                </a:lnTo>
                <a:lnTo>
                  <a:pt x="10020" y="6486"/>
                </a:lnTo>
                <a:lnTo>
                  <a:pt x="10000" y="6491"/>
                </a:lnTo>
                <a:lnTo>
                  <a:pt x="9978" y="6494"/>
                </a:lnTo>
                <a:lnTo>
                  <a:pt x="9954" y="6496"/>
                </a:lnTo>
                <a:lnTo>
                  <a:pt x="9929" y="6499"/>
                </a:lnTo>
                <a:lnTo>
                  <a:pt x="9902" y="6500"/>
                </a:lnTo>
                <a:lnTo>
                  <a:pt x="9850" y="6504"/>
                </a:lnTo>
                <a:lnTo>
                  <a:pt x="9806" y="6508"/>
                </a:lnTo>
                <a:lnTo>
                  <a:pt x="9788" y="6511"/>
                </a:lnTo>
                <a:lnTo>
                  <a:pt x="9775" y="6514"/>
                </a:lnTo>
                <a:lnTo>
                  <a:pt x="9770" y="6516"/>
                </a:lnTo>
                <a:lnTo>
                  <a:pt x="9766" y="6519"/>
                </a:lnTo>
                <a:lnTo>
                  <a:pt x="9763" y="6521"/>
                </a:lnTo>
                <a:lnTo>
                  <a:pt x="9762" y="6524"/>
                </a:lnTo>
                <a:lnTo>
                  <a:pt x="9740" y="6516"/>
                </a:lnTo>
                <a:lnTo>
                  <a:pt x="9719" y="6507"/>
                </a:lnTo>
                <a:lnTo>
                  <a:pt x="9698" y="6497"/>
                </a:lnTo>
                <a:lnTo>
                  <a:pt x="9678" y="6485"/>
                </a:lnTo>
                <a:lnTo>
                  <a:pt x="9659" y="6473"/>
                </a:lnTo>
                <a:lnTo>
                  <a:pt x="9641" y="6460"/>
                </a:lnTo>
                <a:lnTo>
                  <a:pt x="9623" y="6446"/>
                </a:lnTo>
                <a:lnTo>
                  <a:pt x="9607" y="6431"/>
                </a:lnTo>
                <a:lnTo>
                  <a:pt x="9592" y="6415"/>
                </a:lnTo>
                <a:lnTo>
                  <a:pt x="9579" y="6397"/>
                </a:lnTo>
                <a:lnTo>
                  <a:pt x="9574" y="6388"/>
                </a:lnTo>
                <a:lnTo>
                  <a:pt x="9568" y="6379"/>
                </a:lnTo>
                <a:lnTo>
                  <a:pt x="9563" y="6369"/>
                </a:lnTo>
                <a:lnTo>
                  <a:pt x="9559" y="6359"/>
                </a:lnTo>
                <a:lnTo>
                  <a:pt x="9555" y="6348"/>
                </a:lnTo>
                <a:lnTo>
                  <a:pt x="9551" y="6338"/>
                </a:lnTo>
                <a:lnTo>
                  <a:pt x="9548" y="6327"/>
                </a:lnTo>
                <a:lnTo>
                  <a:pt x="9545" y="6317"/>
                </a:lnTo>
                <a:lnTo>
                  <a:pt x="9543" y="6305"/>
                </a:lnTo>
                <a:lnTo>
                  <a:pt x="9542" y="6294"/>
                </a:lnTo>
                <a:lnTo>
                  <a:pt x="9541" y="6282"/>
                </a:lnTo>
                <a:lnTo>
                  <a:pt x="9541" y="6270"/>
                </a:lnTo>
                <a:lnTo>
                  <a:pt x="9539" y="6266"/>
                </a:lnTo>
                <a:lnTo>
                  <a:pt x="9539" y="6256"/>
                </a:lnTo>
                <a:lnTo>
                  <a:pt x="9539" y="6239"/>
                </a:lnTo>
                <a:lnTo>
                  <a:pt x="9540" y="6217"/>
                </a:lnTo>
                <a:lnTo>
                  <a:pt x="9545" y="6162"/>
                </a:lnTo>
                <a:lnTo>
                  <a:pt x="9551" y="6097"/>
                </a:lnTo>
                <a:lnTo>
                  <a:pt x="9558" y="6031"/>
                </a:lnTo>
                <a:lnTo>
                  <a:pt x="9567" y="5968"/>
                </a:lnTo>
                <a:lnTo>
                  <a:pt x="9571" y="5942"/>
                </a:lnTo>
                <a:lnTo>
                  <a:pt x="9575" y="5919"/>
                </a:lnTo>
                <a:lnTo>
                  <a:pt x="9579" y="5901"/>
                </a:lnTo>
                <a:lnTo>
                  <a:pt x="9583" y="5889"/>
                </a:lnTo>
                <a:lnTo>
                  <a:pt x="9591" y="5892"/>
                </a:lnTo>
                <a:lnTo>
                  <a:pt x="9598" y="5895"/>
                </a:lnTo>
                <a:lnTo>
                  <a:pt x="9603" y="5898"/>
                </a:lnTo>
                <a:lnTo>
                  <a:pt x="9608" y="5902"/>
                </a:lnTo>
                <a:lnTo>
                  <a:pt x="9612" y="5908"/>
                </a:lnTo>
                <a:lnTo>
                  <a:pt x="9616" y="5914"/>
                </a:lnTo>
                <a:lnTo>
                  <a:pt x="9620" y="5922"/>
                </a:lnTo>
                <a:lnTo>
                  <a:pt x="9625" y="5931"/>
                </a:lnTo>
                <a:lnTo>
                  <a:pt x="9641" y="5927"/>
                </a:lnTo>
                <a:lnTo>
                  <a:pt x="9657" y="5924"/>
                </a:lnTo>
                <a:lnTo>
                  <a:pt x="9675" y="5922"/>
                </a:lnTo>
                <a:lnTo>
                  <a:pt x="9694" y="5921"/>
                </a:lnTo>
                <a:lnTo>
                  <a:pt x="9734" y="5921"/>
                </a:lnTo>
                <a:lnTo>
                  <a:pt x="9775" y="5920"/>
                </a:lnTo>
                <a:lnTo>
                  <a:pt x="9794" y="5919"/>
                </a:lnTo>
                <a:lnTo>
                  <a:pt x="9811" y="5916"/>
                </a:lnTo>
                <a:lnTo>
                  <a:pt x="9827" y="5913"/>
                </a:lnTo>
                <a:lnTo>
                  <a:pt x="9841" y="5908"/>
                </a:lnTo>
                <a:lnTo>
                  <a:pt x="9847" y="5905"/>
                </a:lnTo>
                <a:lnTo>
                  <a:pt x="9852" y="5902"/>
                </a:lnTo>
                <a:lnTo>
                  <a:pt x="9857" y="5898"/>
                </a:lnTo>
                <a:lnTo>
                  <a:pt x="9861" y="5893"/>
                </a:lnTo>
                <a:lnTo>
                  <a:pt x="9864" y="5888"/>
                </a:lnTo>
                <a:lnTo>
                  <a:pt x="9866" y="5882"/>
                </a:lnTo>
                <a:lnTo>
                  <a:pt x="9868" y="5875"/>
                </a:lnTo>
                <a:lnTo>
                  <a:pt x="9868" y="5868"/>
                </a:lnTo>
                <a:lnTo>
                  <a:pt x="9881" y="5869"/>
                </a:lnTo>
                <a:lnTo>
                  <a:pt x="9893" y="5870"/>
                </a:lnTo>
                <a:lnTo>
                  <a:pt x="9904" y="5872"/>
                </a:lnTo>
                <a:lnTo>
                  <a:pt x="9913" y="5874"/>
                </a:lnTo>
                <a:lnTo>
                  <a:pt x="9921" y="5877"/>
                </a:lnTo>
                <a:lnTo>
                  <a:pt x="9928" y="5881"/>
                </a:lnTo>
                <a:lnTo>
                  <a:pt x="9933" y="5886"/>
                </a:lnTo>
                <a:lnTo>
                  <a:pt x="9938" y="5891"/>
                </a:lnTo>
                <a:lnTo>
                  <a:pt x="9941" y="5896"/>
                </a:lnTo>
                <a:lnTo>
                  <a:pt x="9943" y="5902"/>
                </a:lnTo>
                <a:lnTo>
                  <a:pt x="9944" y="5909"/>
                </a:lnTo>
                <a:lnTo>
                  <a:pt x="9944" y="5916"/>
                </a:lnTo>
                <a:lnTo>
                  <a:pt x="9943" y="5924"/>
                </a:lnTo>
                <a:lnTo>
                  <a:pt x="9941" y="5933"/>
                </a:lnTo>
                <a:lnTo>
                  <a:pt x="9937" y="5942"/>
                </a:lnTo>
                <a:lnTo>
                  <a:pt x="9932" y="5952"/>
                </a:lnTo>
                <a:lnTo>
                  <a:pt x="9959" y="5957"/>
                </a:lnTo>
                <a:lnTo>
                  <a:pt x="9988" y="5960"/>
                </a:lnTo>
                <a:lnTo>
                  <a:pt x="10003" y="5962"/>
                </a:lnTo>
                <a:lnTo>
                  <a:pt x="10019" y="5962"/>
                </a:lnTo>
                <a:lnTo>
                  <a:pt x="10033" y="5961"/>
                </a:lnTo>
                <a:lnTo>
                  <a:pt x="10047" y="5960"/>
                </a:lnTo>
                <a:lnTo>
                  <a:pt x="10060" y="5957"/>
                </a:lnTo>
                <a:lnTo>
                  <a:pt x="10073" y="5953"/>
                </a:lnTo>
                <a:lnTo>
                  <a:pt x="10078" y="5950"/>
                </a:lnTo>
                <a:lnTo>
                  <a:pt x="10084" y="5947"/>
                </a:lnTo>
                <a:lnTo>
                  <a:pt x="10089" y="5944"/>
                </a:lnTo>
                <a:lnTo>
                  <a:pt x="10093" y="5940"/>
                </a:lnTo>
                <a:lnTo>
                  <a:pt x="10097" y="5935"/>
                </a:lnTo>
                <a:lnTo>
                  <a:pt x="10101" y="5930"/>
                </a:lnTo>
                <a:lnTo>
                  <a:pt x="10104" y="5925"/>
                </a:lnTo>
                <a:lnTo>
                  <a:pt x="10107" y="5919"/>
                </a:lnTo>
                <a:lnTo>
                  <a:pt x="10109" y="5912"/>
                </a:lnTo>
                <a:lnTo>
                  <a:pt x="10111" y="5905"/>
                </a:lnTo>
                <a:lnTo>
                  <a:pt x="10112" y="5897"/>
                </a:lnTo>
                <a:lnTo>
                  <a:pt x="10112" y="5889"/>
                </a:lnTo>
                <a:lnTo>
                  <a:pt x="10099" y="5889"/>
                </a:lnTo>
                <a:lnTo>
                  <a:pt x="10089" y="5888"/>
                </a:lnTo>
                <a:lnTo>
                  <a:pt x="10085" y="5887"/>
                </a:lnTo>
                <a:lnTo>
                  <a:pt x="10082" y="5886"/>
                </a:lnTo>
                <a:lnTo>
                  <a:pt x="10079" y="5884"/>
                </a:lnTo>
                <a:lnTo>
                  <a:pt x="10076" y="5882"/>
                </a:lnTo>
                <a:lnTo>
                  <a:pt x="10074" y="5880"/>
                </a:lnTo>
                <a:lnTo>
                  <a:pt x="10073" y="5877"/>
                </a:lnTo>
                <a:lnTo>
                  <a:pt x="10072" y="5874"/>
                </a:lnTo>
                <a:lnTo>
                  <a:pt x="10071" y="5870"/>
                </a:lnTo>
                <a:lnTo>
                  <a:pt x="10070" y="5860"/>
                </a:lnTo>
                <a:lnTo>
                  <a:pt x="10070" y="5846"/>
                </a:lnTo>
                <a:lnTo>
                  <a:pt x="10081" y="5834"/>
                </a:lnTo>
                <a:lnTo>
                  <a:pt x="10089" y="5822"/>
                </a:lnTo>
                <a:lnTo>
                  <a:pt x="10096" y="5809"/>
                </a:lnTo>
                <a:lnTo>
                  <a:pt x="10102" y="5797"/>
                </a:lnTo>
                <a:lnTo>
                  <a:pt x="10105" y="5786"/>
                </a:lnTo>
                <a:lnTo>
                  <a:pt x="10108" y="5774"/>
                </a:lnTo>
                <a:lnTo>
                  <a:pt x="10108" y="5762"/>
                </a:lnTo>
                <a:lnTo>
                  <a:pt x="10108" y="5751"/>
                </a:lnTo>
                <a:lnTo>
                  <a:pt x="10106" y="5739"/>
                </a:lnTo>
                <a:lnTo>
                  <a:pt x="10103" y="5727"/>
                </a:lnTo>
                <a:lnTo>
                  <a:pt x="10100" y="5716"/>
                </a:lnTo>
                <a:lnTo>
                  <a:pt x="10095" y="5705"/>
                </a:lnTo>
                <a:lnTo>
                  <a:pt x="10089" y="5694"/>
                </a:lnTo>
                <a:lnTo>
                  <a:pt x="10083" y="5684"/>
                </a:lnTo>
                <a:lnTo>
                  <a:pt x="10077" y="5673"/>
                </a:lnTo>
                <a:lnTo>
                  <a:pt x="10070" y="5663"/>
                </a:lnTo>
                <a:lnTo>
                  <a:pt x="10038" y="5624"/>
                </a:lnTo>
                <a:lnTo>
                  <a:pt x="10007" y="5587"/>
                </a:lnTo>
                <a:lnTo>
                  <a:pt x="9994" y="5571"/>
                </a:lnTo>
                <a:lnTo>
                  <a:pt x="9983" y="5556"/>
                </a:lnTo>
                <a:lnTo>
                  <a:pt x="9980" y="5549"/>
                </a:lnTo>
                <a:lnTo>
                  <a:pt x="9977" y="5542"/>
                </a:lnTo>
                <a:lnTo>
                  <a:pt x="9975" y="5535"/>
                </a:lnTo>
                <a:lnTo>
                  <a:pt x="9974" y="5529"/>
                </a:lnTo>
                <a:lnTo>
                  <a:pt x="9965" y="5525"/>
                </a:lnTo>
                <a:lnTo>
                  <a:pt x="9956" y="5520"/>
                </a:lnTo>
                <a:lnTo>
                  <a:pt x="9946" y="5514"/>
                </a:lnTo>
                <a:lnTo>
                  <a:pt x="9936" y="5506"/>
                </a:lnTo>
                <a:lnTo>
                  <a:pt x="9916" y="5489"/>
                </a:lnTo>
                <a:lnTo>
                  <a:pt x="9898" y="5471"/>
                </a:lnTo>
                <a:lnTo>
                  <a:pt x="9890" y="5463"/>
                </a:lnTo>
                <a:lnTo>
                  <a:pt x="9885" y="5457"/>
                </a:lnTo>
                <a:lnTo>
                  <a:pt x="9882" y="5451"/>
                </a:lnTo>
                <a:lnTo>
                  <a:pt x="9880" y="5447"/>
                </a:lnTo>
                <a:lnTo>
                  <a:pt x="9881" y="5446"/>
                </a:lnTo>
                <a:lnTo>
                  <a:pt x="9881" y="5445"/>
                </a:lnTo>
                <a:lnTo>
                  <a:pt x="9883" y="5445"/>
                </a:lnTo>
                <a:lnTo>
                  <a:pt x="9885" y="5445"/>
                </a:lnTo>
                <a:lnTo>
                  <a:pt x="9893" y="5447"/>
                </a:lnTo>
                <a:lnTo>
                  <a:pt x="9904" y="5453"/>
                </a:lnTo>
                <a:lnTo>
                  <a:pt x="9915" y="5459"/>
                </a:lnTo>
                <a:lnTo>
                  <a:pt x="9930" y="5465"/>
                </a:lnTo>
                <a:lnTo>
                  <a:pt x="9947" y="5472"/>
                </a:lnTo>
                <a:lnTo>
                  <a:pt x="9965" y="5478"/>
                </a:lnTo>
                <a:lnTo>
                  <a:pt x="9984" y="5485"/>
                </a:lnTo>
                <a:lnTo>
                  <a:pt x="10004" y="5490"/>
                </a:lnTo>
                <a:lnTo>
                  <a:pt x="10024" y="5493"/>
                </a:lnTo>
                <a:lnTo>
                  <a:pt x="10042" y="5495"/>
                </a:lnTo>
                <a:lnTo>
                  <a:pt x="10051" y="5495"/>
                </a:lnTo>
                <a:lnTo>
                  <a:pt x="10059" y="5495"/>
                </a:lnTo>
                <a:lnTo>
                  <a:pt x="10067" y="5494"/>
                </a:lnTo>
                <a:lnTo>
                  <a:pt x="10074" y="5493"/>
                </a:lnTo>
                <a:lnTo>
                  <a:pt x="10080" y="5491"/>
                </a:lnTo>
                <a:lnTo>
                  <a:pt x="10085" y="5488"/>
                </a:lnTo>
                <a:lnTo>
                  <a:pt x="10090" y="5485"/>
                </a:lnTo>
                <a:lnTo>
                  <a:pt x="10094" y="5479"/>
                </a:lnTo>
                <a:lnTo>
                  <a:pt x="10096" y="5474"/>
                </a:lnTo>
                <a:lnTo>
                  <a:pt x="10098" y="5468"/>
                </a:lnTo>
                <a:lnTo>
                  <a:pt x="10098" y="5461"/>
                </a:lnTo>
                <a:lnTo>
                  <a:pt x="10097" y="5454"/>
                </a:lnTo>
                <a:lnTo>
                  <a:pt x="10095" y="5445"/>
                </a:lnTo>
                <a:lnTo>
                  <a:pt x="10092" y="5435"/>
                </a:lnTo>
                <a:lnTo>
                  <a:pt x="10087" y="5424"/>
                </a:lnTo>
                <a:lnTo>
                  <a:pt x="10080" y="5412"/>
                </a:lnTo>
                <a:lnTo>
                  <a:pt x="10084" y="5411"/>
                </a:lnTo>
                <a:lnTo>
                  <a:pt x="10087" y="5409"/>
                </a:lnTo>
                <a:lnTo>
                  <a:pt x="10089" y="5406"/>
                </a:lnTo>
                <a:lnTo>
                  <a:pt x="10091" y="5402"/>
                </a:lnTo>
                <a:lnTo>
                  <a:pt x="10102" y="5411"/>
                </a:lnTo>
                <a:lnTo>
                  <a:pt x="10118" y="5425"/>
                </a:lnTo>
                <a:lnTo>
                  <a:pt x="10127" y="5433"/>
                </a:lnTo>
                <a:lnTo>
                  <a:pt x="10137" y="5440"/>
                </a:lnTo>
                <a:lnTo>
                  <a:pt x="10148" y="5447"/>
                </a:lnTo>
                <a:lnTo>
                  <a:pt x="10158" y="5453"/>
                </a:lnTo>
                <a:lnTo>
                  <a:pt x="10167" y="5458"/>
                </a:lnTo>
                <a:lnTo>
                  <a:pt x="10176" y="5461"/>
                </a:lnTo>
                <a:lnTo>
                  <a:pt x="10181" y="5462"/>
                </a:lnTo>
                <a:lnTo>
                  <a:pt x="10185" y="5462"/>
                </a:lnTo>
                <a:lnTo>
                  <a:pt x="10189" y="5462"/>
                </a:lnTo>
                <a:lnTo>
                  <a:pt x="10192" y="5461"/>
                </a:lnTo>
                <a:lnTo>
                  <a:pt x="10196" y="5459"/>
                </a:lnTo>
                <a:lnTo>
                  <a:pt x="10198" y="5457"/>
                </a:lnTo>
                <a:lnTo>
                  <a:pt x="10201" y="5453"/>
                </a:lnTo>
                <a:lnTo>
                  <a:pt x="10203" y="5449"/>
                </a:lnTo>
                <a:lnTo>
                  <a:pt x="10205" y="5444"/>
                </a:lnTo>
                <a:lnTo>
                  <a:pt x="10206" y="5438"/>
                </a:lnTo>
                <a:lnTo>
                  <a:pt x="10207" y="5431"/>
                </a:lnTo>
                <a:lnTo>
                  <a:pt x="10207" y="5423"/>
                </a:lnTo>
                <a:lnTo>
                  <a:pt x="10213" y="5422"/>
                </a:lnTo>
                <a:lnTo>
                  <a:pt x="10220" y="5420"/>
                </a:lnTo>
                <a:lnTo>
                  <a:pt x="10228" y="5417"/>
                </a:lnTo>
                <a:lnTo>
                  <a:pt x="10237" y="5413"/>
                </a:lnTo>
                <a:lnTo>
                  <a:pt x="10245" y="5408"/>
                </a:lnTo>
                <a:lnTo>
                  <a:pt x="10254" y="5403"/>
                </a:lnTo>
                <a:lnTo>
                  <a:pt x="10262" y="5397"/>
                </a:lnTo>
                <a:lnTo>
                  <a:pt x="10270" y="5392"/>
                </a:lnTo>
                <a:lnTo>
                  <a:pt x="10276" y="5386"/>
                </a:lnTo>
                <a:lnTo>
                  <a:pt x="10281" y="5380"/>
                </a:lnTo>
                <a:lnTo>
                  <a:pt x="10282" y="5377"/>
                </a:lnTo>
                <a:lnTo>
                  <a:pt x="10283" y="5375"/>
                </a:lnTo>
                <a:lnTo>
                  <a:pt x="10283" y="5372"/>
                </a:lnTo>
                <a:lnTo>
                  <a:pt x="10283" y="5370"/>
                </a:lnTo>
                <a:lnTo>
                  <a:pt x="10282" y="5368"/>
                </a:lnTo>
                <a:lnTo>
                  <a:pt x="10280" y="5366"/>
                </a:lnTo>
                <a:lnTo>
                  <a:pt x="10277" y="5364"/>
                </a:lnTo>
                <a:lnTo>
                  <a:pt x="10274" y="5363"/>
                </a:lnTo>
                <a:lnTo>
                  <a:pt x="10263" y="5361"/>
                </a:lnTo>
                <a:lnTo>
                  <a:pt x="10249" y="5360"/>
                </a:lnTo>
                <a:lnTo>
                  <a:pt x="10254" y="5325"/>
                </a:lnTo>
                <a:lnTo>
                  <a:pt x="10256" y="5295"/>
                </a:lnTo>
                <a:lnTo>
                  <a:pt x="10257" y="5267"/>
                </a:lnTo>
                <a:lnTo>
                  <a:pt x="10260" y="5243"/>
                </a:lnTo>
                <a:lnTo>
                  <a:pt x="10283" y="5255"/>
                </a:lnTo>
                <a:lnTo>
                  <a:pt x="10302" y="5262"/>
                </a:lnTo>
                <a:lnTo>
                  <a:pt x="10309" y="5264"/>
                </a:lnTo>
                <a:lnTo>
                  <a:pt x="10316" y="5265"/>
                </a:lnTo>
                <a:lnTo>
                  <a:pt x="10322" y="5266"/>
                </a:lnTo>
                <a:lnTo>
                  <a:pt x="10327" y="5265"/>
                </a:lnTo>
                <a:lnTo>
                  <a:pt x="10331" y="5264"/>
                </a:lnTo>
                <a:lnTo>
                  <a:pt x="10335" y="5263"/>
                </a:lnTo>
                <a:lnTo>
                  <a:pt x="10338" y="5260"/>
                </a:lnTo>
                <a:lnTo>
                  <a:pt x="10341" y="5257"/>
                </a:lnTo>
                <a:lnTo>
                  <a:pt x="10345" y="5250"/>
                </a:lnTo>
                <a:lnTo>
                  <a:pt x="10348" y="5240"/>
                </a:lnTo>
                <a:lnTo>
                  <a:pt x="10352" y="5217"/>
                </a:lnTo>
                <a:lnTo>
                  <a:pt x="10357" y="5192"/>
                </a:lnTo>
                <a:lnTo>
                  <a:pt x="10361" y="5180"/>
                </a:lnTo>
                <a:lnTo>
                  <a:pt x="10367" y="5168"/>
                </a:lnTo>
                <a:lnTo>
                  <a:pt x="10371" y="5163"/>
                </a:lnTo>
                <a:lnTo>
                  <a:pt x="10376" y="5158"/>
                </a:lnTo>
                <a:lnTo>
                  <a:pt x="10381" y="5153"/>
                </a:lnTo>
                <a:lnTo>
                  <a:pt x="10387" y="5148"/>
                </a:lnTo>
                <a:lnTo>
                  <a:pt x="10387" y="5156"/>
                </a:lnTo>
                <a:lnTo>
                  <a:pt x="10388" y="5162"/>
                </a:lnTo>
                <a:lnTo>
                  <a:pt x="10389" y="5167"/>
                </a:lnTo>
                <a:lnTo>
                  <a:pt x="10390" y="5171"/>
                </a:lnTo>
                <a:lnTo>
                  <a:pt x="10392" y="5175"/>
                </a:lnTo>
                <a:lnTo>
                  <a:pt x="10394" y="5177"/>
                </a:lnTo>
                <a:lnTo>
                  <a:pt x="10397" y="5178"/>
                </a:lnTo>
                <a:lnTo>
                  <a:pt x="10400" y="5178"/>
                </a:lnTo>
                <a:lnTo>
                  <a:pt x="10406" y="5177"/>
                </a:lnTo>
                <a:lnTo>
                  <a:pt x="10413" y="5173"/>
                </a:lnTo>
                <a:lnTo>
                  <a:pt x="10421" y="5167"/>
                </a:lnTo>
                <a:lnTo>
                  <a:pt x="10429" y="5160"/>
                </a:lnTo>
                <a:lnTo>
                  <a:pt x="10448" y="5143"/>
                </a:lnTo>
                <a:lnTo>
                  <a:pt x="10467" y="5125"/>
                </a:lnTo>
                <a:lnTo>
                  <a:pt x="10476" y="5118"/>
                </a:lnTo>
                <a:lnTo>
                  <a:pt x="10486" y="5112"/>
                </a:lnTo>
                <a:lnTo>
                  <a:pt x="10490" y="5109"/>
                </a:lnTo>
                <a:lnTo>
                  <a:pt x="10495" y="5108"/>
                </a:lnTo>
                <a:lnTo>
                  <a:pt x="10499" y="5107"/>
                </a:lnTo>
                <a:lnTo>
                  <a:pt x="10503" y="5106"/>
                </a:lnTo>
                <a:lnTo>
                  <a:pt x="10508" y="5098"/>
                </a:lnTo>
                <a:lnTo>
                  <a:pt x="10514" y="5092"/>
                </a:lnTo>
                <a:lnTo>
                  <a:pt x="10520" y="5087"/>
                </a:lnTo>
                <a:lnTo>
                  <a:pt x="10526" y="5082"/>
                </a:lnTo>
                <a:lnTo>
                  <a:pt x="10533" y="5078"/>
                </a:lnTo>
                <a:lnTo>
                  <a:pt x="10539" y="5074"/>
                </a:lnTo>
                <a:lnTo>
                  <a:pt x="10546" y="5071"/>
                </a:lnTo>
                <a:lnTo>
                  <a:pt x="10553" y="5068"/>
                </a:lnTo>
                <a:lnTo>
                  <a:pt x="10568" y="5064"/>
                </a:lnTo>
                <a:lnTo>
                  <a:pt x="10582" y="5061"/>
                </a:lnTo>
                <a:lnTo>
                  <a:pt x="10597" y="5058"/>
                </a:lnTo>
                <a:lnTo>
                  <a:pt x="10612" y="5056"/>
                </a:lnTo>
                <a:lnTo>
                  <a:pt x="10627" y="5054"/>
                </a:lnTo>
                <a:lnTo>
                  <a:pt x="10641" y="5051"/>
                </a:lnTo>
                <a:lnTo>
                  <a:pt x="10656" y="5048"/>
                </a:lnTo>
                <a:lnTo>
                  <a:pt x="10668" y="5042"/>
                </a:lnTo>
                <a:lnTo>
                  <a:pt x="10674" y="5039"/>
                </a:lnTo>
                <a:lnTo>
                  <a:pt x="10680" y="5036"/>
                </a:lnTo>
                <a:lnTo>
                  <a:pt x="10685" y="5031"/>
                </a:lnTo>
                <a:lnTo>
                  <a:pt x="10690" y="5026"/>
                </a:lnTo>
                <a:lnTo>
                  <a:pt x="10694" y="5021"/>
                </a:lnTo>
                <a:lnTo>
                  <a:pt x="10698" y="5015"/>
                </a:lnTo>
                <a:lnTo>
                  <a:pt x="10702" y="5008"/>
                </a:lnTo>
                <a:lnTo>
                  <a:pt x="10705" y="5000"/>
                </a:lnTo>
                <a:lnTo>
                  <a:pt x="10699" y="4997"/>
                </a:lnTo>
                <a:lnTo>
                  <a:pt x="10693" y="4994"/>
                </a:lnTo>
                <a:lnTo>
                  <a:pt x="10688" y="4990"/>
                </a:lnTo>
                <a:lnTo>
                  <a:pt x="10684" y="4986"/>
                </a:lnTo>
                <a:lnTo>
                  <a:pt x="10680" y="4981"/>
                </a:lnTo>
                <a:lnTo>
                  <a:pt x="10676" y="4974"/>
                </a:lnTo>
                <a:lnTo>
                  <a:pt x="10672" y="4967"/>
                </a:lnTo>
                <a:lnTo>
                  <a:pt x="10669" y="4960"/>
                </a:lnTo>
                <a:lnTo>
                  <a:pt x="10664" y="4945"/>
                </a:lnTo>
                <a:lnTo>
                  <a:pt x="10660" y="4929"/>
                </a:lnTo>
                <a:lnTo>
                  <a:pt x="10657" y="4911"/>
                </a:lnTo>
                <a:lnTo>
                  <a:pt x="10654" y="4892"/>
                </a:lnTo>
                <a:lnTo>
                  <a:pt x="10652" y="4854"/>
                </a:lnTo>
                <a:lnTo>
                  <a:pt x="10651" y="4816"/>
                </a:lnTo>
                <a:lnTo>
                  <a:pt x="10652" y="4783"/>
                </a:lnTo>
                <a:lnTo>
                  <a:pt x="10652" y="4757"/>
                </a:lnTo>
                <a:lnTo>
                  <a:pt x="10660" y="4758"/>
                </a:lnTo>
                <a:lnTo>
                  <a:pt x="10667" y="4758"/>
                </a:lnTo>
                <a:lnTo>
                  <a:pt x="10674" y="4757"/>
                </a:lnTo>
                <a:lnTo>
                  <a:pt x="10681" y="4756"/>
                </a:lnTo>
                <a:lnTo>
                  <a:pt x="10696" y="4752"/>
                </a:lnTo>
                <a:lnTo>
                  <a:pt x="10710" y="4747"/>
                </a:lnTo>
                <a:lnTo>
                  <a:pt x="10738" y="4733"/>
                </a:lnTo>
                <a:lnTo>
                  <a:pt x="10764" y="4718"/>
                </a:lnTo>
                <a:lnTo>
                  <a:pt x="10777" y="4712"/>
                </a:lnTo>
                <a:lnTo>
                  <a:pt x="10788" y="4707"/>
                </a:lnTo>
                <a:lnTo>
                  <a:pt x="10798" y="4704"/>
                </a:lnTo>
                <a:lnTo>
                  <a:pt x="10807" y="4703"/>
                </a:lnTo>
                <a:lnTo>
                  <a:pt x="10811" y="4704"/>
                </a:lnTo>
                <a:lnTo>
                  <a:pt x="10814" y="4705"/>
                </a:lnTo>
                <a:lnTo>
                  <a:pt x="10818" y="4707"/>
                </a:lnTo>
                <a:lnTo>
                  <a:pt x="10821" y="4710"/>
                </a:lnTo>
                <a:lnTo>
                  <a:pt x="10823" y="4714"/>
                </a:lnTo>
                <a:lnTo>
                  <a:pt x="10825" y="4719"/>
                </a:lnTo>
                <a:lnTo>
                  <a:pt x="10827" y="4726"/>
                </a:lnTo>
                <a:lnTo>
                  <a:pt x="10828" y="4733"/>
                </a:lnTo>
                <a:lnTo>
                  <a:pt x="10832" y="4764"/>
                </a:lnTo>
                <a:lnTo>
                  <a:pt x="10836" y="4804"/>
                </a:lnTo>
                <a:lnTo>
                  <a:pt x="10839" y="4824"/>
                </a:lnTo>
                <a:lnTo>
                  <a:pt x="10843" y="4841"/>
                </a:lnTo>
                <a:lnTo>
                  <a:pt x="10845" y="4848"/>
                </a:lnTo>
                <a:lnTo>
                  <a:pt x="10847" y="4855"/>
                </a:lnTo>
                <a:lnTo>
                  <a:pt x="10850" y="4860"/>
                </a:lnTo>
                <a:lnTo>
                  <a:pt x="10852" y="4863"/>
                </a:lnTo>
                <a:lnTo>
                  <a:pt x="10872" y="4872"/>
                </a:lnTo>
                <a:lnTo>
                  <a:pt x="10889" y="4878"/>
                </a:lnTo>
                <a:lnTo>
                  <a:pt x="10896" y="4880"/>
                </a:lnTo>
                <a:lnTo>
                  <a:pt x="10904" y="4881"/>
                </a:lnTo>
                <a:lnTo>
                  <a:pt x="10910" y="4882"/>
                </a:lnTo>
                <a:lnTo>
                  <a:pt x="10915" y="4882"/>
                </a:lnTo>
                <a:lnTo>
                  <a:pt x="10920" y="4881"/>
                </a:lnTo>
                <a:lnTo>
                  <a:pt x="10924" y="4879"/>
                </a:lnTo>
                <a:lnTo>
                  <a:pt x="10927" y="4877"/>
                </a:lnTo>
                <a:lnTo>
                  <a:pt x="10931" y="4875"/>
                </a:lnTo>
                <a:lnTo>
                  <a:pt x="10933" y="4872"/>
                </a:lnTo>
                <a:lnTo>
                  <a:pt x="10935" y="4869"/>
                </a:lnTo>
                <a:lnTo>
                  <a:pt x="10937" y="4865"/>
                </a:lnTo>
                <a:lnTo>
                  <a:pt x="10939" y="4860"/>
                </a:lnTo>
                <a:lnTo>
                  <a:pt x="10941" y="4850"/>
                </a:lnTo>
                <a:lnTo>
                  <a:pt x="10941" y="4839"/>
                </a:lnTo>
                <a:lnTo>
                  <a:pt x="10941" y="4828"/>
                </a:lnTo>
                <a:lnTo>
                  <a:pt x="10941" y="4816"/>
                </a:lnTo>
                <a:lnTo>
                  <a:pt x="10939" y="4791"/>
                </a:lnTo>
                <a:lnTo>
                  <a:pt x="10938" y="4767"/>
                </a:lnTo>
                <a:lnTo>
                  <a:pt x="10934" y="4767"/>
                </a:lnTo>
                <a:lnTo>
                  <a:pt x="10931" y="4766"/>
                </a:lnTo>
                <a:lnTo>
                  <a:pt x="10927" y="4764"/>
                </a:lnTo>
                <a:lnTo>
                  <a:pt x="10923" y="4761"/>
                </a:lnTo>
                <a:lnTo>
                  <a:pt x="10915" y="4754"/>
                </a:lnTo>
                <a:lnTo>
                  <a:pt x="10908" y="4745"/>
                </a:lnTo>
                <a:lnTo>
                  <a:pt x="10900" y="4734"/>
                </a:lnTo>
                <a:lnTo>
                  <a:pt x="10891" y="4720"/>
                </a:lnTo>
                <a:lnTo>
                  <a:pt x="10884" y="4706"/>
                </a:lnTo>
                <a:lnTo>
                  <a:pt x="10877" y="4691"/>
                </a:lnTo>
                <a:lnTo>
                  <a:pt x="10870" y="4675"/>
                </a:lnTo>
                <a:lnTo>
                  <a:pt x="10864" y="4658"/>
                </a:lnTo>
                <a:lnTo>
                  <a:pt x="10859" y="4642"/>
                </a:lnTo>
                <a:lnTo>
                  <a:pt x="10854" y="4625"/>
                </a:lnTo>
                <a:lnTo>
                  <a:pt x="10850" y="4609"/>
                </a:lnTo>
                <a:lnTo>
                  <a:pt x="10846" y="4593"/>
                </a:lnTo>
                <a:lnTo>
                  <a:pt x="10844" y="4578"/>
                </a:lnTo>
                <a:lnTo>
                  <a:pt x="10842" y="4566"/>
                </a:lnTo>
                <a:lnTo>
                  <a:pt x="10829" y="4568"/>
                </a:lnTo>
                <a:lnTo>
                  <a:pt x="10816" y="4571"/>
                </a:lnTo>
                <a:lnTo>
                  <a:pt x="10802" y="4574"/>
                </a:lnTo>
                <a:lnTo>
                  <a:pt x="10788" y="4579"/>
                </a:lnTo>
                <a:lnTo>
                  <a:pt x="10775" y="4585"/>
                </a:lnTo>
                <a:lnTo>
                  <a:pt x="10762" y="4591"/>
                </a:lnTo>
                <a:lnTo>
                  <a:pt x="10757" y="4595"/>
                </a:lnTo>
                <a:lnTo>
                  <a:pt x="10753" y="4600"/>
                </a:lnTo>
                <a:lnTo>
                  <a:pt x="10749" y="4604"/>
                </a:lnTo>
                <a:lnTo>
                  <a:pt x="10746" y="4608"/>
                </a:lnTo>
                <a:lnTo>
                  <a:pt x="10725" y="4608"/>
                </a:lnTo>
                <a:lnTo>
                  <a:pt x="10705" y="4607"/>
                </a:lnTo>
                <a:lnTo>
                  <a:pt x="10686" y="4605"/>
                </a:lnTo>
                <a:lnTo>
                  <a:pt x="10667" y="4602"/>
                </a:lnTo>
                <a:lnTo>
                  <a:pt x="10629" y="4594"/>
                </a:lnTo>
                <a:lnTo>
                  <a:pt x="10595" y="4587"/>
                </a:lnTo>
                <a:lnTo>
                  <a:pt x="10562" y="4579"/>
                </a:lnTo>
                <a:lnTo>
                  <a:pt x="10529" y="4572"/>
                </a:lnTo>
                <a:lnTo>
                  <a:pt x="10511" y="4569"/>
                </a:lnTo>
                <a:lnTo>
                  <a:pt x="10495" y="4567"/>
                </a:lnTo>
                <a:lnTo>
                  <a:pt x="10478" y="4566"/>
                </a:lnTo>
                <a:lnTo>
                  <a:pt x="10461" y="4566"/>
                </a:lnTo>
                <a:lnTo>
                  <a:pt x="10440" y="4538"/>
                </a:lnTo>
                <a:lnTo>
                  <a:pt x="10402" y="4492"/>
                </a:lnTo>
                <a:lnTo>
                  <a:pt x="10382" y="4467"/>
                </a:lnTo>
                <a:lnTo>
                  <a:pt x="10366" y="4447"/>
                </a:lnTo>
                <a:lnTo>
                  <a:pt x="10360" y="4439"/>
                </a:lnTo>
                <a:lnTo>
                  <a:pt x="10356" y="4433"/>
                </a:lnTo>
                <a:lnTo>
                  <a:pt x="10354" y="4429"/>
                </a:lnTo>
                <a:lnTo>
                  <a:pt x="10355" y="4428"/>
                </a:lnTo>
                <a:lnTo>
                  <a:pt x="10350" y="4418"/>
                </a:lnTo>
                <a:lnTo>
                  <a:pt x="10345" y="4409"/>
                </a:lnTo>
                <a:lnTo>
                  <a:pt x="10342" y="4400"/>
                </a:lnTo>
                <a:lnTo>
                  <a:pt x="10340" y="4393"/>
                </a:lnTo>
                <a:lnTo>
                  <a:pt x="10338" y="4386"/>
                </a:lnTo>
                <a:lnTo>
                  <a:pt x="10338" y="4380"/>
                </a:lnTo>
                <a:lnTo>
                  <a:pt x="10338" y="4374"/>
                </a:lnTo>
                <a:lnTo>
                  <a:pt x="10339" y="4369"/>
                </a:lnTo>
                <a:lnTo>
                  <a:pt x="10340" y="4365"/>
                </a:lnTo>
                <a:lnTo>
                  <a:pt x="10342" y="4361"/>
                </a:lnTo>
                <a:lnTo>
                  <a:pt x="10345" y="4357"/>
                </a:lnTo>
                <a:lnTo>
                  <a:pt x="10349" y="4354"/>
                </a:lnTo>
                <a:lnTo>
                  <a:pt x="10356" y="4350"/>
                </a:lnTo>
                <a:lnTo>
                  <a:pt x="10366" y="4346"/>
                </a:lnTo>
                <a:lnTo>
                  <a:pt x="10376" y="4344"/>
                </a:lnTo>
                <a:lnTo>
                  <a:pt x="10387" y="4343"/>
                </a:lnTo>
                <a:lnTo>
                  <a:pt x="10399" y="4343"/>
                </a:lnTo>
                <a:lnTo>
                  <a:pt x="10410" y="4343"/>
                </a:lnTo>
                <a:lnTo>
                  <a:pt x="10428" y="4344"/>
                </a:lnTo>
                <a:lnTo>
                  <a:pt x="10440" y="4344"/>
                </a:lnTo>
                <a:lnTo>
                  <a:pt x="10442" y="4334"/>
                </a:lnTo>
                <a:lnTo>
                  <a:pt x="10445" y="4325"/>
                </a:lnTo>
                <a:lnTo>
                  <a:pt x="10451" y="4317"/>
                </a:lnTo>
                <a:lnTo>
                  <a:pt x="10459" y="4309"/>
                </a:lnTo>
                <a:lnTo>
                  <a:pt x="10469" y="4302"/>
                </a:lnTo>
                <a:lnTo>
                  <a:pt x="10480" y="4296"/>
                </a:lnTo>
                <a:lnTo>
                  <a:pt x="10494" y="4289"/>
                </a:lnTo>
                <a:lnTo>
                  <a:pt x="10508" y="4283"/>
                </a:lnTo>
                <a:lnTo>
                  <a:pt x="10542" y="4272"/>
                </a:lnTo>
                <a:lnTo>
                  <a:pt x="10579" y="4261"/>
                </a:lnTo>
                <a:lnTo>
                  <a:pt x="10619" y="4251"/>
                </a:lnTo>
                <a:lnTo>
                  <a:pt x="10661" y="4240"/>
                </a:lnTo>
                <a:lnTo>
                  <a:pt x="10703" y="4229"/>
                </a:lnTo>
                <a:lnTo>
                  <a:pt x="10743" y="4215"/>
                </a:lnTo>
                <a:lnTo>
                  <a:pt x="10762" y="4209"/>
                </a:lnTo>
                <a:lnTo>
                  <a:pt x="10782" y="4201"/>
                </a:lnTo>
                <a:lnTo>
                  <a:pt x="10800" y="4193"/>
                </a:lnTo>
                <a:lnTo>
                  <a:pt x="10816" y="4185"/>
                </a:lnTo>
                <a:lnTo>
                  <a:pt x="10832" y="4176"/>
                </a:lnTo>
                <a:lnTo>
                  <a:pt x="10846" y="4166"/>
                </a:lnTo>
                <a:lnTo>
                  <a:pt x="10859" y="4156"/>
                </a:lnTo>
                <a:lnTo>
                  <a:pt x="10870" y="4144"/>
                </a:lnTo>
                <a:lnTo>
                  <a:pt x="10879" y="4132"/>
                </a:lnTo>
                <a:lnTo>
                  <a:pt x="10887" y="4119"/>
                </a:lnTo>
                <a:lnTo>
                  <a:pt x="10892" y="4105"/>
                </a:lnTo>
                <a:lnTo>
                  <a:pt x="10895" y="4089"/>
                </a:lnTo>
                <a:lnTo>
                  <a:pt x="10883" y="4088"/>
                </a:lnTo>
                <a:lnTo>
                  <a:pt x="10873" y="4086"/>
                </a:lnTo>
                <a:lnTo>
                  <a:pt x="10866" y="4083"/>
                </a:lnTo>
                <a:lnTo>
                  <a:pt x="10860" y="4079"/>
                </a:lnTo>
                <a:lnTo>
                  <a:pt x="10857" y="4073"/>
                </a:lnTo>
                <a:lnTo>
                  <a:pt x="10856" y="4067"/>
                </a:lnTo>
                <a:lnTo>
                  <a:pt x="10856" y="4059"/>
                </a:lnTo>
                <a:lnTo>
                  <a:pt x="10858" y="4051"/>
                </a:lnTo>
                <a:lnTo>
                  <a:pt x="10861" y="4042"/>
                </a:lnTo>
                <a:lnTo>
                  <a:pt x="10866" y="4033"/>
                </a:lnTo>
                <a:lnTo>
                  <a:pt x="10872" y="4023"/>
                </a:lnTo>
                <a:lnTo>
                  <a:pt x="10879" y="4012"/>
                </a:lnTo>
                <a:lnTo>
                  <a:pt x="10895" y="3991"/>
                </a:lnTo>
                <a:lnTo>
                  <a:pt x="10916" y="3967"/>
                </a:lnTo>
                <a:lnTo>
                  <a:pt x="10937" y="3945"/>
                </a:lnTo>
                <a:lnTo>
                  <a:pt x="10959" y="3923"/>
                </a:lnTo>
                <a:lnTo>
                  <a:pt x="10980" y="3902"/>
                </a:lnTo>
                <a:lnTo>
                  <a:pt x="11000" y="3884"/>
                </a:lnTo>
                <a:lnTo>
                  <a:pt x="11031" y="3857"/>
                </a:lnTo>
                <a:lnTo>
                  <a:pt x="11044" y="3847"/>
                </a:lnTo>
                <a:lnTo>
                  <a:pt x="11078" y="3816"/>
                </a:lnTo>
                <a:lnTo>
                  <a:pt x="11109" y="3787"/>
                </a:lnTo>
                <a:lnTo>
                  <a:pt x="11124" y="3773"/>
                </a:lnTo>
                <a:lnTo>
                  <a:pt x="11139" y="3760"/>
                </a:lnTo>
                <a:lnTo>
                  <a:pt x="11155" y="3748"/>
                </a:lnTo>
                <a:lnTo>
                  <a:pt x="11170" y="3737"/>
                </a:lnTo>
                <a:lnTo>
                  <a:pt x="11185" y="3726"/>
                </a:lnTo>
                <a:lnTo>
                  <a:pt x="11200" y="3716"/>
                </a:lnTo>
                <a:lnTo>
                  <a:pt x="11216" y="3707"/>
                </a:lnTo>
                <a:lnTo>
                  <a:pt x="11233" y="3699"/>
                </a:lnTo>
                <a:lnTo>
                  <a:pt x="11251" y="3693"/>
                </a:lnTo>
                <a:lnTo>
                  <a:pt x="11270" y="3688"/>
                </a:lnTo>
                <a:lnTo>
                  <a:pt x="11292" y="3684"/>
                </a:lnTo>
                <a:lnTo>
                  <a:pt x="11313" y="3682"/>
                </a:lnTo>
                <a:lnTo>
                  <a:pt x="11329" y="3679"/>
                </a:lnTo>
                <a:lnTo>
                  <a:pt x="11354" y="3674"/>
                </a:lnTo>
                <a:lnTo>
                  <a:pt x="11389" y="3666"/>
                </a:lnTo>
                <a:lnTo>
                  <a:pt x="11432" y="3656"/>
                </a:lnTo>
                <a:lnTo>
                  <a:pt x="11532" y="3633"/>
                </a:lnTo>
                <a:lnTo>
                  <a:pt x="11642" y="3609"/>
                </a:lnTo>
                <a:lnTo>
                  <a:pt x="11697" y="3599"/>
                </a:lnTo>
                <a:lnTo>
                  <a:pt x="11750" y="3588"/>
                </a:lnTo>
                <a:lnTo>
                  <a:pt x="11799" y="3580"/>
                </a:lnTo>
                <a:lnTo>
                  <a:pt x="11843" y="3575"/>
                </a:lnTo>
                <a:lnTo>
                  <a:pt x="11862" y="3574"/>
                </a:lnTo>
                <a:lnTo>
                  <a:pt x="11879" y="3573"/>
                </a:lnTo>
                <a:lnTo>
                  <a:pt x="11894" y="3574"/>
                </a:lnTo>
                <a:lnTo>
                  <a:pt x="11908" y="3575"/>
                </a:lnTo>
                <a:lnTo>
                  <a:pt x="11919" y="3578"/>
                </a:lnTo>
                <a:lnTo>
                  <a:pt x="11926" y="3581"/>
                </a:lnTo>
                <a:lnTo>
                  <a:pt x="11931" y="3586"/>
                </a:lnTo>
                <a:lnTo>
                  <a:pt x="11933" y="3593"/>
                </a:lnTo>
                <a:lnTo>
                  <a:pt x="11966" y="3593"/>
                </a:lnTo>
                <a:lnTo>
                  <a:pt x="12020" y="3594"/>
                </a:lnTo>
                <a:lnTo>
                  <a:pt x="12088" y="3596"/>
                </a:lnTo>
                <a:lnTo>
                  <a:pt x="12160" y="3599"/>
                </a:lnTo>
                <a:lnTo>
                  <a:pt x="12196" y="3601"/>
                </a:lnTo>
                <a:lnTo>
                  <a:pt x="12229" y="3604"/>
                </a:lnTo>
                <a:lnTo>
                  <a:pt x="12261" y="3607"/>
                </a:lnTo>
                <a:lnTo>
                  <a:pt x="12289" y="3611"/>
                </a:lnTo>
                <a:lnTo>
                  <a:pt x="12301" y="3613"/>
                </a:lnTo>
                <a:lnTo>
                  <a:pt x="12312" y="3616"/>
                </a:lnTo>
                <a:lnTo>
                  <a:pt x="12322" y="3618"/>
                </a:lnTo>
                <a:lnTo>
                  <a:pt x="12330" y="3621"/>
                </a:lnTo>
                <a:lnTo>
                  <a:pt x="12337" y="3624"/>
                </a:lnTo>
                <a:lnTo>
                  <a:pt x="12341" y="3627"/>
                </a:lnTo>
                <a:lnTo>
                  <a:pt x="12344" y="3631"/>
                </a:lnTo>
                <a:lnTo>
                  <a:pt x="12345" y="3635"/>
                </a:lnTo>
                <a:lnTo>
                  <a:pt x="12357" y="3635"/>
                </a:lnTo>
                <a:lnTo>
                  <a:pt x="12369" y="3637"/>
                </a:lnTo>
                <a:lnTo>
                  <a:pt x="12383" y="3640"/>
                </a:lnTo>
                <a:lnTo>
                  <a:pt x="12398" y="3644"/>
                </a:lnTo>
                <a:lnTo>
                  <a:pt x="12431" y="3653"/>
                </a:lnTo>
                <a:lnTo>
                  <a:pt x="12463" y="3663"/>
                </a:lnTo>
                <a:lnTo>
                  <a:pt x="12480" y="3668"/>
                </a:lnTo>
                <a:lnTo>
                  <a:pt x="12495" y="3672"/>
                </a:lnTo>
                <a:lnTo>
                  <a:pt x="12510" y="3675"/>
                </a:lnTo>
                <a:lnTo>
                  <a:pt x="12525" y="3678"/>
                </a:lnTo>
                <a:lnTo>
                  <a:pt x="12539" y="3679"/>
                </a:lnTo>
                <a:lnTo>
                  <a:pt x="12551" y="3680"/>
                </a:lnTo>
                <a:lnTo>
                  <a:pt x="12556" y="3679"/>
                </a:lnTo>
                <a:lnTo>
                  <a:pt x="12561" y="3678"/>
                </a:lnTo>
                <a:lnTo>
                  <a:pt x="12566" y="3677"/>
                </a:lnTo>
                <a:lnTo>
                  <a:pt x="12570" y="3675"/>
                </a:lnTo>
                <a:lnTo>
                  <a:pt x="12577" y="3672"/>
                </a:lnTo>
                <a:lnTo>
                  <a:pt x="12585" y="3670"/>
                </a:lnTo>
                <a:lnTo>
                  <a:pt x="12594" y="3669"/>
                </a:lnTo>
                <a:lnTo>
                  <a:pt x="12605" y="3668"/>
                </a:lnTo>
                <a:lnTo>
                  <a:pt x="12616" y="3668"/>
                </a:lnTo>
                <a:lnTo>
                  <a:pt x="12628" y="3670"/>
                </a:lnTo>
                <a:lnTo>
                  <a:pt x="12641" y="3671"/>
                </a:lnTo>
                <a:lnTo>
                  <a:pt x="12654" y="3674"/>
                </a:lnTo>
                <a:lnTo>
                  <a:pt x="12684" y="3681"/>
                </a:lnTo>
                <a:lnTo>
                  <a:pt x="12713" y="3690"/>
                </a:lnTo>
                <a:lnTo>
                  <a:pt x="12744" y="3702"/>
                </a:lnTo>
                <a:lnTo>
                  <a:pt x="12774" y="3715"/>
                </a:lnTo>
                <a:lnTo>
                  <a:pt x="12805" y="3731"/>
                </a:lnTo>
                <a:lnTo>
                  <a:pt x="12833" y="3747"/>
                </a:lnTo>
                <a:lnTo>
                  <a:pt x="12846" y="3756"/>
                </a:lnTo>
                <a:lnTo>
                  <a:pt x="12858" y="3764"/>
                </a:lnTo>
                <a:lnTo>
                  <a:pt x="12870" y="3773"/>
                </a:lnTo>
                <a:lnTo>
                  <a:pt x="12881" y="3782"/>
                </a:lnTo>
                <a:lnTo>
                  <a:pt x="12891" y="3791"/>
                </a:lnTo>
                <a:lnTo>
                  <a:pt x="12900" y="3801"/>
                </a:lnTo>
                <a:lnTo>
                  <a:pt x="12908" y="3810"/>
                </a:lnTo>
                <a:lnTo>
                  <a:pt x="12914" y="3819"/>
                </a:lnTo>
                <a:lnTo>
                  <a:pt x="12921" y="3829"/>
                </a:lnTo>
                <a:lnTo>
                  <a:pt x="12924" y="3838"/>
                </a:lnTo>
                <a:lnTo>
                  <a:pt x="12927" y="3848"/>
                </a:lnTo>
                <a:lnTo>
                  <a:pt x="12928" y="3857"/>
                </a:lnTo>
                <a:lnTo>
                  <a:pt x="12901" y="3858"/>
                </a:lnTo>
                <a:lnTo>
                  <a:pt x="12874" y="3858"/>
                </a:lnTo>
                <a:lnTo>
                  <a:pt x="12846" y="3860"/>
                </a:lnTo>
                <a:lnTo>
                  <a:pt x="12818" y="3862"/>
                </a:lnTo>
                <a:lnTo>
                  <a:pt x="12757" y="3867"/>
                </a:lnTo>
                <a:lnTo>
                  <a:pt x="12694" y="3873"/>
                </a:lnTo>
                <a:lnTo>
                  <a:pt x="12629" y="3879"/>
                </a:lnTo>
                <a:lnTo>
                  <a:pt x="12563" y="3884"/>
                </a:lnTo>
                <a:lnTo>
                  <a:pt x="12529" y="3886"/>
                </a:lnTo>
                <a:lnTo>
                  <a:pt x="12496" y="3887"/>
                </a:lnTo>
                <a:lnTo>
                  <a:pt x="12463" y="3888"/>
                </a:lnTo>
                <a:lnTo>
                  <a:pt x="12430" y="3889"/>
                </a:lnTo>
                <a:lnTo>
                  <a:pt x="12431" y="3900"/>
                </a:lnTo>
                <a:lnTo>
                  <a:pt x="12433" y="3906"/>
                </a:lnTo>
                <a:lnTo>
                  <a:pt x="12435" y="3909"/>
                </a:lnTo>
                <a:lnTo>
                  <a:pt x="12437" y="3910"/>
                </a:lnTo>
                <a:lnTo>
                  <a:pt x="12438" y="3911"/>
                </a:lnTo>
                <a:lnTo>
                  <a:pt x="12438" y="3913"/>
                </a:lnTo>
                <a:lnTo>
                  <a:pt x="12435" y="3919"/>
                </a:lnTo>
                <a:lnTo>
                  <a:pt x="12430" y="3931"/>
                </a:lnTo>
                <a:lnTo>
                  <a:pt x="12436" y="3931"/>
                </a:lnTo>
                <a:lnTo>
                  <a:pt x="12442" y="3932"/>
                </a:lnTo>
                <a:lnTo>
                  <a:pt x="12448" y="3934"/>
                </a:lnTo>
                <a:lnTo>
                  <a:pt x="12455" y="3937"/>
                </a:lnTo>
                <a:lnTo>
                  <a:pt x="12468" y="3945"/>
                </a:lnTo>
                <a:lnTo>
                  <a:pt x="12482" y="3956"/>
                </a:lnTo>
                <a:lnTo>
                  <a:pt x="12496" y="3970"/>
                </a:lnTo>
                <a:lnTo>
                  <a:pt x="12509" y="3984"/>
                </a:lnTo>
                <a:lnTo>
                  <a:pt x="12523" y="4000"/>
                </a:lnTo>
                <a:lnTo>
                  <a:pt x="12536" y="4017"/>
                </a:lnTo>
                <a:lnTo>
                  <a:pt x="12548" y="4034"/>
                </a:lnTo>
                <a:lnTo>
                  <a:pt x="12559" y="4052"/>
                </a:lnTo>
                <a:lnTo>
                  <a:pt x="12569" y="4069"/>
                </a:lnTo>
                <a:lnTo>
                  <a:pt x="12577" y="4086"/>
                </a:lnTo>
                <a:lnTo>
                  <a:pt x="12583" y="4104"/>
                </a:lnTo>
                <a:lnTo>
                  <a:pt x="12587" y="4118"/>
                </a:lnTo>
                <a:lnTo>
                  <a:pt x="12589" y="4125"/>
                </a:lnTo>
                <a:lnTo>
                  <a:pt x="12589" y="4132"/>
                </a:lnTo>
                <a:lnTo>
                  <a:pt x="12589" y="4138"/>
                </a:lnTo>
                <a:lnTo>
                  <a:pt x="12589" y="4143"/>
                </a:lnTo>
                <a:lnTo>
                  <a:pt x="12604" y="4142"/>
                </a:lnTo>
                <a:lnTo>
                  <a:pt x="12619" y="4141"/>
                </a:lnTo>
                <a:lnTo>
                  <a:pt x="12632" y="4138"/>
                </a:lnTo>
                <a:lnTo>
                  <a:pt x="12644" y="4134"/>
                </a:lnTo>
                <a:lnTo>
                  <a:pt x="12656" y="4129"/>
                </a:lnTo>
                <a:lnTo>
                  <a:pt x="12668" y="4124"/>
                </a:lnTo>
                <a:lnTo>
                  <a:pt x="12679" y="4118"/>
                </a:lnTo>
                <a:lnTo>
                  <a:pt x="12689" y="4112"/>
                </a:lnTo>
                <a:lnTo>
                  <a:pt x="12708" y="4100"/>
                </a:lnTo>
                <a:lnTo>
                  <a:pt x="12727" y="4089"/>
                </a:lnTo>
                <a:lnTo>
                  <a:pt x="12737" y="4085"/>
                </a:lnTo>
                <a:lnTo>
                  <a:pt x="12747" y="4081"/>
                </a:lnTo>
                <a:lnTo>
                  <a:pt x="12757" y="4079"/>
                </a:lnTo>
                <a:lnTo>
                  <a:pt x="12768" y="4079"/>
                </a:lnTo>
                <a:lnTo>
                  <a:pt x="12769" y="4092"/>
                </a:lnTo>
                <a:lnTo>
                  <a:pt x="12772" y="4104"/>
                </a:lnTo>
                <a:lnTo>
                  <a:pt x="12776" y="4114"/>
                </a:lnTo>
                <a:lnTo>
                  <a:pt x="12781" y="4122"/>
                </a:lnTo>
                <a:lnTo>
                  <a:pt x="12788" y="4129"/>
                </a:lnTo>
                <a:lnTo>
                  <a:pt x="12797" y="4134"/>
                </a:lnTo>
                <a:lnTo>
                  <a:pt x="12805" y="4137"/>
                </a:lnTo>
                <a:lnTo>
                  <a:pt x="12813" y="4138"/>
                </a:lnTo>
                <a:lnTo>
                  <a:pt x="12822" y="4138"/>
                </a:lnTo>
                <a:lnTo>
                  <a:pt x="12831" y="4136"/>
                </a:lnTo>
                <a:lnTo>
                  <a:pt x="12840" y="4132"/>
                </a:lnTo>
                <a:lnTo>
                  <a:pt x="12849" y="4125"/>
                </a:lnTo>
                <a:lnTo>
                  <a:pt x="12856" y="4117"/>
                </a:lnTo>
                <a:lnTo>
                  <a:pt x="12863" y="4107"/>
                </a:lnTo>
                <a:lnTo>
                  <a:pt x="12869" y="4093"/>
                </a:lnTo>
                <a:lnTo>
                  <a:pt x="12874" y="4079"/>
                </a:lnTo>
                <a:lnTo>
                  <a:pt x="12868" y="4078"/>
                </a:lnTo>
                <a:lnTo>
                  <a:pt x="12863" y="4078"/>
                </a:lnTo>
                <a:lnTo>
                  <a:pt x="12858" y="4076"/>
                </a:lnTo>
                <a:lnTo>
                  <a:pt x="12854" y="4075"/>
                </a:lnTo>
                <a:lnTo>
                  <a:pt x="12850" y="4073"/>
                </a:lnTo>
                <a:lnTo>
                  <a:pt x="12847" y="4070"/>
                </a:lnTo>
                <a:lnTo>
                  <a:pt x="12844" y="4067"/>
                </a:lnTo>
                <a:lnTo>
                  <a:pt x="12842" y="4064"/>
                </a:lnTo>
                <a:lnTo>
                  <a:pt x="12838" y="4057"/>
                </a:lnTo>
                <a:lnTo>
                  <a:pt x="12836" y="4049"/>
                </a:lnTo>
                <a:lnTo>
                  <a:pt x="12835" y="4040"/>
                </a:lnTo>
                <a:lnTo>
                  <a:pt x="12835" y="4032"/>
                </a:lnTo>
                <a:lnTo>
                  <a:pt x="12836" y="4023"/>
                </a:lnTo>
                <a:lnTo>
                  <a:pt x="12837" y="4014"/>
                </a:lnTo>
                <a:lnTo>
                  <a:pt x="12839" y="4006"/>
                </a:lnTo>
                <a:lnTo>
                  <a:pt x="12842" y="3999"/>
                </a:lnTo>
                <a:lnTo>
                  <a:pt x="12845" y="3993"/>
                </a:lnTo>
                <a:lnTo>
                  <a:pt x="12848" y="3988"/>
                </a:lnTo>
                <a:lnTo>
                  <a:pt x="12850" y="3985"/>
                </a:lnTo>
                <a:lnTo>
                  <a:pt x="12853" y="3984"/>
                </a:lnTo>
                <a:lnTo>
                  <a:pt x="12857" y="3978"/>
                </a:lnTo>
                <a:lnTo>
                  <a:pt x="12861" y="3972"/>
                </a:lnTo>
                <a:lnTo>
                  <a:pt x="12866" y="3965"/>
                </a:lnTo>
                <a:lnTo>
                  <a:pt x="12871" y="3961"/>
                </a:lnTo>
                <a:lnTo>
                  <a:pt x="12876" y="3957"/>
                </a:lnTo>
                <a:lnTo>
                  <a:pt x="12881" y="3954"/>
                </a:lnTo>
                <a:lnTo>
                  <a:pt x="12886" y="3951"/>
                </a:lnTo>
                <a:lnTo>
                  <a:pt x="12892" y="3949"/>
                </a:lnTo>
                <a:lnTo>
                  <a:pt x="12903" y="3946"/>
                </a:lnTo>
                <a:lnTo>
                  <a:pt x="12916" y="3944"/>
                </a:lnTo>
                <a:lnTo>
                  <a:pt x="12928" y="3943"/>
                </a:lnTo>
                <a:lnTo>
                  <a:pt x="12940" y="3942"/>
                </a:lnTo>
                <a:lnTo>
                  <a:pt x="12952" y="3942"/>
                </a:lnTo>
                <a:lnTo>
                  <a:pt x="12964" y="3940"/>
                </a:lnTo>
                <a:lnTo>
                  <a:pt x="12975" y="3938"/>
                </a:lnTo>
                <a:lnTo>
                  <a:pt x="12986" y="3934"/>
                </a:lnTo>
                <a:lnTo>
                  <a:pt x="12992" y="3931"/>
                </a:lnTo>
                <a:lnTo>
                  <a:pt x="12997" y="3928"/>
                </a:lnTo>
                <a:lnTo>
                  <a:pt x="13002" y="3924"/>
                </a:lnTo>
                <a:lnTo>
                  <a:pt x="13007" y="3919"/>
                </a:lnTo>
                <a:lnTo>
                  <a:pt x="13012" y="3914"/>
                </a:lnTo>
                <a:lnTo>
                  <a:pt x="13016" y="3908"/>
                </a:lnTo>
                <a:lnTo>
                  <a:pt x="13020" y="3901"/>
                </a:lnTo>
                <a:lnTo>
                  <a:pt x="13024" y="3894"/>
                </a:lnTo>
                <a:lnTo>
                  <a:pt x="13103" y="3988"/>
                </a:lnTo>
                <a:lnTo>
                  <a:pt x="13179" y="4083"/>
                </a:lnTo>
                <a:lnTo>
                  <a:pt x="13253" y="4181"/>
                </a:lnTo>
                <a:lnTo>
                  <a:pt x="13326" y="4280"/>
                </a:lnTo>
                <a:lnTo>
                  <a:pt x="13396" y="4380"/>
                </a:lnTo>
                <a:lnTo>
                  <a:pt x="13465" y="4482"/>
                </a:lnTo>
                <a:lnTo>
                  <a:pt x="13532" y="4584"/>
                </a:lnTo>
                <a:lnTo>
                  <a:pt x="13598" y="4688"/>
                </a:lnTo>
                <a:lnTo>
                  <a:pt x="13660" y="4794"/>
                </a:lnTo>
                <a:lnTo>
                  <a:pt x="13722" y="4901"/>
                </a:lnTo>
                <a:lnTo>
                  <a:pt x="13781" y="5009"/>
                </a:lnTo>
                <a:lnTo>
                  <a:pt x="13839" y="5118"/>
                </a:lnTo>
                <a:lnTo>
                  <a:pt x="13893" y="5227"/>
                </a:lnTo>
                <a:lnTo>
                  <a:pt x="13947" y="5339"/>
                </a:lnTo>
                <a:lnTo>
                  <a:pt x="13998" y="5452"/>
                </a:lnTo>
                <a:lnTo>
                  <a:pt x="14046" y="5566"/>
                </a:lnTo>
                <a:lnTo>
                  <a:pt x="14094" y="5681"/>
                </a:lnTo>
                <a:lnTo>
                  <a:pt x="14138" y="5797"/>
                </a:lnTo>
                <a:lnTo>
                  <a:pt x="14181" y="5914"/>
                </a:lnTo>
                <a:lnTo>
                  <a:pt x="14221" y="6033"/>
                </a:lnTo>
                <a:lnTo>
                  <a:pt x="14259" y="6152"/>
                </a:lnTo>
                <a:lnTo>
                  <a:pt x="14295" y="6272"/>
                </a:lnTo>
                <a:lnTo>
                  <a:pt x="14329" y="6393"/>
                </a:lnTo>
                <a:lnTo>
                  <a:pt x="14360" y="6515"/>
                </a:lnTo>
                <a:lnTo>
                  <a:pt x="14389" y="6638"/>
                </a:lnTo>
                <a:lnTo>
                  <a:pt x="14415" y="6762"/>
                </a:lnTo>
                <a:lnTo>
                  <a:pt x="14440" y="6886"/>
                </a:lnTo>
                <a:lnTo>
                  <a:pt x="14462" y="7012"/>
                </a:lnTo>
                <a:lnTo>
                  <a:pt x="14481" y="7138"/>
                </a:lnTo>
                <a:lnTo>
                  <a:pt x="14498" y="7265"/>
                </a:lnTo>
                <a:lnTo>
                  <a:pt x="14512" y="7393"/>
                </a:lnTo>
                <a:lnTo>
                  <a:pt x="14524" y="7522"/>
                </a:lnTo>
                <a:close/>
                <a:moveTo>
                  <a:pt x="3650" y="3319"/>
                </a:moveTo>
                <a:lnTo>
                  <a:pt x="3656" y="3318"/>
                </a:lnTo>
                <a:lnTo>
                  <a:pt x="3663" y="3316"/>
                </a:lnTo>
                <a:lnTo>
                  <a:pt x="3671" y="3313"/>
                </a:lnTo>
                <a:lnTo>
                  <a:pt x="3679" y="3309"/>
                </a:lnTo>
                <a:lnTo>
                  <a:pt x="3697" y="3301"/>
                </a:lnTo>
                <a:lnTo>
                  <a:pt x="3715" y="3292"/>
                </a:lnTo>
                <a:lnTo>
                  <a:pt x="3749" y="3274"/>
                </a:lnTo>
                <a:lnTo>
                  <a:pt x="3769" y="3264"/>
                </a:lnTo>
                <a:lnTo>
                  <a:pt x="3767" y="3304"/>
                </a:lnTo>
                <a:lnTo>
                  <a:pt x="3765" y="3333"/>
                </a:lnTo>
                <a:lnTo>
                  <a:pt x="3765" y="3349"/>
                </a:lnTo>
                <a:lnTo>
                  <a:pt x="3767" y="3366"/>
                </a:lnTo>
                <a:lnTo>
                  <a:pt x="3772" y="3386"/>
                </a:lnTo>
                <a:lnTo>
                  <a:pt x="3780" y="3412"/>
                </a:lnTo>
                <a:lnTo>
                  <a:pt x="3783" y="3413"/>
                </a:lnTo>
                <a:lnTo>
                  <a:pt x="3787" y="3417"/>
                </a:lnTo>
                <a:lnTo>
                  <a:pt x="3791" y="3422"/>
                </a:lnTo>
                <a:lnTo>
                  <a:pt x="3797" y="3429"/>
                </a:lnTo>
                <a:lnTo>
                  <a:pt x="3809" y="3447"/>
                </a:lnTo>
                <a:lnTo>
                  <a:pt x="3822" y="3470"/>
                </a:lnTo>
                <a:lnTo>
                  <a:pt x="3834" y="3494"/>
                </a:lnTo>
                <a:lnTo>
                  <a:pt x="3845" y="3518"/>
                </a:lnTo>
                <a:lnTo>
                  <a:pt x="3849" y="3530"/>
                </a:lnTo>
                <a:lnTo>
                  <a:pt x="3852" y="3541"/>
                </a:lnTo>
                <a:lnTo>
                  <a:pt x="3854" y="3551"/>
                </a:lnTo>
                <a:lnTo>
                  <a:pt x="3854" y="3560"/>
                </a:lnTo>
                <a:lnTo>
                  <a:pt x="3877" y="3557"/>
                </a:lnTo>
                <a:lnTo>
                  <a:pt x="3900" y="3553"/>
                </a:lnTo>
                <a:lnTo>
                  <a:pt x="3924" y="3549"/>
                </a:lnTo>
                <a:lnTo>
                  <a:pt x="3948" y="3547"/>
                </a:lnTo>
                <a:lnTo>
                  <a:pt x="3959" y="3547"/>
                </a:lnTo>
                <a:lnTo>
                  <a:pt x="3970" y="3549"/>
                </a:lnTo>
                <a:lnTo>
                  <a:pt x="3980" y="3551"/>
                </a:lnTo>
                <a:lnTo>
                  <a:pt x="3988" y="3556"/>
                </a:lnTo>
                <a:lnTo>
                  <a:pt x="3993" y="3558"/>
                </a:lnTo>
                <a:lnTo>
                  <a:pt x="3996" y="3561"/>
                </a:lnTo>
                <a:lnTo>
                  <a:pt x="4000" y="3565"/>
                </a:lnTo>
                <a:lnTo>
                  <a:pt x="4003" y="3569"/>
                </a:lnTo>
                <a:lnTo>
                  <a:pt x="4006" y="3574"/>
                </a:lnTo>
                <a:lnTo>
                  <a:pt x="4009" y="3579"/>
                </a:lnTo>
                <a:lnTo>
                  <a:pt x="4011" y="3585"/>
                </a:lnTo>
                <a:lnTo>
                  <a:pt x="4013" y="3593"/>
                </a:lnTo>
                <a:lnTo>
                  <a:pt x="3992" y="3592"/>
                </a:lnTo>
                <a:lnTo>
                  <a:pt x="3971" y="3589"/>
                </a:lnTo>
                <a:lnTo>
                  <a:pt x="3949" y="3586"/>
                </a:lnTo>
                <a:lnTo>
                  <a:pt x="3928" y="3581"/>
                </a:lnTo>
                <a:lnTo>
                  <a:pt x="3930" y="3596"/>
                </a:lnTo>
                <a:lnTo>
                  <a:pt x="3930" y="3610"/>
                </a:lnTo>
                <a:lnTo>
                  <a:pt x="3931" y="3621"/>
                </a:lnTo>
                <a:lnTo>
                  <a:pt x="3931" y="3631"/>
                </a:lnTo>
                <a:lnTo>
                  <a:pt x="3930" y="3640"/>
                </a:lnTo>
                <a:lnTo>
                  <a:pt x="3928" y="3648"/>
                </a:lnTo>
                <a:lnTo>
                  <a:pt x="3927" y="3655"/>
                </a:lnTo>
                <a:lnTo>
                  <a:pt x="3924" y="3661"/>
                </a:lnTo>
                <a:lnTo>
                  <a:pt x="3921" y="3665"/>
                </a:lnTo>
                <a:lnTo>
                  <a:pt x="3918" y="3669"/>
                </a:lnTo>
                <a:lnTo>
                  <a:pt x="3914" y="3672"/>
                </a:lnTo>
                <a:lnTo>
                  <a:pt x="3910" y="3674"/>
                </a:lnTo>
                <a:lnTo>
                  <a:pt x="3906" y="3675"/>
                </a:lnTo>
                <a:lnTo>
                  <a:pt x="3901" y="3675"/>
                </a:lnTo>
                <a:lnTo>
                  <a:pt x="3896" y="3675"/>
                </a:lnTo>
                <a:lnTo>
                  <a:pt x="3891" y="3675"/>
                </a:lnTo>
                <a:lnTo>
                  <a:pt x="3879" y="3672"/>
                </a:lnTo>
                <a:lnTo>
                  <a:pt x="3866" y="3668"/>
                </a:lnTo>
                <a:lnTo>
                  <a:pt x="3853" y="3663"/>
                </a:lnTo>
                <a:lnTo>
                  <a:pt x="3838" y="3658"/>
                </a:lnTo>
                <a:lnTo>
                  <a:pt x="3824" y="3653"/>
                </a:lnTo>
                <a:lnTo>
                  <a:pt x="3809" y="3649"/>
                </a:lnTo>
                <a:lnTo>
                  <a:pt x="3794" y="3646"/>
                </a:lnTo>
                <a:lnTo>
                  <a:pt x="3780" y="3645"/>
                </a:lnTo>
                <a:lnTo>
                  <a:pt x="3777" y="3642"/>
                </a:lnTo>
                <a:lnTo>
                  <a:pt x="3770" y="3638"/>
                </a:lnTo>
                <a:lnTo>
                  <a:pt x="3759" y="3633"/>
                </a:lnTo>
                <a:lnTo>
                  <a:pt x="3745" y="3627"/>
                </a:lnTo>
                <a:lnTo>
                  <a:pt x="3729" y="3621"/>
                </a:lnTo>
                <a:lnTo>
                  <a:pt x="3711" y="3616"/>
                </a:lnTo>
                <a:lnTo>
                  <a:pt x="3693" y="3612"/>
                </a:lnTo>
                <a:lnTo>
                  <a:pt x="3676" y="3609"/>
                </a:lnTo>
                <a:lnTo>
                  <a:pt x="3667" y="3609"/>
                </a:lnTo>
                <a:lnTo>
                  <a:pt x="3659" y="3608"/>
                </a:lnTo>
                <a:lnTo>
                  <a:pt x="3651" y="3609"/>
                </a:lnTo>
                <a:lnTo>
                  <a:pt x="3644" y="3610"/>
                </a:lnTo>
                <a:lnTo>
                  <a:pt x="3638" y="3612"/>
                </a:lnTo>
                <a:lnTo>
                  <a:pt x="3633" y="3615"/>
                </a:lnTo>
                <a:lnTo>
                  <a:pt x="3628" y="3618"/>
                </a:lnTo>
                <a:lnTo>
                  <a:pt x="3624" y="3623"/>
                </a:lnTo>
                <a:lnTo>
                  <a:pt x="3622" y="3628"/>
                </a:lnTo>
                <a:lnTo>
                  <a:pt x="3620" y="3634"/>
                </a:lnTo>
                <a:lnTo>
                  <a:pt x="3620" y="3642"/>
                </a:lnTo>
                <a:lnTo>
                  <a:pt x="3621" y="3651"/>
                </a:lnTo>
                <a:lnTo>
                  <a:pt x="3624" y="3660"/>
                </a:lnTo>
                <a:lnTo>
                  <a:pt x="3628" y="3672"/>
                </a:lnTo>
                <a:lnTo>
                  <a:pt x="3634" y="3684"/>
                </a:lnTo>
                <a:lnTo>
                  <a:pt x="3642" y="3698"/>
                </a:lnTo>
                <a:lnTo>
                  <a:pt x="3646" y="3698"/>
                </a:lnTo>
                <a:lnTo>
                  <a:pt x="3650" y="3700"/>
                </a:lnTo>
                <a:lnTo>
                  <a:pt x="3653" y="3702"/>
                </a:lnTo>
                <a:lnTo>
                  <a:pt x="3656" y="3704"/>
                </a:lnTo>
                <a:lnTo>
                  <a:pt x="3660" y="3711"/>
                </a:lnTo>
                <a:lnTo>
                  <a:pt x="3666" y="3721"/>
                </a:lnTo>
                <a:lnTo>
                  <a:pt x="3670" y="3726"/>
                </a:lnTo>
                <a:lnTo>
                  <a:pt x="3674" y="3731"/>
                </a:lnTo>
                <a:lnTo>
                  <a:pt x="3679" y="3736"/>
                </a:lnTo>
                <a:lnTo>
                  <a:pt x="3685" y="3741"/>
                </a:lnTo>
                <a:lnTo>
                  <a:pt x="3692" y="3746"/>
                </a:lnTo>
                <a:lnTo>
                  <a:pt x="3701" y="3751"/>
                </a:lnTo>
                <a:lnTo>
                  <a:pt x="3712" y="3756"/>
                </a:lnTo>
                <a:lnTo>
                  <a:pt x="3725" y="3760"/>
                </a:lnTo>
                <a:lnTo>
                  <a:pt x="3755" y="3770"/>
                </a:lnTo>
                <a:lnTo>
                  <a:pt x="3787" y="3779"/>
                </a:lnTo>
                <a:lnTo>
                  <a:pt x="3818" y="3786"/>
                </a:lnTo>
                <a:lnTo>
                  <a:pt x="3852" y="3793"/>
                </a:lnTo>
                <a:lnTo>
                  <a:pt x="3884" y="3800"/>
                </a:lnTo>
                <a:lnTo>
                  <a:pt x="3916" y="3806"/>
                </a:lnTo>
                <a:lnTo>
                  <a:pt x="3948" y="3811"/>
                </a:lnTo>
                <a:lnTo>
                  <a:pt x="3981" y="3816"/>
                </a:lnTo>
                <a:lnTo>
                  <a:pt x="3994" y="3818"/>
                </a:lnTo>
                <a:lnTo>
                  <a:pt x="4006" y="3819"/>
                </a:lnTo>
                <a:lnTo>
                  <a:pt x="4017" y="3819"/>
                </a:lnTo>
                <a:lnTo>
                  <a:pt x="4028" y="3819"/>
                </a:lnTo>
                <a:lnTo>
                  <a:pt x="4049" y="3817"/>
                </a:lnTo>
                <a:lnTo>
                  <a:pt x="4069" y="3814"/>
                </a:lnTo>
                <a:lnTo>
                  <a:pt x="4088" y="3811"/>
                </a:lnTo>
                <a:lnTo>
                  <a:pt x="4109" y="3807"/>
                </a:lnTo>
                <a:lnTo>
                  <a:pt x="4129" y="3805"/>
                </a:lnTo>
                <a:lnTo>
                  <a:pt x="4150" y="3804"/>
                </a:lnTo>
                <a:lnTo>
                  <a:pt x="4152" y="3801"/>
                </a:lnTo>
                <a:lnTo>
                  <a:pt x="4156" y="3798"/>
                </a:lnTo>
                <a:lnTo>
                  <a:pt x="4163" y="3794"/>
                </a:lnTo>
                <a:lnTo>
                  <a:pt x="4171" y="3788"/>
                </a:lnTo>
                <a:lnTo>
                  <a:pt x="4190" y="3777"/>
                </a:lnTo>
                <a:lnTo>
                  <a:pt x="4210" y="3764"/>
                </a:lnTo>
                <a:lnTo>
                  <a:pt x="4218" y="3757"/>
                </a:lnTo>
                <a:lnTo>
                  <a:pt x="4225" y="3751"/>
                </a:lnTo>
                <a:lnTo>
                  <a:pt x="4227" y="3748"/>
                </a:lnTo>
                <a:lnTo>
                  <a:pt x="4229" y="3746"/>
                </a:lnTo>
                <a:lnTo>
                  <a:pt x="4230" y="3743"/>
                </a:lnTo>
                <a:lnTo>
                  <a:pt x="4230" y="3741"/>
                </a:lnTo>
                <a:lnTo>
                  <a:pt x="4229" y="3738"/>
                </a:lnTo>
                <a:lnTo>
                  <a:pt x="4227" y="3736"/>
                </a:lnTo>
                <a:lnTo>
                  <a:pt x="4225" y="3735"/>
                </a:lnTo>
                <a:lnTo>
                  <a:pt x="4220" y="3733"/>
                </a:lnTo>
                <a:lnTo>
                  <a:pt x="4209" y="3731"/>
                </a:lnTo>
                <a:lnTo>
                  <a:pt x="4193" y="3730"/>
                </a:lnTo>
                <a:lnTo>
                  <a:pt x="4195" y="3720"/>
                </a:lnTo>
                <a:lnTo>
                  <a:pt x="4196" y="3710"/>
                </a:lnTo>
                <a:lnTo>
                  <a:pt x="4196" y="3701"/>
                </a:lnTo>
                <a:lnTo>
                  <a:pt x="4196" y="3694"/>
                </a:lnTo>
                <a:lnTo>
                  <a:pt x="4194" y="3687"/>
                </a:lnTo>
                <a:lnTo>
                  <a:pt x="4192" y="3681"/>
                </a:lnTo>
                <a:lnTo>
                  <a:pt x="4188" y="3676"/>
                </a:lnTo>
                <a:lnTo>
                  <a:pt x="4184" y="3671"/>
                </a:lnTo>
                <a:lnTo>
                  <a:pt x="4179" y="3668"/>
                </a:lnTo>
                <a:lnTo>
                  <a:pt x="4173" y="3664"/>
                </a:lnTo>
                <a:lnTo>
                  <a:pt x="4166" y="3662"/>
                </a:lnTo>
                <a:lnTo>
                  <a:pt x="4158" y="3660"/>
                </a:lnTo>
                <a:lnTo>
                  <a:pt x="4140" y="3657"/>
                </a:lnTo>
                <a:lnTo>
                  <a:pt x="4119" y="3656"/>
                </a:lnTo>
                <a:lnTo>
                  <a:pt x="4120" y="3651"/>
                </a:lnTo>
                <a:lnTo>
                  <a:pt x="4121" y="3646"/>
                </a:lnTo>
                <a:lnTo>
                  <a:pt x="4124" y="3641"/>
                </a:lnTo>
                <a:lnTo>
                  <a:pt x="4127" y="3637"/>
                </a:lnTo>
                <a:lnTo>
                  <a:pt x="4131" y="3634"/>
                </a:lnTo>
                <a:lnTo>
                  <a:pt x="4135" y="3631"/>
                </a:lnTo>
                <a:lnTo>
                  <a:pt x="4140" y="3629"/>
                </a:lnTo>
                <a:lnTo>
                  <a:pt x="4146" y="3627"/>
                </a:lnTo>
                <a:lnTo>
                  <a:pt x="4158" y="3624"/>
                </a:lnTo>
                <a:lnTo>
                  <a:pt x="4172" y="3622"/>
                </a:lnTo>
                <a:lnTo>
                  <a:pt x="4187" y="3622"/>
                </a:lnTo>
                <a:lnTo>
                  <a:pt x="4204" y="3622"/>
                </a:lnTo>
                <a:lnTo>
                  <a:pt x="4239" y="3625"/>
                </a:lnTo>
                <a:lnTo>
                  <a:pt x="4273" y="3629"/>
                </a:lnTo>
                <a:lnTo>
                  <a:pt x="4304" y="3633"/>
                </a:lnTo>
                <a:lnTo>
                  <a:pt x="4330" y="3635"/>
                </a:lnTo>
                <a:lnTo>
                  <a:pt x="4337" y="3621"/>
                </a:lnTo>
                <a:lnTo>
                  <a:pt x="4343" y="3610"/>
                </a:lnTo>
                <a:lnTo>
                  <a:pt x="4348" y="3600"/>
                </a:lnTo>
                <a:lnTo>
                  <a:pt x="4351" y="3590"/>
                </a:lnTo>
                <a:lnTo>
                  <a:pt x="4352" y="3582"/>
                </a:lnTo>
                <a:lnTo>
                  <a:pt x="4353" y="3575"/>
                </a:lnTo>
                <a:lnTo>
                  <a:pt x="4354" y="3569"/>
                </a:lnTo>
                <a:lnTo>
                  <a:pt x="4354" y="3562"/>
                </a:lnTo>
                <a:lnTo>
                  <a:pt x="4354" y="3550"/>
                </a:lnTo>
                <a:lnTo>
                  <a:pt x="4355" y="3536"/>
                </a:lnTo>
                <a:lnTo>
                  <a:pt x="4358" y="3528"/>
                </a:lnTo>
                <a:lnTo>
                  <a:pt x="4361" y="3519"/>
                </a:lnTo>
                <a:lnTo>
                  <a:pt x="4366" y="3508"/>
                </a:lnTo>
                <a:lnTo>
                  <a:pt x="4372" y="3496"/>
                </a:lnTo>
                <a:lnTo>
                  <a:pt x="4377" y="3489"/>
                </a:lnTo>
                <a:lnTo>
                  <a:pt x="4381" y="3482"/>
                </a:lnTo>
                <a:lnTo>
                  <a:pt x="4386" y="3476"/>
                </a:lnTo>
                <a:lnTo>
                  <a:pt x="4391" y="3471"/>
                </a:lnTo>
                <a:lnTo>
                  <a:pt x="4400" y="3462"/>
                </a:lnTo>
                <a:lnTo>
                  <a:pt x="4410" y="3456"/>
                </a:lnTo>
                <a:lnTo>
                  <a:pt x="4419" y="3452"/>
                </a:lnTo>
                <a:lnTo>
                  <a:pt x="4428" y="3450"/>
                </a:lnTo>
                <a:lnTo>
                  <a:pt x="4438" y="3448"/>
                </a:lnTo>
                <a:lnTo>
                  <a:pt x="4447" y="3447"/>
                </a:lnTo>
                <a:lnTo>
                  <a:pt x="4456" y="3446"/>
                </a:lnTo>
                <a:lnTo>
                  <a:pt x="4465" y="3445"/>
                </a:lnTo>
                <a:lnTo>
                  <a:pt x="4474" y="3443"/>
                </a:lnTo>
                <a:lnTo>
                  <a:pt x="4482" y="3439"/>
                </a:lnTo>
                <a:lnTo>
                  <a:pt x="4490" y="3434"/>
                </a:lnTo>
                <a:lnTo>
                  <a:pt x="4497" y="3426"/>
                </a:lnTo>
                <a:lnTo>
                  <a:pt x="4504" y="3416"/>
                </a:lnTo>
                <a:lnTo>
                  <a:pt x="4510" y="3402"/>
                </a:lnTo>
                <a:lnTo>
                  <a:pt x="4528" y="3409"/>
                </a:lnTo>
                <a:lnTo>
                  <a:pt x="4544" y="3418"/>
                </a:lnTo>
                <a:lnTo>
                  <a:pt x="4553" y="3422"/>
                </a:lnTo>
                <a:lnTo>
                  <a:pt x="4560" y="3427"/>
                </a:lnTo>
                <a:lnTo>
                  <a:pt x="4568" y="3433"/>
                </a:lnTo>
                <a:lnTo>
                  <a:pt x="4575" y="3438"/>
                </a:lnTo>
                <a:lnTo>
                  <a:pt x="4582" y="3445"/>
                </a:lnTo>
                <a:lnTo>
                  <a:pt x="4588" y="3452"/>
                </a:lnTo>
                <a:lnTo>
                  <a:pt x="4594" y="3459"/>
                </a:lnTo>
                <a:lnTo>
                  <a:pt x="4600" y="3468"/>
                </a:lnTo>
                <a:lnTo>
                  <a:pt x="4605" y="3477"/>
                </a:lnTo>
                <a:lnTo>
                  <a:pt x="4609" y="3486"/>
                </a:lnTo>
                <a:lnTo>
                  <a:pt x="4613" y="3497"/>
                </a:lnTo>
                <a:lnTo>
                  <a:pt x="4616" y="3508"/>
                </a:lnTo>
                <a:lnTo>
                  <a:pt x="4625" y="3516"/>
                </a:lnTo>
                <a:lnTo>
                  <a:pt x="4637" y="3530"/>
                </a:lnTo>
                <a:lnTo>
                  <a:pt x="4652" y="3547"/>
                </a:lnTo>
                <a:lnTo>
                  <a:pt x="4668" y="3567"/>
                </a:lnTo>
                <a:lnTo>
                  <a:pt x="4687" y="3589"/>
                </a:lnTo>
                <a:lnTo>
                  <a:pt x="4706" y="3612"/>
                </a:lnTo>
                <a:lnTo>
                  <a:pt x="4727" y="3634"/>
                </a:lnTo>
                <a:lnTo>
                  <a:pt x="4747" y="3654"/>
                </a:lnTo>
                <a:lnTo>
                  <a:pt x="4757" y="3663"/>
                </a:lnTo>
                <a:lnTo>
                  <a:pt x="4766" y="3671"/>
                </a:lnTo>
                <a:lnTo>
                  <a:pt x="4776" y="3678"/>
                </a:lnTo>
                <a:lnTo>
                  <a:pt x="4785" y="3685"/>
                </a:lnTo>
                <a:lnTo>
                  <a:pt x="4794" y="3690"/>
                </a:lnTo>
                <a:lnTo>
                  <a:pt x="4802" y="3693"/>
                </a:lnTo>
                <a:lnTo>
                  <a:pt x="4810" y="3695"/>
                </a:lnTo>
                <a:lnTo>
                  <a:pt x="4817" y="3696"/>
                </a:lnTo>
                <a:lnTo>
                  <a:pt x="4824" y="3694"/>
                </a:lnTo>
                <a:lnTo>
                  <a:pt x="4830" y="3691"/>
                </a:lnTo>
                <a:lnTo>
                  <a:pt x="4835" y="3686"/>
                </a:lnTo>
                <a:lnTo>
                  <a:pt x="4840" y="3678"/>
                </a:lnTo>
                <a:lnTo>
                  <a:pt x="4843" y="3669"/>
                </a:lnTo>
                <a:lnTo>
                  <a:pt x="4846" y="3656"/>
                </a:lnTo>
                <a:lnTo>
                  <a:pt x="4848" y="3642"/>
                </a:lnTo>
                <a:lnTo>
                  <a:pt x="4848" y="3624"/>
                </a:lnTo>
                <a:lnTo>
                  <a:pt x="4856" y="3627"/>
                </a:lnTo>
                <a:lnTo>
                  <a:pt x="4862" y="3630"/>
                </a:lnTo>
                <a:lnTo>
                  <a:pt x="4868" y="3633"/>
                </a:lnTo>
                <a:lnTo>
                  <a:pt x="4873" y="3637"/>
                </a:lnTo>
                <a:lnTo>
                  <a:pt x="4884" y="3647"/>
                </a:lnTo>
                <a:lnTo>
                  <a:pt x="4895" y="3659"/>
                </a:lnTo>
                <a:lnTo>
                  <a:pt x="4904" y="3672"/>
                </a:lnTo>
                <a:lnTo>
                  <a:pt x="4912" y="3686"/>
                </a:lnTo>
                <a:lnTo>
                  <a:pt x="4920" y="3702"/>
                </a:lnTo>
                <a:lnTo>
                  <a:pt x="4927" y="3719"/>
                </a:lnTo>
                <a:lnTo>
                  <a:pt x="4933" y="3735"/>
                </a:lnTo>
                <a:lnTo>
                  <a:pt x="4939" y="3752"/>
                </a:lnTo>
                <a:lnTo>
                  <a:pt x="4943" y="3769"/>
                </a:lnTo>
                <a:lnTo>
                  <a:pt x="4947" y="3786"/>
                </a:lnTo>
                <a:lnTo>
                  <a:pt x="4950" y="3802"/>
                </a:lnTo>
                <a:lnTo>
                  <a:pt x="4952" y="3818"/>
                </a:lnTo>
                <a:lnTo>
                  <a:pt x="4953" y="3833"/>
                </a:lnTo>
                <a:lnTo>
                  <a:pt x="4954" y="3847"/>
                </a:lnTo>
                <a:lnTo>
                  <a:pt x="4966" y="3845"/>
                </a:lnTo>
                <a:lnTo>
                  <a:pt x="4976" y="3842"/>
                </a:lnTo>
                <a:lnTo>
                  <a:pt x="4987" y="3839"/>
                </a:lnTo>
                <a:lnTo>
                  <a:pt x="4997" y="3836"/>
                </a:lnTo>
                <a:lnTo>
                  <a:pt x="5006" y="3832"/>
                </a:lnTo>
                <a:lnTo>
                  <a:pt x="5014" y="3828"/>
                </a:lnTo>
                <a:lnTo>
                  <a:pt x="5022" y="3824"/>
                </a:lnTo>
                <a:lnTo>
                  <a:pt x="5029" y="3819"/>
                </a:lnTo>
                <a:lnTo>
                  <a:pt x="5036" y="3814"/>
                </a:lnTo>
                <a:lnTo>
                  <a:pt x="5042" y="3809"/>
                </a:lnTo>
                <a:lnTo>
                  <a:pt x="5048" y="3803"/>
                </a:lnTo>
                <a:lnTo>
                  <a:pt x="5054" y="3797"/>
                </a:lnTo>
                <a:lnTo>
                  <a:pt x="5063" y="3784"/>
                </a:lnTo>
                <a:lnTo>
                  <a:pt x="5070" y="3771"/>
                </a:lnTo>
                <a:lnTo>
                  <a:pt x="5077" y="3756"/>
                </a:lnTo>
                <a:lnTo>
                  <a:pt x="5082" y="3740"/>
                </a:lnTo>
                <a:lnTo>
                  <a:pt x="5085" y="3724"/>
                </a:lnTo>
                <a:lnTo>
                  <a:pt x="5088" y="3706"/>
                </a:lnTo>
                <a:lnTo>
                  <a:pt x="5090" y="3689"/>
                </a:lnTo>
                <a:lnTo>
                  <a:pt x="5091" y="3671"/>
                </a:lnTo>
                <a:lnTo>
                  <a:pt x="5092" y="3653"/>
                </a:lnTo>
                <a:lnTo>
                  <a:pt x="5092" y="3635"/>
                </a:lnTo>
                <a:lnTo>
                  <a:pt x="5096" y="3634"/>
                </a:lnTo>
                <a:lnTo>
                  <a:pt x="5100" y="3633"/>
                </a:lnTo>
                <a:lnTo>
                  <a:pt x="5102" y="3630"/>
                </a:lnTo>
                <a:lnTo>
                  <a:pt x="5102" y="3627"/>
                </a:lnTo>
                <a:lnTo>
                  <a:pt x="5102" y="3623"/>
                </a:lnTo>
                <a:lnTo>
                  <a:pt x="5101" y="3619"/>
                </a:lnTo>
                <a:lnTo>
                  <a:pt x="5099" y="3614"/>
                </a:lnTo>
                <a:lnTo>
                  <a:pt x="5097" y="3609"/>
                </a:lnTo>
                <a:lnTo>
                  <a:pt x="5092" y="3599"/>
                </a:lnTo>
                <a:lnTo>
                  <a:pt x="5087" y="3587"/>
                </a:lnTo>
                <a:lnTo>
                  <a:pt x="5083" y="3578"/>
                </a:lnTo>
                <a:lnTo>
                  <a:pt x="5081" y="3571"/>
                </a:lnTo>
                <a:lnTo>
                  <a:pt x="5090" y="3568"/>
                </a:lnTo>
                <a:lnTo>
                  <a:pt x="5099" y="3567"/>
                </a:lnTo>
                <a:lnTo>
                  <a:pt x="5109" y="3568"/>
                </a:lnTo>
                <a:lnTo>
                  <a:pt x="5118" y="3569"/>
                </a:lnTo>
                <a:lnTo>
                  <a:pt x="5136" y="3574"/>
                </a:lnTo>
                <a:lnTo>
                  <a:pt x="5152" y="3578"/>
                </a:lnTo>
                <a:lnTo>
                  <a:pt x="5159" y="3580"/>
                </a:lnTo>
                <a:lnTo>
                  <a:pt x="5166" y="3580"/>
                </a:lnTo>
                <a:lnTo>
                  <a:pt x="5172" y="3580"/>
                </a:lnTo>
                <a:lnTo>
                  <a:pt x="5177" y="3578"/>
                </a:lnTo>
                <a:lnTo>
                  <a:pt x="5179" y="3577"/>
                </a:lnTo>
                <a:lnTo>
                  <a:pt x="5181" y="3574"/>
                </a:lnTo>
                <a:lnTo>
                  <a:pt x="5183" y="3572"/>
                </a:lnTo>
                <a:lnTo>
                  <a:pt x="5185" y="3569"/>
                </a:lnTo>
                <a:lnTo>
                  <a:pt x="5186" y="3561"/>
                </a:lnTo>
                <a:lnTo>
                  <a:pt x="5187" y="3550"/>
                </a:lnTo>
                <a:lnTo>
                  <a:pt x="5191" y="3550"/>
                </a:lnTo>
                <a:lnTo>
                  <a:pt x="5194" y="3551"/>
                </a:lnTo>
                <a:lnTo>
                  <a:pt x="5197" y="3552"/>
                </a:lnTo>
                <a:lnTo>
                  <a:pt x="5199" y="3553"/>
                </a:lnTo>
                <a:lnTo>
                  <a:pt x="5203" y="3557"/>
                </a:lnTo>
                <a:lnTo>
                  <a:pt x="5205" y="3563"/>
                </a:lnTo>
                <a:lnTo>
                  <a:pt x="5207" y="3569"/>
                </a:lnTo>
                <a:lnTo>
                  <a:pt x="5208" y="3576"/>
                </a:lnTo>
                <a:lnTo>
                  <a:pt x="5208" y="3584"/>
                </a:lnTo>
                <a:lnTo>
                  <a:pt x="5208" y="3593"/>
                </a:lnTo>
                <a:lnTo>
                  <a:pt x="5220" y="3595"/>
                </a:lnTo>
                <a:lnTo>
                  <a:pt x="5233" y="3596"/>
                </a:lnTo>
                <a:lnTo>
                  <a:pt x="5244" y="3597"/>
                </a:lnTo>
                <a:lnTo>
                  <a:pt x="5254" y="3597"/>
                </a:lnTo>
                <a:lnTo>
                  <a:pt x="5274" y="3597"/>
                </a:lnTo>
                <a:lnTo>
                  <a:pt x="5292" y="3596"/>
                </a:lnTo>
                <a:lnTo>
                  <a:pt x="5309" y="3594"/>
                </a:lnTo>
                <a:lnTo>
                  <a:pt x="5326" y="3594"/>
                </a:lnTo>
                <a:lnTo>
                  <a:pt x="5333" y="3595"/>
                </a:lnTo>
                <a:lnTo>
                  <a:pt x="5341" y="3596"/>
                </a:lnTo>
                <a:lnTo>
                  <a:pt x="5349" y="3597"/>
                </a:lnTo>
                <a:lnTo>
                  <a:pt x="5357" y="3599"/>
                </a:lnTo>
                <a:lnTo>
                  <a:pt x="5360" y="3601"/>
                </a:lnTo>
                <a:lnTo>
                  <a:pt x="5362" y="3603"/>
                </a:lnTo>
                <a:lnTo>
                  <a:pt x="5364" y="3605"/>
                </a:lnTo>
                <a:lnTo>
                  <a:pt x="5366" y="3609"/>
                </a:lnTo>
                <a:lnTo>
                  <a:pt x="5369" y="3618"/>
                </a:lnTo>
                <a:lnTo>
                  <a:pt x="5371" y="3628"/>
                </a:lnTo>
                <a:lnTo>
                  <a:pt x="5372" y="3641"/>
                </a:lnTo>
                <a:lnTo>
                  <a:pt x="5373" y="3655"/>
                </a:lnTo>
                <a:lnTo>
                  <a:pt x="5373" y="3670"/>
                </a:lnTo>
                <a:lnTo>
                  <a:pt x="5373" y="3686"/>
                </a:lnTo>
                <a:lnTo>
                  <a:pt x="5371" y="3720"/>
                </a:lnTo>
                <a:lnTo>
                  <a:pt x="5367" y="3752"/>
                </a:lnTo>
                <a:lnTo>
                  <a:pt x="5363" y="3781"/>
                </a:lnTo>
                <a:lnTo>
                  <a:pt x="5358" y="3804"/>
                </a:lnTo>
                <a:lnTo>
                  <a:pt x="5356" y="3810"/>
                </a:lnTo>
                <a:lnTo>
                  <a:pt x="5353" y="3815"/>
                </a:lnTo>
                <a:lnTo>
                  <a:pt x="5350" y="3820"/>
                </a:lnTo>
                <a:lnTo>
                  <a:pt x="5347" y="3825"/>
                </a:lnTo>
                <a:lnTo>
                  <a:pt x="5339" y="3834"/>
                </a:lnTo>
                <a:lnTo>
                  <a:pt x="5329" y="3841"/>
                </a:lnTo>
                <a:lnTo>
                  <a:pt x="5318" y="3849"/>
                </a:lnTo>
                <a:lnTo>
                  <a:pt x="5307" y="3855"/>
                </a:lnTo>
                <a:lnTo>
                  <a:pt x="5295" y="3860"/>
                </a:lnTo>
                <a:lnTo>
                  <a:pt x="5282" y="3865"/>
                </a:lnTo>
                <a:lnTo>
                  <a:pt x="5259" y="3873"/>
                </a:lnTo>
                <a:lnTo>
                  <a:pt x="5239" y="3881"/>
                </a:lnTo>
                <a:lnTo>
                  <a:pt x="5231" y="3885"/>
                </a:lnTo>
                <a:lnTo>
                  <a:pt x="5224" y="3889"/>
                </a:lnTo>
                <a:lnTo>
                  <a:pt x="5222" y="3892"/>
                </a:lnTo>
                <a:lnTo>
                  <a:pt x="5220" y="3894"/>
                </a:lnTo>
                <a:lnTo>
                  <a:pt x="5219" y="3897"/>
                </a:lnTo>
                <a:lnTo>
                  <a:pt x="5219" y="3899"/>
                </a:lnTo>
                <a:lnTo>
                  <a:pt x="5207" y="3909"/>
                </a:lnTo>
                <a:lnTo>
                  <a:pt x="5198" y="3918"/>
                </a:lnTo>
                <a:lnTo>
                  <a:pt x="5191" y="3927"/>
                </a:lnTo>
                <a:lnTo>
                  <a:pt x="5186" y="3936"/>
                </a:lnTo>
                <a:lnTo>
                  <a:pt x="5183" y="3944"/>
                </a:lnTo>
                <a:lnTo>
                  <a:pt x="5183" y="3953"/>
                </a:lnTo>
                <a:lnTo>
                  <a:pt x="5184" y="3961"/>
                </a:lnTo>
                <a:lnTo>
                  <a:pt x="5186" y="3968"/>
                </a:lnTo>
                <a:lnTo>
                  <a:pt x="5191" y="3977"/>
                </a:lnTo>
                <a:lnTo>
                  <a:pt x="5196" y="3985"/>
                </a:lnTo>
                <a:lnTo>
                  <a:pt x="5204" y="3992"/>
                </a:lnTo>
                <a:lnTo>
                  <a:pt x="5212" y="3999"/>
                </a:lnTo>
                <a:lnTo>
                  <a:pt x="5221" y="4006"/>
                </a:lnTo>
                <a:lnTo>
                  <a:pt x="5232" y="4013"/>
                </a:lnTo>
                <a:lnTo>
                  <a:pt x="5243" y="4019"/>
                </a:lnTo>
                <a:lnTo>
                  <a:pt x="5255" y="4026"/>
                </a:lnTo>
                <a:lnTo>
                  <a:pt x="5306" y="4050"/>
                </a:lnTo>
                <a:lnTo>
                  <a:pt x="5358" y="4074"/>
                </a:lnTo>
                <a:lnTo>
                  <a:pt x="5382" y="4086"/>
                </a:lnTo>
                <a:lnTo>
                  <a:pt x="5402" y="4098"/>
                </a:lnTo>
                <a:lnTo>
                  <a:pt x="5411" y="4104"/>
                </a:lnTo>
                <a:lnTo>
                  <a:pt x="5419" y="4110"/>
                </a:lnTo>
                <a:lnTo>
                  <a:pt x="5425" y="4116"/>
                </a:lnTo>
                <a:lnTo>
                  <a:pt x="5431" y="4122"/>
                </a:lnTo>
                <a:lnTo>
                  <a:pt x="5417" y="4121"/>
                </a:lnTo>
                <a:lnTo>
                  <a:pt x="5397" y="4119"/>
                </a:lnTo>
                <a:lnTo>
                  <a:pt x="5375" y="4117"/>
                </a:lnTo>
                <a:lnTo>
                  <a:pt x="5351" y="4114"/>
                </a:lnTo>
                <a:lnTo>
                  <a:pt x="5329" y="4110"/>
                </a:lnTo>
                <a:lnTo>
                  <a:pt x="5310" y="4107"/>
                </a:lnTo>
                <a:lnTo>
                  <a:pt x="5303" y="4105"/>
                </a:lnTo>
                <a:lnTo>
                  <a:pt x="5298" y="4104"/>
                </a:lnTo>
                <a:lnTo>
                  <a:pt x="5294" y="4102"/>
                </a:lnTo>
                <a:lnTo>
                  <a:pt x="5293" y="4101"/>
                </a:lnTo>
                <a:lnTo>
                  <a:pt x="5279" y="4102"/>
                </a:lnTo>
                <a:lnTo>
                  <a:pt x="5263" y="4104"/>
                </a:lnTo>
                <a:lnTo>
                  <a:pt x="5246" y="4107"/>
                </a:lnTo>
                <a:lnTo>
                  <a:pt x="5226" y="4111"/>
                </a:lnTo>
                <a:lnTo>
                  <a:pt x="5185" y="4121"/>
                </a:lnTo>
                <a:lnTo>
                  <a:pt x="5142" y="4131"/>
                </a:lnTo>
                <a:lnTo>
                  <a:pt x="5121" y="4135"/>
                </a:lnTo>
                <a:lnTo>
                  <a:pt x="5099" y="4138"/>
                </a:lnTo>
                <a:lnTo>
                  <a:pt x="5079" y="4140"/>
                </a:lnTo>
                <a:lnTo>
                  <a:pt x="5059" y="4140"/>
                </a:lnTo>
                <a:lnTo>
                  <a:pt x="5050" y="4140"/>
                </a:lnTo>
                <a:lnTo>
                  <a:pt x="5041" y="4139"/>
                </a:lnTo>
                <a:lnTo>
                  <a:pt x="5033" y="4137"/>
                </a:lnTo>
                <a:lnTo>
                  <a:pt x="5025" y="4136"/>
                </a:lnTo>
                <a:lnTo>
                  <a:pt x="5017" y="4133"/>
                </a:lnTo>
                <a:lnTo>
                  <a:pt x="5010" y="4130"/>
                </a:lnTo>
                <a:lnTo>
                  <a:pt x="5003" y="4126"/>
                </a:lnTo>
                <a:lnTo>
                  <a:pt x="4997" y="4122"/>
                </a:lnTo>
                <a:lnTo>
                  <a:pt x="5005" y="4121"/>
                </a:lnTo>
                <a:lnTo>
                  <a:pt x="5013" y="4120"/>
                </a:lnTo>
                <a:lnTo>
                  <a:pt x="5020" y="4119"/>
                </a:lnTo>
                <a:lnTo>
                  <a:pt x="5027" y="4117"/>
                </a:lnTo>
                <a:lnTo>
                  <a:pt x="5033" y="4114"/>
                </a:lnTo>
                <a:lnTo>
                  <a:pt x="5039" y="4111"/>
                </a:lnTo>
                <a:lnTo>
                  <a:pt x="5045" y="4108"/>
                </a:lnTo>
                <a:lnTo>
                  <a:pt x="5051" y="4104"/>
                </a:lnTo>
                <a:lnTo>
                  <a:pt x="5062" y="4094"/>
                </a:lnTo>
                <a:lnTo>
                  <a:pt x="5071" y="4083"/>
                </a:lnTo>
                <a:lnTo>
                  <a:pt x="5080" y="4071"/>
                </a:lnTo>
                <a:lnTo>
                  <a:pt x="5087" y="4057"/>
                </a:lnTo>
                <a:lnTo>
                  <a:pt x="5094" y="4043"/>
                </a:lnTo>
                <a:lnTo>
                  <a:pt x="5100" y="4027"/>
                </a:lnTo>
                <a:lnTo>
                  <a:pt x="5106" y="4011"/>
                </a:lnTo>
                <a:lnTo>
                  <a:pt x="5111" y="3993"/>
                </a:lnTo>
                <a:lnTo>
                  <a:pt x="5115" y="3976"/>
                </a:lnTo>
                <a:lnTo>
                  <a:pt x="5119" y="3957"/>
                </a:lnTo>
                <a:lnTo>
                  <a:pt x="5122" y="3939"/>
                </a:lnTo>
                <a:lnTo>
                  <a:pt x="5124" y="3920"/>
                </a:lnTo>
                <a:lnTo>
                  <a:pt x="5109" y="3916"/>
                </a:lnTo>
                <a:lnTo>
                  <a:pt x="5093" y="3913"/>
                </a:lnTo>
                <a:lnTo>
                  <a:pt x="5078" y="3912"/>
                </a:lnTo>
                <a:lnTo>
                  <a:pt x="5063" y="3912"/>
                </a:lnTo>
                <a:lnTo>
                  <a:pt x="5048" y="3914"/>
                </a:lnTo>
                <a:lnTo>
                  <a:pt x="5034" y="3918"/>
                </a:lnTo>
                <a:lnTo>
                  <a:pt x="5020" y="3922"/>
                </a:lnTo>
                <a:lnTo>
                  <a:pt x="5006" y="3929"/>
                </a:lnTo>
                <a:lnTo>
                  <a:pt x="4993" y="3936"/>
                </a:lnTo>
                <a:lnTo>
                  <a:pt x="4981" y="3945"/>
                </a:lnTo>
                <a:lnTo>
                  <a:pt x="4969" y="3954"/>
                </a:lnTo>
                <a:lnTo>
                  <a:pt x="4958" y="3965"/>
                </a:lnTo>
                <a:lnTo>
                  <a:pt x="4949" y="3978"/>
                </a:lnTo>
                <a:lnTo>
                  <a:pt x="4941" y="3990"/>
                </a:lnTo>
                <a:lnTo>
                  <a:pt x="4935" y="4004"/>
                </a:lnTo>
                <a:lnTo>
                  <a:pt x="4930" y="4018"/>
                </a:lnTo>
                <a:lnTo>
                  <a:pt x="4926" y="4029"/>
                </a:lnTo>
                <a:lnTo>
                  <a:pt x="4922" y="4039"/>
                </a:lnTo>
                <a:lnTo>
                  <a:pt x="4918" y="4048"/>
                </a:lnTo>
                <a:lnTo>
                  <a:pt x="4914" y="4055"/>
                </a:lnTo>
                <a:lnTo>
                  <a:pt x="4909" y="4061"/>
                </a:lnTo>
                <a:lnTo>
                  <a:pt x="4905" y="4066"/>
                </a:lnTo>
                <a:lnTo>
                  <a:pt x="4900" y="4070"/>
                </a:lnTo>
                <a:lnTo>
                  <a:pt x="4895" y="4073"/>
                </a:lnTo>
                <a:lnTo>
                  <a:pt x="4889" y="4075"/>
                </a:lnTo>
                <a:lnTo>
                  <a:pt x="4884" y="4077"/>
                </a:lnTo>
                <a:lnTo>
                  <a:pt x="4879" y="4077"/>
                </a:lnTo>
                <a:lnTo>
                  <a:pt x="4873" y="4078"/>
                </a:lnTo>
                <a:lnTo>
                  <a:pt x="4862" y="4077"/>
                </a:lnTo>
                <a:lnTo>
                  <a:pt x="4849" y="4075"/>
                </a:lnTo>
                <a:lnTo>
                  <a:pt x="4837" y="4072"/>
                </a:lnTo>
                <a:lnTo>
                  <a:pt x="4825" y="4070"/>
                </a:lnTo>
                <a:lnTo>
                  <a:pt x="4814" y="4068"/>
                </a:lnTo>
                <a:lnTo>
                  <a:pt x="4803" y="4069"/>
                </a:lnTo>
                <a:lnTo>
                  <a:pt x="4797" y="4069"/>
                </a:lnTo>
                <a:lnTo>
                  <a:pt x="4792" y="4071"/>
                </a:lnTo>
                <a:lnTo>
                  <a:pt x="4787" y="4073"/>
                </a:lnTo>
                <a:lnTo>
                  <a:pt x="4782" y="4077"/>
                </a:lnTo>
                <a:lnTo>
                  <a:pt x="4777" y="4081"/>
                </a:lnTo>
                <a:lnTo>
                  <a:pt x="4773" y="4086"/>
                </a:lnTo>
                <a:lnTo>
                  <a:pt x="4768" y="4092"/>
                </a:lnTo>
                <a:lnTo>
                  <a:pt x="4764" y="4101"/>
                </a:lnTo>
                <a:lnTo>
                  <a:pt x="4752" y="4106"/>
                </a:lnTo>
                <a:lnTo>
                  <a:pt x="4731" y="4115"/>
                </a:lnTo>
                <a:lnTo>
                  <a:pt x="4703" y="4126"/>
                </a:lnTo>
                <a:lnTo>
                  <a:pt x="4673" y="4138"/>
                </a:lnTo>
                <a:lnTo>
                  <a:pt x="4644" y="4148"/>
                </a:lnTo>
                <a:lnTo>
                  <a:pt x="4619" y="4156"/>
                </a:lnTo>
                <a:lnTo>
                  <a:pt x="4609" y="4157"/>
                </a:lnTo>
                <a:lnTo>
                  <a:pt x="4602" y="4158"/>
                </a:lnTo>
                <a:lnTo>
                  <a:pt x="4598" y="4157"/>
                </a:lnTo>
                <a:lnTo>
                  <a:pt x="4596" y="4156"/>
                </a:lnTo>
                <a:lnTo>
                  <a:pt x="4595" y="4155"/>
                </a:lnTo>
                <a:lnTo>
                  <a:pt x="4594" y="4153"/>
                </a:lnTo>
                <a:lnTo>
                  <a:pt x="4579" y="4156"/>
                </a:lnTo>
                <a:lnTo>
                  <a:pt x="4565" y="4159"/>
                </a:lnTo>
                <a:lnTo>
                  <a:pt x="4552" y="4163"/>
                </a:lnTo>
                <a:lnTo>
                  <a:pt x="4540" y="4168"/>
                </a:lnTo>
                <a:lnTo>
                  <a:pt x="4529" y="4173"/>
                </a:lnTo>
                <a:lnTo>
                  <a:pt x="4519" y="4179"/>
                </a:lnTo>
                <a:lnTo>
                  <a:pt x="4511" y="4185"/>
                </a:lnTo>
                <a:lnTo>
                  <a:pt x="4503" y="4192"/>
                </a:lnTo>
                <a:lnTo>
                  <a:pt x="4496" y="4200"/>
                </a:lnTo>
                <a:lnTo>
                  <a:pt x="4490" y="4208"/>
                </a:lnTo>
                <a:lnTo>
                  <a:pt x="4484" y="4216"/>
                </a:lnTo>
                <a:lnTo>
                  <a:pt x="4480" y="4227"/>
                </a:lnTo>
                <a:lnTo>
                  <a:pt x="4476" y="4236"/>
                </a:lnTo>
                <a:lnTo>
                  <a:pt x="4471" y="4246"/>
                </a:lnTo>
                <a:lnTo>
                  <a:pt x="4469" y="4256"/>
                </a:lnTo>
                <a:lnTo>
                  <a:pt x="4466" y="4267"/>
                </a:lnTo>
                <a:lnTo>
                  <a:pt x="4464" y="4290"/>
                </a:lnTo>
                <a:lnTo>
                  <a:pt x="4462" y="4314"/>
                </a:lnTo>
                <a:lnTo>
                  <a:pt x="4462" y="4340"/>
                </a:lnTo>
                <a:lnTo>
                  <a:pt x="4463" y="4367"/>
                </a:lnTo>
                <a:lnTo>
                  <a:pt x="4466" y="4423"/>
                </a:lnTo>
                <a:lnTo>
                  <a:pt x="4467" y="4482"/>
                </a:lnTo>
                <a:lnTo>
                  <a:pt x="4482" y="4490"/>
                </a:lnTo>
                <a:lnTo>
                  <a:pt x="4497" y="4500"/>
                </a:lnTo>
                <a:lnTo>
                  <a:pt x="4512" y="4512"/>
                </a:lnTo>
                <a:lnTo>
                  <a:pt x="4529" y="4524"/>
                </a:lnTo>
                <a:lnTo>
                  <a:pt x="4546" y="4538"/>
                </a:lnTo>
                <a:lnTo>
                  <a:pt x="4563" y="4552"/>
                </a:lnTo>
                <a:lnTo>
                  <a:pt x="4580" y="4568"/>
                </a:lnTo>
                <a:lnTo>
                  <a:pt x="4596" y="4583"/>
                </a:lnTo>
                <a:lnTo>
                  <a:pt x="4612" y="4600"/>
                </a:lnTo>
                <a:lnTo>
                  <a:pt x="4626" y="4616"/>
                </a:lnTo>
                <a:lnTo>
                  <a:pt x="4639" y="4632"/>
                </a:lnTo>
                <a:lnTo>
                  <a:pt x="4650" y="4647"/>
                </a:lnTo>
                <a:lnTo>
                  <a:pt x="4658" y="4663"/>
                </a:lnTo>
                <a:lnTo>
                  <a:pt x="4665" y="4677"/>
                </a:lnTo>
                <a:lnTo>
                  <a:pt x="4667" y="4684"/>
                </a:lnTo>
                <a:lnTo>
                  <a:pt x="4668" y="4691"/>
                </a:lnTo>
                <a:lnTo>
                  <a:pt x="4669" y="4697"/>
                </a:lnTo>
                <a:lnTo>
                  <a:pt x="4669" y="4703"/>
                </a:lnTo>
                <a:lnTo>
                  <a:pt x="4722" y="4713"/>
                </a:lnTo>
                <a:lnTo>
                  <a:pt x="4769" y="4722"/>
                </a:lnTo>
                <a:lnTo>
                  <a:pt x="4810" y="4731"/>
                </a:lnTo>
                <a:lnTo>
                  <a:pt x="4849" y="4738"/>
                </a:lnTo>
                <a:lnTo>
                  <a:pt x="4887" y="4746"/>
                </a:lnTo>
                <a:lnTo>
                  <a:pt x="4926" y="4753"/>
                </a:lnTo>
                <a:lnTo>
                  <a:pt x="4969" y="4760"/>
                </a:lnTo>
                <a:lnTo>
                  <a:pt x="5018" y="4767"/>
                </a:lnTo>
                <a:lnTo>
                  <a:pt x="5021" y="4771"/>
                </a:lnTo>
                <a:lnTo>
                  <a:pt x="5024" y="4776"/>
                </a:lnTo>
                <a:lnTo>
                  <a:pt x="5028" y="4780"/>
                </a:lnTo>
                <a:lnTo>
                  <a:pt x="5032" y="4784"/>
                </a:lnTo>
                <a:lnTo>
                  <a:pt x="5043" y="4791"/>
                </a:lnTo>
                <a:lnTo>
                  <a:pt x="5054" y="4798"/>
                </a:lnTo>
                <a:lnTo>
                  <a:pt x="5067" y="4805"/>
                </a:lnTo>
                <a:lnTo>
                  <a:pt x="5079" y="4811"/>
                </a:lnTo>
                <a:lnTo>
                  <a:pt x="5091" y="4815"/>
                </a:lnTo>
                <a:lnTo>
                  <a:pt x="5102" y="4819"/>
                </a:lnTo>
                <a:lnTo>
                  <a:pt x="5104" y="4827"/>
                </a:lnTo>
                <a:lnTo>
                  <a:pt x="5104" y="4835"/>
                </a:lnTo>
                <a:lnTo>
                  <a:pt x="5105" y="4842"/>
                </a:lnTo>
                <a:lnTo>
                  <a:pt x="5107" y="4848"/>
                </a:lnTo>
                <a:lnTo>
                  <a:pt x="5109" y="4855"/>
                </a:lnTo>
                <a:lnTo>
                  <a:pt x="5111" y="4861"/>
                </a:lnTo>
                <a:lnTo>
                  <a:pt x="5114" y="4865"/>
                </a:lnTo>
                <a:lnTo>
                  <a:pt x="5117" y="4870"/>
                </a:lnTo>
                <a:lnTo>
                  <a:pt x="5121" y="4874"/>
                </a:lnTo>
                <a:lnTo>
                  <a:pt x="5125" y="4877"/>
                </a:lnTo>
                <a:lnTo>
                  <a:pt x="5129" y="4880"/>
                </a:lnTo>
                <a:lnTo>
                  <a:pt x="5133" y="4883"/>
                </a:lnTo>
                <a:lnTo>
                  <a:pt x="5143" y="4888"/>
                </a:lnTo>
                <a:lnTo>
                  <a:pt x="5154" y="4891"/>
                </a:lnTo>
                <a:lnTo>
                  <a:pt x="5165" y="4893"/>
                </a:lnTo>
                <a:lnTo>
                  <a:pt x="5178" y="4895"/>
                </a:lnTo>
                <a:lnTo>
                  <a:pt x="5191" y="4895"/>
                </a:lnTo>
                <a:lnTo>
                  <a:pt x="5204" y="4895"/>
                </a:lnTo>
                <a:lnTo>
                  <a:pt x="5233" y="4895"/>
                </a:lnTo>
                <a:lnTo>
                  <a:pt x="5262" y="4894"/>
                </a:lnTo>
                <a:lnTo>
                  <a:pt x="5262" y="4884"/>
                </a:lnTo>
                <a:lnTo>
                  <a:pt x="5263" y="4876"/>
                </a:lnTo>
                <a:lnTo>
                  <a:pt x="5265" y="4870"/>
                </a:lnTo>
                <a:lnTo>
                  <a:pt x="5267" y="4865"/>
                </a:lnTo>
                <a:lnTo>
                  <a:pt x="5270" y="4862"/>
                </a:lnTo>
                <a:lnTo>
                  <a:pt x="5274" y="4861"/>
                </a:lnTo>
                <a:lnTo>
                  <a:pt x="5278" y="4860"/>
                </a:lnTo>
                <a:lnTo>
                  <a:pt x="5283" y="4861"/>
                </a:lnTo>
                <a:lnTo>
                  <a:pt x="5288" y="4863"/>
                </a:lnTo>
                <a:lnTo>
                  <a:pt x="5293" y="4867"/>
                </a:lnTo>
                <a:lnTo>
                  <a:pt x="5299" y="4871"/>
                </a:lnTo>
                <a:lnTo>
                  <a:pt x="5305" y="4876"/>
                </a:lnTo>
                <a:lnTo>
                  <a:pt x="5317" y="4889"/>
                </a:lnTo>
                <a:lnTo>
                  <a:pt x="5330" y="4904"/>
                </a:lnTo>
                <a:lnTo>
                  <a:pt x="5343" y="4921"/>
                </a:lnTo>
                <a:lnTo>
                  <a:pt x="5357" y="4939"/>
                </a:lnTo>
                <a:lnTo>
                  <a:pt x="5370" y="4958"/>
                </a:lnTo>
                <a:lnTo>
                  <a:pt x="5381" y="4976"/>
                </a:lnTo>
                <a:lnTo>
                  <a:pt x="5391" y="4994"/>
                </a:lnTo>
                <a:lnTo>
                  <a:pt x="5399" y="5009"/>
                </a:lnTo>
                <a:lnTo>
                  <a:pt x="5406" y="5022"/>
                </a:lnTo>
                <a:lnTo>
                  <a:pt x="5410" y="5032"/>
                </a:lnTo>
                <a:lnTo>
                  <a:pt x="5408" y="5032"/>
                </a:lnTo>
                <a:lnTo>
                  <a:pt x="5407" y="5033"/>
                </a:lnTo>
                <a:lnTo>
                  <a:pt x="5406" y="5034"/>
                </a:lnTo>
                <a:lnTo>
                  <a:pt x="5406" y="5037"/>
                </a:lnTo>
                <a:lnTo>
                  <a:pt x="5406" y="5043"/>
                </a:lnTo>
                <a:lnTo>
                  <a:pt x="5407" y="5051"/>
                </a:lnTo>
                <a:lnTo>
                  <a:pt x="5412" y="5071"/>
                </a:lnTo>
                <a:lnTo>
                  <a:pt x="5420" y="5095"/>
                </a:lnTo>
                <a:lnTo>
                  <a:pt x="5429" y="5123"/>
                </a:lnTo>
                <a:lnTo>
                  <a:pt x="5438" y="5149"/>
                </a:lnTo>
                <a:lnTo>
                  <a:pt x="5446" y="5172"/>
                </a:lnTo>
                <a:lnTo>
                  <a:pt x="5451" y="5190"/>
                </a:lnTo>
                <a:lnTo>
                  <a:pt x="5444" y="5188"/>
                </a:lnTo>
                <a:lnTo>
                  <a:pt x="5438" y="5188"/>
                </a:lnTo>
                <a:lnTo>
                  <a:pt x="5434" y="5188"/>
                </a:lnTo>
                <a:lnTo>
                  <a:pt x="5431" y="5190"/>
                </a:lnTo>
                <a:lnTo>
                  <a:pt x="5429" y="5194"/>
                </a:lnTo>
                <a:lnTo>
                  <a:pt x="5428" y="5198"/>
                </a:lnTo>
                <a:lnTo>
                  <a:pt x="5429" y="5204"/>
                </a:lnTo>
                <a:lnTo>
                  <a:pt x="5431" y="5211"/>
                </a:lnTo>
                <a:lnTo>
                  <a:pt x="5443" y="5216"/>
                </a:lnTo>
                <a:lnTo>
                  <a:pt x="5457" y="5219"/>
                </a:lnTo>
                <a:lnTo>
                  <a:pt x="5471" y="5222"/>
                </a:lnTo>
                <a:lnTo>
                  <a:pt x="5487" y="5223"/>
                </a:lnTo>
                <a:lnTo>
                  <a:pt x="5501" y="5224"/>
                </a:lnTo>
                <a:lnTo>
                  <a:pt x="5516" y="5224"/>
                </a:lnTo>
                <a:lnTo>
                  <a:pt x="5530" y="5223"/>
                </a:lnTo>
                <a:lnTo>
                  <a:pt x="5544" y="5221"/>
                </a:lnTo>
                <a:lnTo>
                  <a:pt x="5558" y="5217"/>
                </a:lnTo>
                <a:lnTo>
                  <a:pt x="5571" y="5213"/>
                </a:lnTo>
                <a:lnTo>
                  <a:pt x="5582" y="5207"/>
                </a:lnTo>
                <a:lnTo>
                  <a:pt x="5593" y="5200"/>
                </a:lnTo>
                <a:lnTo>
                  <a:pt x="5598" y="5196"/>
                </a:lnTo>
                <a:lnTo>
                  <a:pt x="5602" y="5192"/>
                </a:lnTo>
                <a:lnTo>
                  <a:pt x="5608" y="5187"/>
                </a:lnTo>
                <a:lnTo>
                  <a:pt x="5611" y="5182"/>
                </a:lnTo>
                <a:lnTo>
                  <a:pt x="5615" y="5177"/>
                </a:lnTo>
                <a:lnTo>
                  <a:pt x="5617" y="5171"/>
                </a:lnTo>
                <a:lnTo>
                  <a:pt x="5620" y="5165"/>
                </a:lnTo>
                <a:lnTo>
                  <a:pt x="5622" y="5159"/>
                </a:lnTo>
                <a:lnTo>
                  <a:pt x="5611" y="5158"/>
                </a:lnTo>
                <a:lnTo>
                  <a:pt x="5600" y="5155"/>
                </a:lnTo>
                <a:lnTo>
                  <a:pt x="5593" y="5152"/>
                </a:lnTo>
                <a:lnTo>
                  <a:pt x="5587" y="5147"/>
                </a:lnTo>
                <a:lnTo>
                  <a:pt x="5583" y="5140"/>
                </a:lnTo>
                <a:lnTo>
                  <a:pt x="5579" y="5133"/>
                </a:lnTo>
                <a:lnTo>
                  <a:pt x="5577" y="5125"/>
                </a:lnTo>
                <a:lnTo>
                  <a:pt x="5576" y="5117"/>
                </a:lnTo>
                <a:lnTo>
                  <a:pt x="5576" y="5078"/>
                </a:lnTo>
                <a:lnTo>
                  <a:pt x="5579" y="5042"/>
                </a:lnTo>
                <a:lnTo>
                  <a:pt x="5567" y="5033"/>
                </a:lnTo>
                <a:lnTo>
                  <a:pt x="5557" y="5024"/>
                </a:lnTo>
                <a:lnTo>
                  <a:pt x="5549" y="5014"/>
                </a:lnTo>
                <a:lnTo>
                  <a:pt x="5543" y="5003"/>
                </a:lnTo>
                <a:lnTo>
                  <a:pt x="5539" y="4992"/>
                </a:lnTo>
                <a:lnTo>
                  <a:pt x="5536" y="4981"/>
                </a:lnTo>
                <a:lnTo>
                  <a:pt x="5534" y="4969"/>
                </a:lnTo>
                <a:lnTo>
                  <a:pt x="5534" y="4958"/>
                </a:lnTo>
                <a:lnTo>
                  <a:pt x="5536" y="4947"/>
                </a:lnTo>
                <a:lnTo>
                  <a:pt x="5539" y="4937"/>
                </a:lnTo>
                <a:lnTo>
                  <a:pt x="5544" y="4928"/>
                </a:lnTo>
                <a:lnTo>
                  <a:pt x="5550" y="4919"/>
                </a:lnTo>
                <a:lnTo>
                  <a:pt x="5558" y="4911"/>
                </a:lnTo>
                <a:lnTo>
                  <a:pt x="5567" y="4904"/>
                </a:lnTo>
                <a:lnTo>
                  <a:pt x="5577" y="4899"/>
                </a:lnTo>
                <a:lnTo>
                  <a:pt x="5589" y="4894"/>
                </a:lnTo>
                <a:lnTo>
                  <a:pt x="5590" y="4899"/>
                </a:lnTo>
                <a:lnTo>
                  <a:pt x="5592" y="4904"/>
                </a:lnTo>
                <a:lnTo>
                  <a:pt x="5594" y="4907"/>
                </a:lnTo>
                <a:lnTo>
                  <a:pt x="5598" y="4910"/>
                </a:lnTo>
                <a:lnTo>
                  <a:pt x="5603" y="4912"/>
                </a:lnTo>
                <a:lnTo>
                  <a:pt x="5609" y="4913"/>
                </a:lnTo>
                <a:lnTo>
                  <a:pt x="5615" y="4913"/>
                </a:lnTo>
                <a:lnTo>
                  <a:pt x="5622" y="4913"/>
                </a:lnTo>
                <a:lnTo>
                  <a:pt x="5637" y="4911"/>
                </a:lnTo>
                <a:lnTo>
                  <a:pt x="5652" y="4906"/>
                </a:lnTo>
                <a:lnTo>
                  <a:pt x="5668" y="4900"/>
                </a:lnTo>
                <a:lnTo>
                  <a:pt x="5683" y="4892"/>
                </a:lnTo>
                <a:lnTo>
                  <a:pt x="5690" y="4888"/>
                </a:lnTo>
                <a:lnTo>
                  <a:pt x="5697" y="4883"/>
                </a:lnTo>
                <a:lnTo>
                  <a:pt x="5703" y="4878"/>
                </a:lnTo>
                <a:lnTo>
                  <a:pt x="5708" y="4873"/>
                </a:lnTo>
                <a:lnTo>
                  <a:pt x="5713" y="4868"/>
                </a:lnTo>
                <a:lnTo>
                  <a:pt x="5717" y="4862"/>
                </a:lnTo>
                <a:lnTo>
                  <a:pt x="5719" y="4857"/>
                </a:lnTo>
                <a:lnTo>
                  <a:pt x="5721" y="4852"/>
                </a:lnTo>
                <a:lnTo>
                  <a:pt x="5722" y="4845"/>
                </a:lnTo>
                <a:lnTo>
                  <a:pt x="5721" y="4839"/>
                </a:lnTo>
                <a:lnTo>
                  <a:pt x="5719" y="4834"/>
                </a:lnTo>
                <a:lnTo>
                  <a:pt x="5715" y="4829"/>
                </a:lnTo>
                <a:lnTo>
                  <a:pt x="5710" y="4824"/>
                </a:lnTo>
                <a:lnTo>
                  <a:pt x="5704" y="4819"/>
                </a:lnTo>
                <a:lnTo>
                  <a:pt x="5695" y="4814"/>
                </a:lnTo>
                <a:lnTo>
                  <a:pt x="5685" y="4809"/>
                </a:lnTo>
                <a:lnTo>
                  <a:pt x="5690" y="4796"/>
                </a:lnTo>
                <a:lnTo>
                  <a:pt x="5695" y="4783"/>
                </a:lnTo>
                <a:lnTo>
                  <a:pt x="5700" y="4768"/>
                </a:lnTo>
                <a:lnTo>
                  <a:pt x="5704" y="4754"/>
                </a:lnTo>
                <a:lnTo>
                  <a:pt x="5708" y="4738"/>
                </a:lnTo>
                <a:lnTo>
                  <a:pt x="5711" y="4722"/>
                </a:lnTo>
                <a:lnTo>
                  <a:pt x="5713" y="4707"/>
                </a:lnTo>
                <a:lnTo>
                  <a:pt x="5715" y="4691"/>
                </a:lnTo>
                <a:lnTo>
                  <a:pt x="5715" y="4675"/>
                </a:lnTo>
                <a:lnTo>
                  <a:pt x="5715" y="4660"/>
                </a:lnTo>
                <a:lnTo>
                  <a:pt x="5713" y="4645"/>
                </a:lnTo>
                <a:lnTo>
                  <a:pt x="5710" y="4631"/>
                </a:lnTo>
                <a:lnTo>
                  <a:pt x="5706" y="4617"/>
                </a:lnTo>
                <a:lnTo>
                  <a:pt x="5701" y="4604"/>
                </a:lnTo>
                <a:lnTo>
                  <a:pt x="5694" y="4591"/>
                </a:lnTo>
                <a:lnTo>
                  <a:pt x="5686" y="4579"/>
                </a:lnTo>
                <a:lnTo>
                  <a:pt x="5680" y="4573"/>
                </a:lnTo>
                <a:lnTo>
                  <a:pt x="5674" y="4569"/>
                </a:lnTo>
                <a:lnTo>
                  <a:pt x="5668" y="4565"/>
                </a:lnTo>
                <a:lnTo>
                  <a:pt x="5662" y="4563"/>
                </a:lnTo>
                <a:lnTo>
                  <a:pt x="5650" y="4560"/>
                </a:lnTo>
                <a:lnTo>
                  <a:pt x="5638" y="4558"/>
                </a:lnTo>
                <a:lnTo>
                  <a:pt x="5632" y="4557"/>
                </a:lnTo>
                <a:lnTo>
                  <a:pt x="5626" y="4556"/>
                </a:lnTo>
                <a:lnTo>
                  <a:pt x="5621" y="4554"/>
                </a:lnTo>
                <a:lnTo>
                  <a:pt x="5616" y="4551"/>
                </a:lnTo>
                <a:lnTo>
                  <a:pt x="5612" y="4546"/>
                </a:lnTo>
                <a:lnTo>
                  <a:pt x="5608" y="4541"/>
                </a:lnTo>
                <a:lnTo>
                  <a:pt x="5603" y="4533"/>
                </a:lnTo>
                <a:lnTo>
                  <a:pt x="5600" y="4524"/>
                </a:lnTo>
                <a:lnTo>
                  <a:pt x="5608" y="4522"/>
                </a:lnTo>
                <a:lnTo>
                  <a:pt x="5615" y="4518"/>
                </a:lnTo>
                <a:lnTo>
                  <a:pt x="5620" y="4515"/>
                </a:lnTo>
                <a:lnTo>
                  <a:pt x="5625" y="4510"/>
                </a:lnTo>
                <a:lnTo>
                  <a:pt x="5630" y="4505"/>
                </a:lnTo>
                <a:lnTo>
                  <a:pt x="5633" y="4499"/>
                </a:lnTo>
                <a:lnTo>
                  <a:pt x="5636" y="4493"/>
                </a:lnTo>
                <a:lnTo>
                  <a:pt x="5639" y="4486"/>
                </a:lnTo>
                <a:lnTo>
                  <a:pt x="5641" y="4479"/>
                </a:lnTo>
                <a:lnTo>
                  <a:pt x="5642" y="4470"/>
                </a:lnTo>
                <a:lnTo>
                  <a:pt x="5643" y="4462"/>
                </a:lnTo>
                <a:lnTo>
                  <a:pt x="5644" y="4453"/>
                </a:lnTo>
                <a:lnTo>
                  <a:pt x="5644" y="4436"/>
                </a:lnTo>
                <a:lnTo>
                  <a:pt x="5643" y="4417"/>
                </a:lnTo>
                <a:lnTo>
                  <a:pt x="5637" y="4378"/>
                </a:lnTo>
                <a:lnTo>
                  <a:pt x="5630" y="4337"/>
                </a:lnTo>
                <a:lnTo>
                  <a:pt x="5627" y="4319"/>
                </a:lnTo>
                <a:lnTo>
                  <a:pt x="5624" y="4301"/>
                </a:lnTo>
                <a:lnTo>
                  <a:pt x="5622" y="4285"/>
                </a:lnTo>
                <a:lnTo>
                  <a:pt x="5622" y="4270"/>
                </a:lnTo>
                <a:lnTo>
                  <a:pt x="5627" y="4268"/>
                </a:lnTo>
                <a:lnTo>
                  <a:pt x="5633" y="4268"/>
                </a:lnTo>
                <a:lnTo>
                  <a:pt x="5640" y="4268"/>
                </a:lnTo>
                <a:lnTo>
                  <a:pt x="5647" y="4268"/>
                </a:lnTo>
                <a:lnTo>
                  <a:pt x="5663" y="4270"/>
                </a:lnTo>
                <a:lnTo>
                  <a:pt x="5679" y="4272"/>
                </a:lnTo>
                <a:lnTo>
                  <a:pt x="5693" y="4275"/>
                </a:lnTo>
                <a:lnTo>
                  <a:pt x="5705" y="4276"/>
                </a:lnTo>
                <a:lnTo>
                  <a:pt x="5710" y="4275"/>
                </a:lnTo>
                <a:lnTo>
                  <a:pt x="5713" y="4274"/>
                </a:lnTo>
                <a:lnTo>
                  <a:pt x="5716" y="4273"/>
                </a:lnTo>
                <a:lnTo>
                  <a:pt x="5716" y="4270"/>
                </a:lnTo>
                <a:lnTo>
                  <a:pt x="5732" y="4271"/>
                </a:lnTo>
                <a:lnTo>
                  <a:pt x="5750" y="4274"/>
                </a:lnTo>
                <a:lnTo>
                  <a:pt x="5767" y="4279"/>
                </a:lnTo>
                <a:lnTo>
                  <a:pt x="5786" y="4284"/>
                </a:lnTo>
                <a:lnTo>
                  <a:pt x="5823" y="4296"/>
                </a:lnTo>
                <a:lnTo>
                  <a:pt x="5862" y="4306"/>
                </a:lnTo>
                <a:lnTo>
                  <a:pt x="5880" y="4309"/>
                </a:lnTo>
                <a:lnTo>
                  <a:pt x="5898" y="4310"/>
                </a:lnTo>
                <a:lnTo>
                  <a:pt x="5907" y="4309"/>
                </a:lnTo>
                <a:lnTo>
                  <a:pt x="5915" y="4308"/>
                </a:lnTo>
                <a:lnTo>
                  <a:pt x="5923" y="4307"/>
                </a:lnTo>
                <a:lnTo>
                  <a:pt x="5931" y="4304"/>
                </a:lnTo>
                <a:lnTo>
                  <a:pt x="5939" y="4301"/>
                </a:lnTo>
                <a:lnTo>
                  <a:pt x="5946" y="4296"/>
                </a:lnTo>
                <a:lnTo>
                  <a:pt x="5953" y="4291"/>
                </a:lnTo>
                <a:lnTo>
                  <a:pt x="5959" y="4285"/>
                </a:lnTo>
                <a:lnTo>
                  <a:pt x="5965" y="4278"/>
                </a:lnTo>
                <a:lnTo>
                  <a:pt x="5971" y="4269"/>
                </a:lnTo>
                <a:lnTo>
                  <a:pt x="5976" y="4259"/>
                </a:lnTo>
                <a:lnTo>
                  <a:pt x="5981" y="4248"/>
                </a:lnTo>
                <a:lnTo>
                  <a:pt x="5994" y="4254"/>
                </a:lnTo>
                <a:lnTo>
                  <a:pt x="6004" y="4260"/>
                </a:lnTo>
                <a:lnTo>
                  <a:pt x="6014" y="4266"/>
                </a:lnTo>
                <a:lnTo>
                  <a:pt x="6022" y="4271"/>
                </a:lnTo>
                <a:lnTo>
                  <a:pt x="6035" y="4282"/>
                </a:lnTo>
                <a:lnTo>
                  <a:pt x="6045" y="4293"/>
                </a:lnTo>
                <a:lnTo>
                  <a:pt x="6052" y="4302"/>
                </a:lnTo>
                <a:lnTo>
                  <a:pt x="6057" y="4311"/>
                </a:lnTo>
                <a:lnTo>
                  <a:pt x="6061" y="4319"/>
                </a:lnTo>
                <a:lnTo>
                  <a:pt x="6064" y="4326"/>
                </a:lnTo>
                <a:lnTo>
                  <a:pt x="6067" y="4332"/>
                </a:lnTo>
                <a:lnTo>
                  <a:pt x="6070" y="4336"/>
                </a:lnTo>
                <a:lnTo>
                  <a:pt x="6073" y="4337"/>
                </a:lnTo>
                <a:lnTo>
                  <a:pt x="6076" y="4338"/>
                </a:lnTo>
                <a:lnTo>
                  <a:pt x="6079" y="4339"/>
                </a:lnTo>
                <a:lnTo>
                  <a:pt x="6083" y="4339"/>
                </a:lnTo>
                <a:lnTo>
                  <a:pt x="6094" y="4338"/>
                </a:lnTo>
                <a:lnTo>
                  <a:pt x="6108" y="4335"/>
                </a:lnTo>
                <a:lnTo>
                  <a:pt x="6127" y="4330"/>
                </a:lnTo>
                <a:lnTo>
                  <a:pt x="6151" y="4322"/>
                </a:lnTo>
                <a:lnTo>
                  <a:pt x="6151" y="4326"/>
                </a:lnTo>
                <a:lnTo>
                  <a:pt x="6152" y="4330"/>
                </a:lnTo>
                <a:lnTo>
                  <a:pt x="6154" y="4335"/>
                </a:lnTo>
                <a:lnTo>
                  <a:pt x="6157" y="4340"/>
                </a:lnTo>
                <a:lnTo>
                  <a:pt x="6165" y="4353"/>
                </a:lnTo>
                <a:lnTo>
                  <a:pt x="6176" y="4367"/>
                </a:lnTo>
                <a:lnTo>
                  <a:pt x="6188" y="4382"/>
                </a:lnTo>
                <a:lnTo>
                  <a:pt x="6202" y="4398"/>
                </a:lnTo>
                <a:lnTo>
                  <a:pt x="6217" y="4414"/>
                </a:lnTo>
                <a:lnTo>
                  <a:pt x="6232" y="4430"/>
                </a:lnTo>
                <a:lnTo>
                  <a:pt x="6265" y="4461"/>
                </a:lnTo>
                <a:lnTo>
                  <a:pt x="6294" y="4488"/>
                </a:lnTo>
                <a:lnTo>
                  <a:pt x="6306" y="4499"/>
                </a:lnTo>
                <a:lnTo>
                  <a:pt x="6317" y="4507"/>
                </a:lnTo>
                <a:lnTo>
                  <a:pt x="6325" y="4511"/>
                </a:lnTo>
                <a:lnTo>
                  <a:pt x="6330" y="4513"/>
                </a:lnTo>
                <a:lnTo>
                  <a:pt x="6330" y="4518"/>
                </a:lnTo>
                <a:lnTo>
                  <a:pt x="6330" y="4525"/>
                </a:lnTo>
                <a:lnTo>
                  <a:pt x="6331" y="4533"/>
                </a:lnTo>
                <a:lnTo>
                  <a:pt x="6333" y="4542"/>
                </a:lnTo>
                <a:lnTo>
                  <a:pt x="6334" y="4547"/>
                </a:lnTo>
                <a:lnTo>
                  <a:pt x="6336" y="4551"/>
                </a:lnTo>
                <a:lnTo>
                  <a:pt x="6339" y="4555"/>
                </a:lnTo>
                <a:lnTo>
                  <a:pt x="6342" y="4558"/>
                </a:lnTo>
                <a:lnTo>
                  <a:pt x="6346" y="4561"/>
                </a:lnTo>
                <a:lnTo>
                  <a:pt x="6350" y="4564"/>
                </a:lnTo>
                <a:lnTo>
                  <a:pt x="6355" y="4565"/>
                </a:lnTo>
                <a:lnTo>
                  <a:pt x="6361" y="4566"/>
                </a:lnTo>
                <a:lnTo>
                  <a:pt x="6361" y="4571"/>
                </a:lnTo>
                <a:lnTo>
                  <a:pt x="6361" y="4574"/>
                </a:lnTo>
                <a:lnTo>
                  <a:pt x="6360" y="4577"/>
                </a:lnTo>
                <a:lnTo>
                  <a:pt x="6358" y="4578"/>
                </a:lnTo>
                <a:lnTo>
                  <a:pt x="6355" y="4577"/>
                </a:lnTo>
                <a:lnTo>
                  <a:pt x="6351" y="4576"/>
                </a:lnTo>
                <a:lnTo>
                  <a:pt x="6349" y="4576"/>
                </a:lnTo>
                <a:lnTo>
                  <a:pt x="6347" y="4576"/>
                </a:lnTo>
                <a:lnTo>
                  <a:pt x="6345" y="4577"/>
                </a:lnTo>
                <a:lnTo>
                  <a:pt x="6344" y="4580"/>
                </a:lnTo>
                <a:lnTo>
                  <a:pt x="6343" y="4584"/>
                </a:lnTo>
                <a:lnTo>
                  <a:pt x="6341" y="4589"/>
                </a:lnTo>
                <a:lnTo>
                  <a:pt x="6341" y="4597"/>
                </a:lnTo>
                <a:lnTo>
                  <a:pt x="6341" y="4608"/>
                </a:lnTo>
                <a:lnTo>
                  <a:pt x="6352" y="4610"/>
                </a:lnTo>
                <a:lnTo>
                  <a:pt x="6370" y="4612"/>
                </a:lnTo>
                <a:lnTo>
                  <a:pt x="6390" y="4614"/>
                </a:lnTo>
                <a:lnTo>
                  <a:pt x="6412" y="4615"/>
                </a:lnTo>
                <a:lnTo>
                  <a:pt x="6423" y="4614"/>
                </a:lnTo>
                <a:lnTo>
                  <a:pt x="6433" y="4613"/>
                </a:lnTo>
                <a:lnTo>
                  <a:pt x="6442" y="4612"/>
                </a:lnTo>
                <a:lnTo>
                  <a:pt x="6451" y="4609"/>
                </a:lnTo>
                <a:lnTo>
                  <a:pt x="6458" y="4605"/>
                </a:lnTo>
                <a:lnTo>
                  <a:pt x="6463" y="4601"/>
                </a:lnTo>
                <a:lnTo>
                  <a:pt x="6465" y="4597"/>
                </a:lnTo>
                <a:lnTo>
                  <a:pt x="6467" y="4594"/>
                </a:lnTo>
                <a:lnTo>
                  <a:pt x="6467" y="4590"/>
                </a:lnTo>
                <a:lnTo>
                  <a:pt x="6468" y="4587"/>
                </a:lnTo>
                <a:lnTo>
                  <a:pt x="6480" y="4586"/>
                </a:lnTo>
                <a:lnTo>
                  <a:pt x="6493" y="4583"/>
                </a:lnTo>
                <a:lnTo>
                  <a:pt x="6504" y="4578"/>
                </a:lnTo>
                <a:lnTo>
                  <a:pt x="6515" y="4573"/>
                </a:lnTo>
                <a:lnTo>
                  <a:pt x="6525" y="4565"/>
                </a:lnTo>
                <a:lnTo>
                  <a:pt x="6535" y="4557"/>
                </a:lnTo>
                <a:lnTo>
                  <a:pt x="6544" y="4547"/>
                </a:lnTo>
                <a:lnTo>
                  <a:pt x="6552" y="4537"/>
                </a:lnTo>
                <a:lnTo>
                  <a:pt x="6559" y="4526"/>
                </a:lnTo>
                <a:lnTo>
                  <a:pt x="6565" y="4514"/>
                </a:lnTo>
                <a:lnTo>
                  <a:pt x="6571" y="4502"/>
                </a:lnTo>
                <a:lnTo>
                  <a:pt x="6576" y="4489"/>
                </a:lnTo>
                <a:lnTo>
                  <a:pt x="6579" y="4477"/>
                </a:lnTo>
                <a:lnTo>
                  <a:pt x="6582" y="4463"/>
                </a:lnTo>
                <a:lnTo>
                  <a:pt x="6584" y="4451"/>
                </a:lnTo>
                <a:lnTo>
                  <a:pt x="6584" y="4439"/>
                </a:lnTo>
                <a:lnTo>
                  <a:pt x="6588" y="4437"/>
                </a:lnTo>
                <a:lnTo>
                  <a:pt x="6592" y="4437"/>
                </a:lnTo>
                <a:lnTo>
                  <a:pt x="6597" y="4438"/>
                </a:lnTo>
                <a:lnTo>
                  <a:pt x="6602" y="4441"/>
                </a:lnTo>
                <a:lnTo>
                  <a:pt x="6606" y="4445"/>
                </a:lnTo>
                <a:lnTo>
                  <a:pt x="6611" y="4450"/>
                </a:lnTo>
                <a:lnTo>
                  <a:pt x="6617" y="4456"/>
                </a:lnTo>
                <a:lnTo>
                  <a:pt x="6622" y="4463"/>
                </a:lnTo>
                <a:lnTo>
                  <a:pt x="6633" y="4481"/>
                </a:lnTo>
                <a:lnTo>
                  <a:pt x="6643" y="4501"/>
                </a:lnTo>
                <a:lnTo>
                  <a:pt x="6655" y="4522"/>
                </a:lnTo>
                <a:lnTo>
                  <a:pt x="6666" y="4545"/>
                </a:lnTo>
                <a:lnTo>
                  <a:pt x="6677" y="4568"/>
                </a:lnTo>
                <a:lnTo>
                  <a:pt x="6689" y="4590"/>
                </a:lnTo>
                <a:lnTo>
                  <a:pt x="6700" y="4612"/>
                </a:lnTo>
                <a:lnTo>
                  <a:pt x="6711" y="4632"/>
                </a:lnTo>
                <a:lnTo>
                  <a:pt x="6722" y="4648"/>
                </a:lnTo>
                <a:lnTo>
                  <a:pt x="6733" y="4661"/>
                </a:lnTo>
                <a:lnTo>
                  <a:pt x="6738" y="4665"/>
                </a:lnTo>
                <a:lnTo>
                  <a:pt x="6744" y="4669"/>
                </a:lnTo>
                <a:lnTo>
                  <a:pt x="6749" y="4671"/>
                </a:lnTo>
                <a:lnTo>
                  <a:pt x="6754" y="4672"/>
                </a:lnTo>
                <a:lnTo>
                  <a:pt x="6762" y="4683"/>
                </a:lnTo>
                <a:lnTo>
                  <a:pt x="6771" y="4695"/>
                </a:lnTo>
                <a:lnTo>
                  <a:pt x="6782" y="4707"/>
                </a:lnTo>
                <a:lnTo>
                  <a:pt x="6794" y="4720"/>
                </a:lnTo>
                <a:lnTo>
                  <a:pt x="6820" y="4747"/>
                </a:lnTo>
                <a:lnTo>
                  <a:pt x="6847" y="4774"/>
                </a:lnTo>
                <a:lnTo>
                  <a:pt x="6860" y="4787"/>
                </a:lnTo>
                <a:lnTo>
                  <a:pt x="6873" y="4800"/>
                </a:lnTo>
                <a:lnTo>
                  <a:pt x="6884" y="4813"/>
                </a:lnTo>
                <a:lnTo>
                  <a:pt x="6893" y="4826"/>
                </a:lnTo>
                <a:lnTo>
                  <a:pt x="6901" y="4838"/>
                </a:lnTo>
                <a:lnTo>
                  <a:pt x="6907" y="4850"/>
                </a:lnTo>
                <a:lnTo>
                  <a:pt x="6910" y="4857"/>
                </a:lnTo>
                <a:lnTo>
                  <a:pt x="6911" y="4862"/>
                </a:lnTo>
                <a:lnTo>
                  <a:pt x="6912" y="4868"/>
                </a:lnTo>
                <a:lnTo>
                  <a:pt x="6913" y="4873"/>
                </a:lnTo>
                <a:lnTo>
                  <a:pt x="6931" y="4888"/>
                </a:lnTo>
                <a:lnTo>
                  <a:pt x="6948" y="4902"/>
                </a:lnTo>
                <a:lnTo>
                  <a:pt x="6952" y="4906"/>
                </a:lnTo>
                <a:lnTo>
                  <a:pt x="6955" y="4911"/>
                </a:lnTo>
                <a:lnTo>
                  <a:pt x="6958" y="4917"/>
                </a:lnTo>
                <a:lnTo>
                  <a:pt x="6960" y="4925"/>
                </a:lnTo>
                <a:lnTo>
                  <a:pt x="6962" y="4933"/>
                </a:lnTo>
                <a:lnTo>
                  <a:pt x="6964" y="4943"/>
                </a:lnTo>
                <a:lnTo>
                  <a:pt x="6965" y="4954"/>
                </a:lnTo>
                <a:lnTo>
                  <a:pt x="6965" y="4968"/>
                </a:lnTo>
                <a:lnTo>
                  <a:pt x="6968" y="4967"/>
                </a:lnTo>
                <a:lnTo>
                  <a:pt x="6971" y="4966"/>
                </a:lnTo>
                <a:lnTo>
                  <a:pt x="6975" y="4965"/>
                </a:lnTo>
                <a:lnTo>
                  <a:pt x="6978" y="4962"/>
                </a:lnTo>
                <a:lnTo>
                  <a:pt x="6986" y="4957"/>
                </a:lnTo>
                <a:lnTo>
                  <a:pt x="6994" y="4950"/>
                </a:lnTo>
                <a:lnTo>
                  <a:pt x="7010" y="4934"/>
                </a:lnTo>
                <a:lnTo>
                  <a:pt x="7025" y="4919"/>
                </a:lnTo>
                <a:lnTo>
                  <a:pt x="7033" y="4913"/>
                </a:lnTo>
                <a:lnTo>
                  <a:pt x="7039" y="4910"/>
                </a:lnTo>
                <a:lnTo>
                  <a:pt x="7042" y="4909"/>
                </a:lnTo>
                <a:lnTo>
                  <a:pt x="7045" y="4908"/>
                </a:lnTo>
                <a:lnTo>
                  <a:pt x="7048" y="4909"/>
                </a:lnTo>
                <a:lnTo>
                  <a:pt x="7050" y="4910"/>
                </a:lnTo>
                <a:lnTo>
                  <a:pt x="7053" y="4912"/>
                </a:lnTo>
                <a:lnTo>
                  <a:pt x="7055" y="4915"/>
                </a:lnTo>
                <a:lnTo>
                  <a:pt x="7057" y="4919"/>
                </a:lnTo>
                <a:lnTo>
                  <a:pt x="7058" y="4925"/>
                </a:lnTo>
                <a:lnTo>
                  <a:pt x="7060" y="4938"/>
                </a:lnTo>
                <a:lnTo>
                  <a:pt x="7061" y="4957"/>
                </a:lnTo>
                <a:lnTo>
                  <a:pt x="7067" y="4958"/>
                </a:lnTo>
                <a:lnTo>
                  <a:pt x="7074" y="4960"/>
                </a:lnTo>
                <a:lnTo>
                  <a:pt x="7083" y="4963"/>
                </a:lnTo>
                <a:lnTo>
                  <a:pt x="7092" y="4968"/>
                </a:lnTo>
                <a:lnTo>
                  <a:pt x="7101" y="4974"/>
                </a:lnTo>
                <a:lnTo>
                  <a:pt x="7111" y="4981"/>
                </a:lnTo>
                <a:lnTo>
                  <a:pt x="7122" y="4988"/>
                </a:lnTo>
                <a:lnTo>
                  <a:pt x="7132" y="4997"/>
                </a:lnTo>
                <a:lnTo>
                  <a:pt x="7142" y="5005"/>
                </a:lnTo>
                <a:lnTo>
                  <a:pt x="7151" y="5014"/>
                </a:lnTo>
                <a:lnTo>
                  <a:pt x="7160" y="5024"/>
                </a:lnTo>
                <a:lnTo>
                  <a:pt x="7168" y="5034"/>
                </a:lnTo>
                <a:lnTo>
                  <a:pt x="7175" y="5044"/>
                </a:lnTo>
                <a:lnTo>
                  <a:pt x="7180" y="5054"/>
                </a:lnTo>
                <a:lnTo>
                  <a:pt x="7185" y="5064"/>
                </a:lnTo>
                <a:lnTo>
                  <a:pt x="7188" y="5073"/>
                </a:lnTo>
                <a:lnTo>
                  <a:pt x="7175" y="5074"/>
                </a:lnTo>
                <a:lnTo>
                  <a:pt x="7166" y="5077"/>
                </a:lnTo>
                <a:lnTo>
                  <a:pt x="7162" y="5078"/>
                </a:lnTo>
                <a:lnTo>
                  <a:pt x="7159" y="5080"/>
                </a:lnTo>
                <a:lnTo>
                  <a:pt x="7157" y="5082"/>
                </a:lnTo>
                <a:lnTo>
                  <a:pt x="7155" y="5085"/>
                </a:lnTo>
                <a:lnTo>
                  <a:pt x="7152" y="5091"/>
                </a:lnTo>
                <a:lnTo>
                  <a:pt x="7151" y="5097"/>
                </a:lnTo>
                <a:lnTo>
                  <a:pt x="7152" y="5104"/>
                </a:lnTo>
                <a:lnTo>
                  <a:pt x="7153" y="5111"/>
                </a:lnTo>
                <a:lnTo>
                  <a:pt x="7156" y="5125"/>
                </a:lnTo>
                <a:lnTo>
                  <a:pt x="7158" y="5137"/>
                </a:lnTo>
                <a:lnTo>
                  <a:pt x="7157" y="5141"/>
                </a:lnTo>
                <a:lnTo>
                  <a:pt x="7155" y="5145"/>
                </a:lnTo>
                <a:lnTo>
                  <a:pt x="7154" y="5146"/>
                </a:lnTo>
                <a:lnTo>
                  <a:pt x="7151" y="5147"/>
                </a:lnTo>
                <a:lnTo>
                  <a:pt x="7149" y="5148"/>
                </a:lnTo>
                <a:lnTo>
                  <a:pt x="7145" y="5148"/>
                </a:lnTo>
                <a:lnTo>
                  <a:pt x="7145" y="5155"/>
                </a:lnTo>
                <a:lnTo>
                  <a:pt x="7144" y="5160"/>
                </a:lnTo>
                <a:lnTo>
                  <a:pt x="7141" y="5165"/>
                </a:lnTo>
                <a:lnTo>
                  <a:pt x="7138" y="5170"/>
                </a:lnTo>
                <a:lnTo>
                  <a:pt x="7135" y="5173"/>
                </a:lnTo>
                <a:lnTo>
                  <a:pt x="7130" y="5176"/>
                </a:lnTo>
                <a:lnTo>
                  <a:pt x="7125" y="5179"/>
                </a:lnTo>
                <a:lnTo>
                  <a:pt x="7118" y="5181"/>
                </a:lnTo>
                <a:lnTo>
                  <a:pt x="7106" y="5184"/>
                </a:lnTo>
                <a:lnTo>
                  <a:pt x="7091" y="5185"/>
                </a:lnTo>
                <a:lnTo>
                  <a:pt x="7075" y="5184"/>
                </a:lnTo>
                <a:lnTo>
                  <a:pt x="7059" y="5182"/>
                </a:lnTo>
                <a:lnTo>
                  <a:pt x="7025" y="5176"/>
                </a:lnTo>
                <a:lnTo>
                  <a:pt x="6991" y="5169"/>
                </a:lnTo>
                <a:lnTo>
                  <a:pt x="6963" y="5162"/>
                </a:lnTo>
                <a:lnTo>
                  <a:pt x="6944" y="5159"/>
                </a:lnTo>
                <a:lnTo>
                  <a:pt x="6939" y="5179"/>
                </a:lnTo>
                <a:lnTo>
                  <a:pt x="6932" y="5197"/>
                </a:lnTo>
                <a:lnTo>
                  <a:pt x="6924" y="5212"/>
                </a:lnTo>
                <a:lnTo>
                  <a:pt x="6914" y="5226"/>
                </a:lnTo>
                <a:lnTo>
                  <a:pt x="6904" y="5239"/>
                </a:lnTo>
                <a:lnTo>
                  <a:pt x="6892" y="5250"/>
                </a:lnTo>
                <a:lnTo>
                  <a:pt x="6879" y="5259"/>
                </a:lnTo>
                <a:lnTo>
                  <a:pt x="6864" y="5266"/>
                </a:lnTo>
                <a:lnTo>
                  <a:pt x="6849" y="5272"/>
                </a:lnTo>
                <a:lnTo>
                  <a:pt x="6834" y="5276"/>
                </a:lnTo>
                <a:lnTo>
                  <a:pt x="6817" y="5280"/>
                </a:lnTo>
                <a:lnTo>
                  <a:pt x="6800" y="5282"/>
                </a:lnTo>
                <a:lnTo>
                  <a:pt x="6782" y="5284"/>
                </a:lnTo>
                <a:lnTo>
                  <a:pt x="6763" y="5284"/>
                </a:lnTo>
                <a:lnTo>
                  <a:pt x="6744" y="5284"/>
                </a:lnTo>
                <a:lnTo>
                  <a:pt x="6724" y="5283"/>
                </a:lnTo>
                <a:lnTo>
                  <a:pt x="6643" y="5277"/>
                </a:lnTo>
                <a:lnTo>
                  <a:pt x="6559" y="5270"/>
                </a:lnTo>
                <a:lnTo>
                  <a:pt x="6538" y="5269"/>
                </a:lnTo>
                <a:lnTo>
                  <a:pt x="6518" y="5268"/>
                </a:lnTo>
                <a:lnTo>
                  <a:pt x="6498" y="5268"/>
                </a:lnTo>
                <a:lnTo>
                  <a:pt x="6477" y="5269"/>
                </a:lnTo>
                <a:lnTo>
                  <a:pt x="6458" y="5271"/>
                </a:lnTo>
                <a:lnTo>
                  <a:pt x="6440" y="5273"/>
                </a:lnTo>
                <a:lnTo>
                  <a:pt x="6421" y="5277"/>
                </a:lnTo>
                <a:lnTo>
                  <a:pt x="6404" y="5282"/>
                </a:lnTo>
                <a:lnTo>
                  <a:pt x="6395" y="5285"/>
                </a:lnTo>
                <a:lnTo>
                  <a:pt x="6385" y="5289"/>
                </a:lnTo>
                <a:lnTo>
                  <a:pt x="6375" y="5295"/>
                </a:lnTo>
                <a:lnTo>
                  <a:pt x="6364" y="5301"/>
                </a:lnTo>
                <a:lnTo>
                  <a:pt x="6341" y="5316"/>
                </a:lnTo>
                <a:lnTo>
                  <a:pt x="6318" y="5335"/>
                </a:lnTo>
                <a:lnTo>
                  <a:pt x="6294" y="5356"/>
                </a:lnTo>
                <a:lnTo>
                  <a:pt x="6270" y="5379"/>
                </a:lnTo>
                <a:lnTo>
                  <a:pt x="6247" y="5404"/>
                </a:lnTo>
                <a:lnTo>
                  <a:pt x="6223" y="5430"/>
                </a:lnTo>
                <a:lnTo>
                  <a:pt x="6201" y="5456"/>
                </a:lnTo>
                <a:lnTo>
                  <a:pt x="6180" y="5485"/>
                </a:lnTo>
                <a:lnTo>
                  <a:pt x="6162" y="5512"/>
                </a:lnTo>
                <a:lnTo>
                  <a:pt x="6145" y="5539"/>
                </a:lnTo>
                <a:lnTo>
                  <a:pt x="6138" y="5552"/>
                </a:lnTo>
                <a:lnTo>
                  <a:pt x="6131" y="5565"/>
                </a:lnTo>
                <a:lnTo>
                  <a:pt x="6125" y="5578"/>
                </a:lnTo>
                <a:lnTo>
                  <a:pt x="6120" y="5590"/>
                </a:lnTo>
                <a:lnTo>
                  <a:pt x="6116" y="5602"/>
                </a:lnTo>
                <a:lnTo>
                  <a:pt x="6112" y="5614"/>
                </a:lnTo>
                <a:lnTo>
                  <a:pt x="6109" y="5625"/>
                </a:lnTo>
                <a:lnTo>
                  <a:pt x="6107" y="5635"/>
                </a:lnTo>
                <a:lnTo>
                  <a:pt x="6119" y="5635"/>
                </a:lnTo>
                <a:lnTo>
                  <a:pt x="6130" y="5634"/>
                </a:lnTo>
                <a:lnTo>
                  <a:pt x="6140" y="5633"/>
                </a:lnTo>
                <a:lnTo>
                  <a:pt x="6150" y="5631"/>
                </a:lnTo>
                <a:lnTo>
                  <a:pt x="6168" y="5626"/>
                </a:lnTo>
                <a:lnTo>
                  <a:pt x="6186" y="5619"/>
                </a:lnTo>
                <a:lnTo>
                  <a:pt x="6203" y="5611"/>
                </a:lnTo>
                <a:lnTo>
                  <a:pt x="6219" y="5601"/>
                </a:lnTo>
                <a:lnTo>
                  <a:pt x="6234" y="5590"/>
                </a:lnTo>
                <a:lnTo>
                  <a:pt x="6251" y="5579"/>
                </a:lnTo>
                <a:lnTo>
                  <a:pt x="6281" y="5556"/>
                </a:lnTo>
                <a:lnTo>
                  <a:pt x="6312" y="5534"/>
                </a:lnTo>
                <a:lnTo>
                  <a:pt x="6329" y="5523"/>
                </a:lnTo>
                <a:lnTo>
                  <a:pt x="6346" y="5513"/>
                </a:lnTo>
                <a:lnTo>
                  <a:pt x="6365" y="5505"/>
                </a:lnTo>
                <a:lnTo>
                  <a:pt x="6383" y="5497"/>
                </a:lnTo>
                <a:lnTo>
                  <a:pt x="6399" y="5497"/>
                </a:lnTo>
                <a:lnTo>
                  <a:pt x="6412" y="5495"/>
                </a:lnTo>
                <a:lnTo>
                  <a:pt x="6425" y="5492"/>
                </a:lnTo>
                <a:lnTo>
                  <a:pt x="6437" y="5489"/>
                </a:lnTo>
                <a:lnTo>
                  <a:pt x="6447" y="5485"/>
                </a:lnTo>
                <a:lnTo>
                  <a:pt x="6457" y="5479"/>
                </a:lnTo>
                <a:lnTo>
                  <a:pt x="6467" y="5473"/>
                </a:lnTo>
                <a:lnTo>
                  <a:pt x="6476" y="5468"/>
                </a:lnTo>
                <a:lnTo>
                  <a:pt x="6495" y="5456"/>
                </a:lnTo>
                <a:lnTo>
                  <a:pt x="6515" y="5444"/>
                </a:lnTo>
                <a:lnTo>
                  <a:pt x="6526" y="5438"/>
                </a:lnTo>
                <a:lnTo>
                  <a:pt x="6537" y="5432"/>
                </a:lnTo>
                <a:lnTo>
                  <a:pt x="6550" y="5427"/>
                </a:lnTo>
                <a:lnTo>
                  <a:pt x="6563" y="5423"/>
                </a:lnTo>
                <a:lnTo>
                  <a:pt x="6564" y="5427"/>
                </a:lnTo>
                <a:lnTo>
                  <a:pt x="6564" y="5430"/>
                </a:lnTo>
                <a:lnTo>
                  <a:pt x="6565" y="5432"/>
                </a:lnTo>
                <a:lnTo>
                  <a:pt x="6567" y="5434"/>
                </a:lnTo>
                <a:lnTo>
                  <a:pt x="6570" y="5437"/>
                </a:lnTo>
                <a:lnTo>
                  <a:pt x="6574" y="5439"/>
                </a:lnTo>
                <a:lnTo>
                  <a:pt x="6578" y="5441"/>
                </a:lnTo>
                <a:lnTo>
                  <a:pt x="6581" y="5444"/>
                </a:lnTo>
                <a:lnTo>
                  <a:pt x="6582" y="5446"/>
                </a:lnTo>
                <a:lnTo>
                  <a:pt x="6583" y="5448"/>
                </a:lnTo>
                <a:lnTo>
                  <a:pt x="6584" y="5451"/>
                </a:lnTo>
                <a:lnTo>
                  <a:pt x="6584" y="5455"/>
                </a:lnTo>
                <a:lnTo>
                  <a:pt x="6571" y="5455"/>
                </a:lnTo>
                <a:lnTo>
                  <a:pt x="6559" y="5456"/>
                </a:lnTo>
                <a:lnTo>
                  <a:pt x="6548" y="5457"/>
                </a:lnTo>
                <a:lnTo>
                  <a:pt x="6539" y="5459"/>
                </a:lnTo>
                <a:lnTo>
                  <a:pt x="6531" y="5461"/>
                </a:lnTo>
                <a:lnTo>
                  <a:pt x="6524" y="5464"/>
                </a:lnTo>
                <a:lnTo>
                  <a:pt x="6518" y="5467"/>
                </a:lnTo>
                <a:lnTo>
                  <a:pt x="6513" y="5471"/>
                </a:lnTo>
                <a:lnTo>
                  <a:pt x="6509" y="5475"/>
                </a:lnTo>
                <a:lnTo>
                  <a:pt x="6506" y="5479"/>
                </a:lnTo>
                <a:lnTo>
                  <a:pt x="6503" y="5485"/>
                </a:lnTo>
                <a:lnTo>
                  <a:pt x="6502" y="5490"/>
                </a:lnTo>
                <a:lnTo>
                  <a:pt x="6502" y="5495"/>
                </a:lnTo>
                <a:lnTo>
                  <a:pt x="6502" y="5501"/>
                </a:lnTo>
                <a:lnTo>
                  <a:pt x="6503" y="5507"/>
                </a:lnTo>
                <a:lnTo>
                  <a:pt x="6504" y="5513"/>
                </a:lnTo>
                <a:lnTo>
                  <a:pt x="6509" y="5526"/>
                </a:lnTo>
                <a:lnTo>
                  <a:pt x="6515" y="5539"/>
                </a:lnTo>
                <a:lnTo>
                  <a:pt x="6523" y="5553"/>
                </a:lnTo>
                <a:lnTo>
                  <a:pt x="6532" y="5567"/>
                </a:lnTo>
                <a:lnTo>
                  <a:pt x="6551" y="5596"/>
                </a:lnTo>
                <a:lnTo>
                  <a:pt x="6569" y="5624"/>
                </a:lnTo>
                <a:lnTo>
                  <a:pt x="6577" y="5636"/>
                </a:lnTo>
                <a:lnTo>
                  <a:pt x="6585" y="5647"/>
                </a:lnTo>
                <a:lnTo>
                  <a:pt x="6593" y="5658"/>
                </a:lnTo>
                <a:lnTo>
                  <a:pt x="6602" y="5667"/>
                </a:lnTo>
                <a:lnTo>
                  <a:pt x="6610" y="5675"/>
                </a:lnTo>
                <a:lnTo>
                  <a:pt x="6620" y="5683"/>
                </a:lnTo>
                <a:lnTo>
                  <a:pt x="6629" y="5690"/>
                </a:lnTo>
                <a:lnTo>
                  <a:pt x="6638" y="5696"/>
                </a:lnTo>
                <a:lnTo>
                  <a:pt x="6648" y="5701"/>
                </a:lnTo>
                <a:lnTo>
                  <a:pt x="6658" y="5705"/>
                </a:lnTo>
                <a:lnTo>
                  <a:pt x="6668" y="5709"/>
                </a:lnTo>
                <a:lnTo>
                  <a:pt x="6678" y="5712"/>
                </a:lnTo>
                <a:lnTo>
                  <a:pt x="6688" y="5715"/>
                </a:lnTo>
                <a:lnTo>
                  <a:pt x="6699" y="5717"/>
                </a:lnTo>
                <a:lnTo>
                  <a:pt x="6710" y="5718"/>
                </a:lnTo>
                <a:lnTo>
                  <a:pt x="6722" y="5719"/>
                </a:lnTo>
                <a:lnTo>
                  <a:pt x="6718" y="5727"/>
                </a:lnTo>
                <a:lnTo>
                  <a:pt x="6713" y="5734"/>
                </a:lnTo>
                <a:lnTo>
                  <a:pt x="6707" y="5739"/>
                </a:lnTo>
                <a:lnTo>
                  <a:pt x="6700" y="5742"/>
                </a:lnTo>
                <a:lnTo>
                  <a:pt x="6685" y="5747"/>
                </a:lnTo>
                <a:lnTo>
                  <a:pt x="6669" y="5749"/>
                </a:lnTo>
                <a:lnTo>
                  <a:pt x="6661" y="5750"/>
                </a:lnTo>
                <a:lnTo>
                  <a:pt x="6653" y="5752"/>
                </a:lnTo>
                <a:lnTo>
                  <a:pt x="6646" y="5754"/>
                </a:lnTo>
                <a:lnTo>
                  <a:pt x="6640" y="5757"/>
                </a:lnTo>
                <a:lnTo>
                  <a:pt x="6635" y="5761"/>
                </a:lnTo>
                <a:lnTo>
                  <a:pt x="6631" y="5767"/>
                </a:lnTo>
                <a:lnTo>
                  <a:pt x="6628" y="5774"/>
                </a:lnTo>
                <a:lnTo>
                  <a:pt x="6627" y="5783"/>
                </a:lnTo>
                <a:lnTo>
                  <a:pt x="6601" y="5792"/>
                </a:lnTo>
                <a:lnTo>
                  <a:pt x="6572" y="5805"/>
                </a:lnTo>
                <a:lnTo>
                  <a:pt x="6559" y="5812"/>
                </a:lnTo>
                <a:lnTo>
                  <a:pt x="6547" y="5819"/>
                </a:lnTo>
                <a:lnTo>
                  <a:pt x="6542" y="5823"/>
                </a:lnTo>
                <a:lnTo>
                  <a:pt x="6537" y="5827"/>
                </a:lnTo>
                <a:lnTo>
                  <a:pt x="6534" y="5831"/>
                </a:lnTo>
                <a:lnTo>
                  <a:pt x="6531" y="5836"/>
                </a:lnTo>
                <a:lnTo>
                  <a:pt x="6478" y="5841"/>
                </a:lnTo>
                <a:lnTo>
                  <a:pt x="6446" y="5844"/>
                </a:lnTo>
                <a:lnTo>
                  <a:pt x="6436" y="5844"/>
                </a:lnTo>
                <a:lnTo>
                  <a:pt x="6430" y="5844"/>
                </a:lnTo>
                <a:lnTo>
                  <a:pt x="6428" y="5844"/>
                </a:lnTo>
                <a:lnTo>
                  <a:pt x="6426" y="5843"/>
                </a:lnTo>
                <a:lnTo>
                  <a:pt x="6426" y="5842"/>
                </a:lnTo>
                <a:lnTo>
                  <a:pt x="6426" y="5841"/>
                </a:lnTo>
                <a:lnTo>
                  <a:pt x="6430" y="5836"/>
                </a:lnTo>
                <a:lnTo>
                  <a:pt x="6439" y="5827"/>
                </a:lnTo>
                <a:lnTo>
                  <a:pt x="6444" y="5822"/>
                </a:lnTo>
                <a:lnTo>
                  <a:pt x="6449" y="5816"/>
                </a:lnTo>
                <a:lnTo>
                  <a:pt x="6453" y="5809"/>
                </a:lnTo>
                <a:lnTo>
                  <a:pt x="6456" y="5802"/>
                </a:lnTo>
                <a:lnTo>
                  <a:pt x="6458" y="5805"/>
                </a:lnTo>
                <a:lnTo>
                  <a:pt x="6461" y="5806"/>
                </a:lnTo>
                <a:lnTo>
                  <a:pt x="6465" y="5808"/>
                </a:lnTo>
                <a:lnTo>
                  <a:pt x="6469" y="5809"/>
                </a:lnTo>
                <a:lnTo>
                  <a:pt x="6480" y="5809"/>
                </a:lnTo>
                <a:lnTo>
                  <a:pt x="6492" y="5808"/>
                </a:lnTo>
                <a:lnTo>
                  <a:pt x="6513" y="5806"/>
                </a:lnTo>
                <a:lnTo>
                  <a:pt x="6521" y="5804"/>
                </a:lnTo>
                <a:lnTo>
                  <a:pt x="6517" y="5788"/>
                </a:lnTo>
                <a:lnTo>
                  <a:pt x="6513" y="5775"/>
                </a:lnTo>
                <a:lnTo>
                  <a:pt x="6509" y="5766"/>
                </a:lnTo>
                <a:lnTo>
                  <a:pt x="6507" y="5759"/>
                </a:lnTo>
                <a:lnTo>
                  <a:pt x="6505" y="5753"/>
                </a:lnTo>
                <a:lnTo>
                  <a:pt x="6505" y="5747"/>
                </a:lnTo>
                <a:lnTo>
                  <a:pt x="6507" y="5740"/>
                </a:lnTo>
                <a:lnTo>
                  <a:pt x="6511" y="5730"/>
                </a:lnTo>
                <a:lnTo>
                  <a:pt x="6494" y="5730"/>
                </a:lnTo>
                <a:lnTo>
                  <a:pt x="6477" y="5731"/>
                </a:lnTo>
                <a:lnTo>
                  <a:pt x="6463" y="5734"/>
                </a:lnTo>
                <a:lnTo>
                  <a:pt x="6449" y="5737"/>
                </a:lnTo>
                <a:lnTo>
                  <a:pt x="6422" y="5744"/>
                </a:lnTo>
                <a:lnTo>
                  <a:pt x="6398" y="5752"/>
                </a:lnTo>
                <a:lnTo>
                  <a:pt x="6374" y="5759"/>
                </a:lnTo>
                <a:lnTo>
                  <a:pt x="6350" y="5766"/>
                </a:lnTo>
                <a:lnTo>
                  <a:pt x="6338" y="5769"/>
                </a:lnTo>
                <a:lnTo>
                  <a:pt x="6325" y="5771"/>
                </a:lnTo>
                <a:lnTo>
                  <a:pt x="6312" y="5772"/>
                </a:lnTo>
                <a:lnTo>
                  <a:pt x="6299" y="5773"/>
                </a:lnTo>
                <a:lnTo>
                  <a:pt x="6292" y="5783"/>
                </a:lnTo>
                <a:lnTo>
                  <a:pt x="6281" y="5796"/>
                </a:lnTo>
                <a:lnTo>
                  <a:pt x="6267" y="5810"/>
                </a:lnTo>
                <a:lnTo>
                  <a:pt x="6252" y="5824"/>
                </a:lnTo>
                <a:lnTo>
                  <a:pt x="6235" y="5837"/>
                </a:lnTo>
                <a:lnTo>
                  <a:pt x="6219" y="5847"/>
                </a:lnTo>
                <a:lnTo>
                  <a:pt x="6212" y="5851"/>
                </a:lnTo>
                <a:lnTo>
                  <a:pt x="6205" y="5854"/>
                </a:lnTo>
                <a:lnTo>
                  <a:pt x="6198" y="5856"/>
                </a:lnTo>
                <a:lnTo>
                  <a:pt x="6193" y="5857"/>
                </a:lnTo>
                <a:lnTo>
                  <a:pt x="6183" y="5884"/>
                </a:lnTo>
                <a:lnTo>
                  <a:pt x="6172" y="5914"/>
                </a:lnTo>
                <a:lnTo>
                  <a:pt x="6158" y="5946"/>
                </a:lnTo>
                <a:lnTo>
                  <a:pt x="6143" y="5978"/>
                </a:lnTo>
                <a:lnTo>
                  <a:pt x="6134" y="5995"/>
                </a:lnTo>
                <a:lnTo>
                  <a:pt x="6126" y="6010"/>
                </a:lnTo>
                <a:lnTo>
                  <a:pt x="6116" y="6024"/>
                </a:lnTo>
                <a:lnTo>
                  <a:pt x="6106" y="6038"/>
                </a:lnTo>
                <a:lnTo>
                  <a:pt x="6096" y="6050"/>
                </a:lnTo>
                <a:lnTo>
                  <a:pt x="6086" y="6062"/>
                </a:lnTo>
                <a:lnTo>
                  <a:pt x="6076" y="6071"/>
                </a:lnTo>
                <a:lnTo>
                  <a:pt x="6066" y="6079"/>
                </a:lnTo>
                <a:lnTo>
                  <a:pt x="6065" y="6078"/>
                </a:lnTo>
                <a:lnTo>
                  <a:pt x="6064" y="6077"/>
                </a:lnTo>
                <a:lnTo>
                  <a:pt x="6062" y="6078"/>
                </a:lnTo>
                <a:lnTo>
                  <a:pt x="6059" y="6078"/>
                </a:lnTo>
                <a:lnTo>
                  <a:pt x="6052" y="6081"/>
                </a:lnTo>
                <a:lnTo>
                  <a:pt x="6042" y="6087"/>
                </a:lnTo>
                <a:lnTo>
                  <a:pt x="6019" y="6102"/>
                </a:lnTo>
                <a:lnTo>
                  <a:pt x="5993" y="6121"/>
                </a:lnTo>
                <a:lnTo>
                  <a:pt x="5966" y="6140"/>
                </a:lnTo>
                <a:lnTo>
                  <a:pt x="5944" y="6157"/>
                </a:lnTo>
                <a:lnTo>
                  <a:pt x="5936" y="6164"/>
                </a:lnTo>
                <a:lnTo>
                  <a:pt x="5930" y="6170"/>
                </a:lnTo>
                <a:lnTo>
                  <a:pt x="5929" y="6172"/>
                </a:lnTo>
                <a:lnTo>
                  <a:pt x="5928" y="6173"/>
                </a:lnTo>
                <a:lnTo>
                  <a:pt x="5927" y="6174"/>
                </a:lnTo>
                <a:lnTo>
                  <a:pt x="5928" y="6174"/>
                </a:lnTo>
                <a:lnTo>
                  <a:pt x="5922" y="6184"/>
                </a:lnTo>
                <a:lnTo>
                  <a:pt x="5915" y="6192"/>
                </a:lnTo>
                <a:lnTo>
                  <a:pt x="5909" y="6200"/>
                </a:lnTo>
                <a:lnTo>
                  <a:pt x="5903" y="6207"/>
                </a:lnTo>
                <a:lnTo>
                  <a:pt x="5891" y="6219"/>
                </a:lnTo>
                <a:lnTo>
                  <a:pt x="5879" y="6231"/>
                </a:lnTo>
                <a:lnTo>
                  <a:pt x="5873" y="6239"/>
                </a:lnTo>
                <a:lnTo>
                  <a:pt x="5868" y="6246"/>
                </a:lnTo>
                <a:lnTo>
                  <a:pt x="5863" y="6254"/>
                </a:lnTo>
                <a:lnTo>
                  <a:pt x="5857" y="6263"/>
                </a:lnTo>
                <a:lnTo>
                  <a:pt x="5853" y="6273"/>
                </a:lnTo>
                <a:lnTo>
                  <a:pt x="5849" y="6284"/>
                </a:lnTo>
                <a:lnTo>
                  <a:pt x="5846" y="6297"/>
                </a:lnTo>
                <a:lnTo>
                  <a:pt x="5843" y="6312"/>
                </a:lnTo>
                <a:lnTo>
                  <a:pt x="5841" y="6314"/>
                </a:lnTo>
                <a:lnTo>
                  <a:pt x="5838" y="6320"/>
                </a:lnTo>
                <a:lnTo>
                  <a:pt x="5834" y="6327"/>
                </a:lnTo>
                <a:lnTo>
                  <a:pt x="5830" y="6337"/>
                </a:lnTo>
                <a:lnTo>
                  <a:pt x="5822" y="6362"/>
                </a:lnTo>
                <a:lnTo>
                  <a:pt x="5813" y="6391"/>
                </a:lnTo>
                <a:lnTo>
                  <a:pt x="5804" y="6419"/>
                </a:lnTo>
                <a:lnTo>
                  <a:pt x="5797" y="6446"/>
                </a:lnTo>
                <a:lnTo>
                  <a:pt x="5792" y="6467"/>
                </a:lnTo>
                <a:lnTo>
                  <a:pt x="5791" y="6481"/>
                </a:lnTo>
                <a:lnTo>
                  <a:pt x="5785" y="6485"/>
                </a:lnTo>
                <a:lnTo>
                  <a:pt x="5779" y="6491"/>
                </a:lnTo>
                <a:lnTo>
                  <a:pt x="5773" y="6497"/>
                </a:lnTo>
                <a:lnTo>
                  <a:pt x="5768" y="6504"/>
                </a:lnTo>
                <a:lnTo>
                  <a:pt x="5757" y="6518"/>
                </a:lnTo>
                <a:lnTo>
                  <a:pt x="5748" y="6535"/>
                </a:lnTo>
                <a:lnTo>
                  <a:pt x="5727" y="6571"/>
                </a:lnTo>
                <a:lnTo>
                  <a:pt x="5707" y="6608"/>
                </a:lnTo>
                <a:lnTo>
                  <a:pt x="5696" y="6628"/>
                </a:lnTo>
                <a:lnTo>
                  <a:pt x="5685" y="6645"/>
                </a:lnTo>
                <a:lnTo>
                  <a:pt x="5678" y="6653"/>
                </a:lnTo>
                <a:lnTo>
                  <a:pt x="5672" y="6661"/>
                </a:lnTo>
                <a:lnTo>
                  <a:pt x="5666" y="6668"/>
                </a:lnTo>
                <a:lnTo>
                  <a:pt x="5659" y="6675"/>
                </a:lnTo>
                <a:lnTo>
                  <a:pt x="5651" y="6681"/>
                </a:lnTo>
                <a:lnTo>
                  <a:pt x="5644" y="6687"/>
                </a:lnTo>
                <a:lnTo>
                  <a:pt x="5636" y="6692"/>
                </a:lnTo>
                <a:lnTo>
                  <a:pt x="5628" y="6696"/>
                </a:lnTo>
                <a:lnTo>
                  <a:pt x="5619" y="6699"/>
                </a:lnTo>
                <a:lnTo>
                  <a:pt x="5610" y="6701"/>
                </a:lnTo>
                <a:lnTo>
                  <a:pt x="5599" y="6703"/>
                </a:lnTo>
                <a:lnTo>
                  <a:pt x="5589" y="6703"/>
                </a:lnTo>
                <a:lnTo>
                  <a:pt x="5583" y="6716"/>
                </a:lnTo>
                <a:lnTo>
                  <a:pt x="5576" y="6727"/>
                </a:lnTo>
                <a:lnTo>
                  <a:pt x="5569" y="6738"/>
                </a:lnTo>
                <a:lnTo>
                  <a:pt x="5562" y="6749"/>
                </a:lnTo>
                <a:lnTo>
                  <a:pt x="5547" y="6766"/>
                </a:lnTo>
                <a:lnTo>
                  <a:pt x="5531" y="6782"/>
                </a:lnTo>
                <a:lnTo>
                  <a:pt x="5500" y="6810"/>
                </a:lnTo>
                <a:lnTo>
                  <a:pt x="5468" y="6836"/>
                </a:lnTo>
                <a:lnTo>
                  <a:pt x="5454" y="6849"/>
                </a:lnTo>
                <a:lnTo>
                  <a:pt x="5441" y="6863"/>
                </a:lnTo>
                <a:lnTo>
                  <a:pt x="5435" y="6872"/>
                </a:lnTo>
                <a:lnTo>
                  <a:pt x="5429" y="6880"/>
                </a:lnTo>
                <a:lnTo>
                  <a:pt x="5424" y="6889"/>
                </a:lnTo>
                <a:lnTo>
                  <a:pt x="5419" y="6898"/>
                </a:lnTo>
                <a:lnTo>
                  <a:pt x="5415" y="6908"/>
                </a:lnTo>
                <a:lnTo>
                  <a:pt x="5411" y="6918"/>
                </a:lnTo>
                <a:lnTo>
                  <a:pt x="5407" y="6929"/>
                </a:lnTo>
                <a:lnTo>
                  <a:pt x="5405" y="6941"/>
                </a:lnTo>
                <a:lnTo>
                  <a:pt x="5402" y="6955"/>
                </a:lnTo>
                <a:lnTo>
                  <a:pt x="5401" y="6968"/>
                </a:lnTo>
                <a:lnTo>
                  <a:pt x="5400" y="6983"/>
                </a:lnTo>
                <a:lnTo>
                  <a:pt x="5399" y="7000"/>
                </a:lnTo>
                <a:lnTo>
                  <a:pt x="5403" y="7005"/>
                </a:lnTo>
                <a:lnTo>
                  <a:pt x="5407" y="7010"/>
                </a:lnTo>
                <a:lnTo>
                  <a:pt x="5410" y="7016"/>
                </a:lnTo>
                <a:lnTo>
                  <a:pt x="5413" y="7023"/>
                </a:lnTo>
                <a:lnTo>
                  <a:pt x="5420" y="7038"/>
                </a:lnTo>
                <a:lnTo>
                  <a:pt x="5426" y="7055"/>
                </a:lnTo>
                <a:lnTo>
                  <a:pt x="5431" y="7074"/>
                </a:lnTo>
                <a:lnTo>
                  <a:pt x="5436" y="7094"/>
                </a:lnTo>
                <a:lnTo>
                  <a:pt x="5441" y="7116"/>
                </a:lnTo>
                <a:lnTo>
                  <a:pt x="5445" y="7139"/>
                </a:lnTo>
                <a:lnTo>
                  <a:pt x="5452" y="7183"/>
                </a:lnTo>
                <a:lnTo>
                  <a:pt x="5458" y="7225"/>
                </a:lnTo>
                <a:lnTo>
                  <a:pt x="5464" y="7263"/>
                </a:lnTo>
                <a:lnTo>
                  <a:pt x="5469" y="7291"/>
                </a:lnTo>
                <a:lnTo>
                  <a:pt x="5475" y="7318"/>
                </a:lnTo>
                <a:lnTo>
                  <a:pt x="5480" y="7346"/>
                </a:lnTo>
                <a:lnTo>
                  <a:pt x="5483" y="7359"/>
                </a:lnTo>
                <a:lnTo>
                  <a:pt x="5484" y="7372"/>
                </a:lnTo>
                <a:lnTo>
                  <a:pt x="5484" y="7384"/>
                </a:lnTo>
                <a:lnTo>
                  <a:pt x="5483" y="7395"/>
                </a:lnTo>
                <a:lnTo>
                  <a:pt x="5480" y="7406"/>
                </a:lnTo>
                <a:lnTo>
                  <a:pt x="5476" y="7415"/>
                </a:lnTo>
                <a:lnTo>
                  <a:pt x="5474" y="7419"/>
                </a:lnTo>
                <a:lnTo>
                  <a:pt x="5470" y="7423"/>
                </a:lnTo>
                <a:lnTo>
                  <a:pt x="5467" y="7427"/>
                </a:lnTo>
                <a:lnTo>
                  <a:pt x="5463" y="7430"/>
                </a:lnTo>
                <a:lnTo>
                  <a:pt x="5458" y="7433"/>
                </a:lnTo>
                <a:lnTo>
                  <a:pt x="5453" y="7436"/>
                </a:lnTo>
                <a:lnTo>
                  <a:pt x="5448" y="7438"/>
                </a:lnTo>
                <a:lnTo>
                  <a:pt x="5441" y="7440"/>
                </a:lnTo>
                <a:lnTo>
                  <a:pt x="5427" y="7443"/>
                </a:lnTo>
                <a:lnTo>
                  <a:pt x="5410" y="7444"/>
                </a:lnTo>
                <a:lnTo>
                  <a:pt x="5395" y="7422"/>
                </a:lnTo>
                <a:lnTo>
                  <a:pt x="5371" y="7383"/>
                </a:lnTo>
                <a:lnTo>
                  <a:pt x="5359" y="7362"/>
                </a:lnTo>
                <a:lnTo>
                  <a:pt x="5349" y="7344"/>
                </a:lnTo>
                <a:lnTo>
                  <a:pt x="5346" y="7338"/>
                </a:lnTo>
                <a:lnTo>
                  <a:pt x="5344" y="7333"/>
                </a:lnTo>
                <a:lnTo>
                  <a:pt x="5344" y="7331"/>
                </a:lnTo>
                <a:lnTo>
                  <a:pt x="5344" y="7329"/>
                </a:lnTo>
                <a:lnTo>
                  <a:pt x="5345" y="7328"/>
                </a:lnTo>
                <a:lnTo>
                  <a:pt x="5346" y="7328"/>
                </a:lnTo>
                <a:lnTo>
                  <a:pt x="5345" y="7319"/>
                </a:lnTo>
                <a:lnTo>
                  <a:pt x="5343" y="7308"/>
                </a:lnTo>
                <a:lnTo>
                  <a:pt x="5341" y="7295"/>
                </a:lnTo>
                <a:lnTo>
                  <a:pt x="5337" y="7281"/>
                </a:lnTo>
                <a:lnTo>
                  <a:pt x="5327" y="7249"/>
                </a:lnTo>
                <a:lnTo>
                  <a:pt x="5315" y="7214"/>
                </a:lnTo>
                <a:lnTo>
                  <a:pt x="5302" y="7181"/>
                </a:lnTo>
                <a:lnTo>
                  <a:pt x="5288" y="7149"/>
                </a:lnTo>
                <a:lnTo>
                  <a:pt x="5281" y="7135"/>
                </a:lnTo>
                <a:lnTo>
                  <a:pt x="5274" y="7122"/>
                </a:lnTo>
                <a:lnTo>
                  <a:pt x="5268" y="7110"/>
                </a:lnTo>
                <a:lnTo>
                  <a:pt x="5262" y="7101"/>
                </a:lnTo>
                <a:lnTo>
                  <a:pt x="5258" y="7095"/>
                </a:lnTo>
                <a:lnTo>
                  <a:pt x="5253" y="7091"/>
                </a:lnTo>
                <a:lnTo>
                  <a:pt x="5249" y="7087"/>
                </a:lnTo>
                <a:lnTo>
                  <a:pt x="5245" y="7084"/>
                </a:lnTo>
                <a:lnTo>
                  <a:pt x="5240" y="7082"/>
                </a:lnTo>
                <a:lnTo>
                  <a:pt x="5235" y="7080"/>
                </a:lnTo>
                <a:lnTo>
                  <a:pt x="5230" y="7078"/>
                </a:lnTo>
                <a:lnTo>
                  <a:pt x="5224" y="7077"/>
                </a:lnTo>
                <a:lnTo>
                  <a:pt x="5213" y="7076"/>
                </a:lnTo>
                <a:lnTo>
                  <a:pt x="5202" y="7077"/>
                </a:lnTo>
                <a:lnTo>
                  <a:pt x="5190" y="7078"/>
                </a:lnTo>
                <a:lnTo>
                  <a:pt x="5179" y="7080"/>
                </a:lnTo>
                <a:lnTo>
                  <a:pt x="5154" y="7085"/>
                </a:lnTo>
                <a:lnTo>
                  <a:pt x="5130" y="7089"/>
                </a:lnTo>
                <a:lnTo>
                  <a:pt x="5117" y="7090"/>
                </a:lnTo>
                <a:lnTo>
                  <a:pt x="5105" y="7090"/>
                </a:lnTo>
                <a:lnTo>
                  <a:pt x="5093" y="7088"/>
                </a:lnTo>
                <a:lnTo>
                  <a:pt x="5081" y="7084"/>
                </a:lnTo>
                <a:lnTo>
                  <a:pt x="5078" y="7080"/>
                </a:lnTo>
                <a:lnTo>
                  <a:pt x="5075" y="7075"/>
                </a:lnTo>
                <a:lnTo>
                  <a:pt x="5070" y="7071"/>
                </a:lnTo>
                <a:lnTo>
                  <a:pt x="5065" y="7067"/>
                </a:lnTo>
                <a:lnTo>
                  <a:pt x="5053" y="7059"/>
                </a:lnTo>
                <a:lnTo>
                  <a:pt x="5038" y="7053"/>
                </a:lnTo>
                <a:lnTo>
                  <a:pt x="5021" y="7047"/>
                </a:lnTo>
                <a:lnTo>
                  <a:pt x="5003" y="7042"/>
                </a:lnTo>
                <a:lnTo>
                  <a:pt x="4984" y="7037"/>
                </a:lnTo>
                <a:lnTo>
                  <a:pt x="4963" y="7034"/>
                </a:lnTo>
                <a:lnTo>
                  <a:pt x="4921" y="7028"/>
                </a:lnTo>
                <a:lnTo>
                  <a:pt x="4881" y="7024"/>
                </a:lnTo>
                <a:lnTo>
                  <a:pt x="4845" y="7022"/>
                </a:lnTo>
                <a:lnTo>
                  <a:pt x="4817" y="7021"/>
                </a:lnTo>
                <a:lnTo>
                  <a:pt x="4821" y="7035"/>
                </a:lnTo>
                <a:lnTo>
                  <a:pt x="4827" y="7046"/>
                </a:lnTo>
                <a:lnTo>
                  <a:pt x="4834" y="7057"/>
                </a:lnTo>
                <a:lnTo>
                  <a:pt x="4840" y="7067"/>
                </a:lnTo>
                <a:lnTo>
                  <a:pt x="4847" y="7077"/>
                </a:lnTo>
                <a:lnTo>
                  <a:pt x="4853" y="7088"/>
                </a:lnTo>
                <a:lnTo>
                  <a:pt x="4856" y="7094"/>
                </a:lnTo>
                <a:lnTo>
                  <a:pt x="4857" y="7101"/>
                </a:lnTo>
                <a:lnTo>
                  <a:pt x="4859" y="7108"/>
                </a:lnTo>
                <a:lnTo>
                  <a:pt x="4860" y="7116"/>
                </a:lnTo>
                <a:lnTo>
                  <a:pt x="4823" y="7133"/>
                </a:lnTo>
                <a:lnTo>
                  <a:pt x="4792" y="7146"/>
                </a:lnTo>
                <a:lnTo>
                  <a:pt x="4777" y="7151"/>
                </a:lnTo>
                <a:lnTo>
                  <a:pt x="4761" y="7154"/>
                </a:lnTo>
                <a:lnTo>
                  <a:pt x="4752" y="7155"/>
                </a:lnTo>
                <a:lnTo>
                  <a:pt x="4743" y="7156"/>
                </a:lnTo>
                <a:lnTo>
                  <a:pt x="4734" y="7155"/>
                </a:lnTo>
                <a:lnTo>
                  <a:pt x="4723" y="7154"/>
                </a:lnTo>
                <a:lnTo>
                  <a:pt x="4707" y="7151"/>
                </a:lnTo>
                <a:lnTo>
                  <a:pt x="4694" y="7147"/>
                </a:lnTo>
                <a:lnTo>
                  <a:pt x="4681" y="7142"/>
                </a:lnTo>
                <a:lnTo>
                  <a:pt x="4671" y="7136"/>
                </a:lnTo>
                <a:lnTo>
                  <a:pt x="4653" y="7122"/>
                </a:lnTo>
                <a:lnTo>
                  <a:pt x="4636" y="7108"/>
                </a:lnTo>
                <a:lnTo>
                  <a:pt x="4628" y="7101"/>
                </a:lnTo>
                <a:lnTo>
                  <a:pt x="4620" y="7095"/>
                </a:lnTo>
                <a:lnTo>
                  <a:pt x="4611" y="7089"/>
                </a:lnTo>
                <a:lnTo>
                  <a:pt x="4600" y="7085"/>
                </a:lnTo>
                <a:lnTo>
                  <a:pt x="4588" y="7081"/>
                </a:lnTo>
                <a:lnTo>
                  <a:pt x="4575" y="7079"/>
                </a:lnTo>
                <a:lnTo>
                  <a:pt x="4559" y="7078"/>
                </a:lnTo>
                <a:lnTo>
                  <a:pt x="4542" y="7079"/>
                </a:lnTo>
                <a:lnTo>
                  <a:pt x="4527" y="7081"/>
                </a:lnTo>
                <a:lnTo>
                  <a:pt x="4512" y="7083"/>
                </a:lnTo>
                <a:lnTo>
                  <a:pt x="4498" y="7087"/>
                </a:lnTo>
                <a:lnTo>
                  <a:pt x="4484" y="7091"/>
                </a:lnTo>
                <a:lnTo>
                  <a:pt x="4469" y="7095"/>
                </a:lnTo>
                <a:lnTo>
                  <a:pt x="4456" y="7100"/>
                </a:lnTo>
                <a:lnTo>
                  <a:pt x="4443" y="7106"/>
                </a:lnTo>
                <a:lnTo>
                  <a:pt x="4430" y="7112"/>
                </a:lnTo>
                <a:lnTo>
                  <a:pt x="4418" y="7120"/>
                </a:lnTo>
                <a:lnTo>
                  <a:pt x="4406" y="7127"/>
                </a:lnTo>
                <a:lnTo>
                  <a:pt x="4395" y="7135"/>
                </a:lnTo>
                <a:lnTo>
                  <a:pt x="4384" y="7143"/>
                </a:lnTo>
                <a:lnTo>
                  <a:pt x="4373" y="7152"/>
                </a:lnTo>
                <a:lnTo>
                  <a:pt x="4363" y="7161"/>
                </a:lnTo>
                <a:lnTo>
                  <a:pt x="4353" y="7171"/>
                </a:lnTo>
                <a:lnTo>
                  <a:pt x="4343" y="7181"/>
                </a:lnTo>
                <a:lnTo>
                  <a:pt x="4334" y="7192"/>
                </a:lnTo>
                <a:lnTo>
                  <a:pt x="4326" y="7203"/>
                </a:lnTo>
                <a:lnTo>
                  <a:pt x="4318" y="7214"/>
                </a:lnTo>
                <a:lnTo>
                  <a:pt x="4311" y="7226"/>
                </a:lnTo>
                <a:lnTo>
                  <a:pt x="4304" y="7238"/>
                </a:lnTo>
                <a:lnTo>
                  <a:pt x="4298" y="7251"/>
                </a:lnTo>
                <a:lnTo>
                  <a:pt x="4292" y="7264"/>
                </a:lnTo>
                <a:lnTo>
                  <a:pt x="4287" y="7277"/>
                </a:lnTo>
                <a:lnTo>
                  <a:pt x="4282" y="7291"/>
                </a:lnTo>
                <a:lnTo>
                  <a:pt x="4278" y="7304"/>
                </a:lnTo>
                <a:lnTo>
                  <a:pt x="4275" y="7318"/>
                </a:lnTo>
                <a:lnTo>
                  <a:pt x="4272" y="7332"/>
                </a:lnTo>
                <a:lnTo>
                  <a:pt x="4270" y="7347"/>
                </a:lnTo>
                <a:lnTo>
                  <a:pt x="4268" y="7361"/>
                </a:lnTo>
                <a:lnTo>
                  <a:pt x="4267" y="7377"/>
                </a:lnTo>
                <a:lnTo>
                  <a:pt x="4267" y="7392"/>
                </a:lnTo>
                <a:lnTo>
                  <a:pt x="4265" y="7393"/>
                </a:lnTo>
                <a:lnTo>
                  <a:pt x="4264" y="7395"/>
                </a:lnTo>
                <a:lnTo>
                  <a:pt x="4262" y="7400"/>
                </a:lnTo>
                <a:lnTo>
                  <a:pt x="4261" y="7405"/>
                </a:lnTo>
                <a:lnTo>
                  <a:pt x="4259" y="7421"/>
                </a:lnTo>
                <a:lnTo>
                  <a:pt x="4257" y="7441"/>
                </a:lnTo>
                <a:lnTo>
                  <a:pt x="4255" y="7491"/>
                </a:lnTo>
                <a:lnTo>
                  <a:pt x="4254" y="7550"/>
                </a:lnTo>
                <a:lnTo>
                  <a:pt x="4255" y="7608"/>
                </a:lnTo>
                <a:lnTo>
                  <a:pt x="4257" y="7659"/>
                </a:lnTo>
                <a:lnTo>
                  <a:pt x="4259" y="7680"/>
                </a:lnTo>
                <a:lnTo>
                  <a:pt x="4261" y="7695"/>
                </a:lnTo>
                <a:lnTo>
                  <a:pt x="4262" y="7701"/>
                </a:lnTo>
                <a:lnTo>
                  <a:pt x="4264" y="7705"/>
                </a:lnTo>
                <a:lnTo>
                  <a:pt x="4265" y="7708"/>
                </a:lnTo>
                <a:lnTo>
                  <a:pt x="4267" y="7709"/>
                </a:lnTo>
                <a:lnTo>
                  <a:pt x="4268" y="7725"/>
                </a:lnTo>
                <a:lnTo>
                  <a:pt x="4270" y="7741"/>
                </a:lnTo>
                <a:lnTo>
                  <a:pt x="4274" y="7757"/>
                </a:lnTo>
                <a:lnTo>
                  <a:pt x="4278" y="7772"/>
                </a:lnTo>
                <a:lnTo>
                  <a:pt x="4284" y="7787"/>
                </a:lnTo>
                <a:lnTo>
                  <a:pt x="4290" y="7801"/>
                </a:lnTo>
                <a:lnTo>
                  <a:pt x="4297" y="7815"/>
                </a:lnTo>
                <a:lnTo>
                  <a:pt x="4304" y="7828"/>
                </a:lnTo>
                <a:lnTo>
                  <a:pt x="4317" y="7854"/>
                </a:lnTo>
                <a:lnTo>
                  <a:pt x="4329" y="7881"/>
                </a:lnTo>
                <a:lnTo>
                  <a:pt x="4333" y="7894"/>
                </a:lnTo>
                <a:lnTo>
                  <a:pt x="4337" y="7906"/>
                </a:lnTo>
                <a:lnTo>
                  <a:pt x="4339" y="7919"/>
                </a:lnTo>
                <a:lnTo>
                  <a:pt x="4340" y="7931"/>
                </a:lnTo>
                <a:lnTo>
                  <a:pt x="4348" y="7932"/>
                </a:lnTo>
                <a:lnTo>
                  <a:pt x="4355" y="7933"/>
                </a:lnTo>
                <a:lnTo>
                  <a:pt x="4362" y="7935"/>
                </a:lnTo>
                <a:lnTo>
                  <a:pt x="4368" y="7938"/>
                </a:lnTo>
                <a:lnTo>
                  <a:pt x="4382" y="7946"/>
                </a:lnTo>
                <a:lnTo>
                  <a:pt x="4396" y="7956"/>
                </a:lnTo>
                <a:lnTo>
                  <a:pt x="4410" y="7968"/>
                </a:lnTo>
                <a:lnTo>
                  <a:pt x="4424" y="7981"/>
                </a:lnTo>
                <a:lnTo>
                  <a:pt x="4438" y="7995"/>
                </a:lnTo>
                <a:lnTo>
                  <a:pt x="4452" y="8011"/>
                </a:lnTo>
                <a:lnTo>
                  <a:pt x="4466" y="8026"/>
                </a:lnTo>
                <a:lnTo>
                  <a:pt x="4481" y="8040"/>
                </a:lnTo>
                <a:lnTo>
                  <a:pt x="4495" y="8053"/>
                </a:lnTo>
                <a:lnTo>
                  <a:pt x="4509" y="8065"/>
                </a:lnTo>
                <a:lnTo>
                  <a:pt x="4523" y="8075"/>
                </a:lnTo>
                <a:lnTo>
                  <a:pt x="4536" y="8083"/>
                </a:lnTo>
                <a:lnTo>
                  <a:pt x="4543" y="8086"/>
                </a:lnTo>
                <a:lnTo>
                  <a:pt x="4550" y="8088"/>
                </a:lnTo>
                <a:lnTo>
                  <a:pt x="4556" y="8089"/>
                </a:lnTo>
                <a:lnTo>
                  <a:pt x="4563" y="8090"/>
                </a:lnTo>
                <a:lnTo>
                  <a:pt x="4564" y="8100"/>
                </a:lnTo>
                <a:lnTo>
                  <a:pt x="4564" y="8108"/>
                </a:lnTo>
                <a:lnTo>
                  <a:pt x="4563" y="8116"/>
                </a:lnTo>
                <a:lnTo>
                  <a:pt x="4563" y="8123"/>
                </a:lnTo>
                <a:lnTo>
                  <a:pt x="4562" y="8130"/>
                </a:lnTo>
                <a:lnTo>
                  <a:pt x="4562" y="8135"/>
                </a:lnTo>
                <a:lnTo>
                  <a:pt x="4562" y="8140"/>
                </a:lnTo>
                <a:lnTo>
                  <a:pt x="4563" y="8144"/>
                </a:lnTo>
                <a:lnTo>
                  <a:pt x="4566" y="8147"/>
                </a:lnTo>
                <a:lnTo>
                  <a:pt x="4570" y="8149"/>
                </a:lnTo>
                <a:lnTo>
                  <a:pt x="4576" y="8151"/>
                </a:lnTo>
                <a:lnTo>
                  <a:pt x="4585" y="8152"/>
                </a:lnTo>
                <a:lnTo>
                  <a:pt x="4610" y="8154"/>
                </a:lnTo>
                <a:lnTo>
                  <a:pt x="4648" y="8154"/>
                </a:lnTo>
                <a:lnTo>
                  <a:pt x="4658" y="8144"/>
                </a:lnTo>
                <a:lnTo>
                  <a:pt x="4681" y="8125"/>
                </a:lnTo>
                <a:lnTo>
                  <a:pt x="4694" y="8113"/>
                </a:lnTo>
                <a:lnTo>
                  <a:pt x="4706" y="8099"/>
                </a:lnTo>
                <a:lnTo>
                  <a:pt x="4711" y="8092"/>
                </a:lnTo>
                <a:lnTo>
                  <a:pt x="4716" y="8084"/>
                </a:lnTo>
                <a:lnTo>
                  <a:pt x="4719" y="8077"/>
                </a:lnTo>
                <a:lnTo>
                  <a:pt x="4721" y="8069"/>
                </a:lnTo>
                <a:lnTo>
                  <a:pt x="4714" y="8066"/>
                </a:lnTo>
                <a:lnTo>
                  <a:pt x="4708" y="8064"/>
                </a:lnTo>
                <a:lnTo>
                  <a:pt x="4702" y="8061"/>
                </a:lnTo>
                <a:lnTo>
                  <a:pt x="4698" y="8057"/>
                </a:lnTo>
                <a:lnTo>
                  <a:pt x="4694" y="8054"/>
                </a:lnTo>
                <a:lnTo>
                  <a:pt x="4691" y="8049"/>
                </a:lnTo>
                <a:lnTo>
                  <a:pt x="4689" y="8045"/>
                </a:lnTo>
                <a:lnTo>
                  <a:pt x="4687" y="8040"/>
                </a:lnTo>
                <a:lnTo>
                  <a:pt x="4686" y="8035"/>
                </a:lnTo>
                <a:lnTo>
                  <a:pt x="4686" y="8030"/>
                </a:lnTo>
                <a:lnTo>
                  <a:pt x="4687" y="8024"/>
                </a:lnTo>
                <a:lnTo>
                  <a:pt x="4688" y="8019"/>
                </a:lnTo>
                <a:lnTo>
                  <a:pt x="4691" y="8007"/>
                </a:lnTo>
                <a:lnTo>
                  <a:pt x="4697" y="7994"/>
                </a:lnTo>
                <a:lnTo>
                  <a:pt x="4704" y="7983"/>
                </a:lnTo>
                <a:lnTo>
                  <a:pt x="4712" y="7971"/>
                </a:lnTo>
                <a:lnTo>
                  <a:pt x="4721" y="7960"/>
                </a:lnTo>
                <a:lnTo>
                  <a:pt x="4733" y="7950"/>
                </a:lnTo>
                <a:lnTo>
                  <a:pt x="4743" y="7940"/>
                </a:lnTo>
                <a:lnTo>
                  <a:pt x="4754" y="7932"/>
                </a:lnTo>
                <a:lnTo>
                  <a:pt x="4765" y="7926"/>
                </a:lnTo>
                <a:lnTo>
                  <a:pt x="4775" y="7921"/>
                </a:lnTo>
                <a:lnTo>
                  <a:pt x="4775" y="7927"/>
                </a:lnTo>
                <a:lnTo>
                  <a:pt x="4776" y="7933"/>
                </a:lnTo>
                <a:lnTo>
                  <a:pt x="4777" y="7937"/>
                </a:lnTo>
                <a:lnTo>
                  <a:pt x="4779" y="7941"/>
                </a:lnTo>
                <a:lnTo>
                  <a:pt x="4782" y="7944"/>
                </a:lnTo>
                <a:lnTo>
                  <a:pt x="4784" y="7946"/>
                </a:lnTo>
                <a:lnTo>
                  <a:pt x="4788" y="7948"/>
                </a:lnTo>
                <a:lnTo>
                  <a:pt x="4791" y="7948"/>
                </a:lnTo>
                <a:lnTo>
                  <a:pt x="4799" y="7948"/>
                </a:lnTo>
                <a:lnTo>
                  <a:pt x="4808" y="7945"/>
                </a:lnTo>
                <a:lnTo>
                  <a:pt x="4817" y="7941"/>
                </a:lnTo>
                <a:lnTo>
                  <a:pt x="4827" y="7936"/>
                </a:lnTo>
                <a:lnTo>
                  <a:pt x="4837" y="7929"/>
                </a:lnTo>
                <a:lnTo>
                  <a:pt x="4846" y="7922"/>
                </a:lnTo>
                <a:lnTo>
                  <a:pt x="4856" y="7914"/>
                </a:lnTo>
                <a:lnTo>
                  <a:pt x="4864" y="7907"/>
                </a:lnTo>
                <a:lnTo>
                  <a:pt x="4876" y="7896"/>
                </a:lnTo>
                <a:lnTo>
                  <a:pt x="4881" y="7889"/>
                </a:lnTo>
                <a:lnTo>
                  <a:pt x="4904" y="7881"/>
                </a:lnTo>
                <a:lnTo>
                  <a:pt x="4943" y="7865"/>
                </a:lnTo>
                <a:lnTo>
                  <a:pt x="4981" y="7852"/>
                </a:lnTo>
                <a:lnTo>
                  <a:pt x="4997" y="7846"/>
                </a:lnTo>
                <a:lnTo>
                  <a:pt x="4998" y="7839"/>
                </a:lnTo>
                <a:lnTo>
                  <a:pt x="4998" y="7832"/>
                </a:lnTo>
                <a:lnTo>
                  <a:pt x="4999" y="7827"/>
                </a:lnTo>
                <a:lnTo>
                  <a:pt x="5001" y="7822"/>
                </a:lnTo>
                <a:lnTo>
                  <a:pt x="5002" y="7819"/>
                </a:lnTo>
                <a:lnTo>
                  <a:pt x="5004" y="7816"/>
                </a:lnTo>
                <a:lnTo>
                  <a:pt x="5006" y="7814"/>
                </a:lnTo>
                <a:lnTo>
                  <a:pt x="5009" y="7812"/>
                </a:lnTo>
                <a:lnTo>
                  <a:pt x="5011" y="7812"/>
                </a:lnTo>
                <a:lnTo>
                  <a:pt x="5014" y="7812"/>
                </a:lnTo>
                <a:lnTo>
                  <a:pt x="5017" y="7812"/>
                </a:lnTo>
                <a:lnTo>
                  <a:pt x="5019" y="7813"/>
                </a:lnTo>
                <a:lnTo>
                  <a:pt x="5025" y="7817"/>
                </a:lnTo>
                <a:lnTo>
                  <a:pt x="5029" y="7823"/>
                </a:lnTo>
                <a:lnTo>
                  <a:pt x="5034" y="7830"/>
                </a:lnTo>
                <a:lnTo>
                  <a:pt x="5037" y="7838"/>
                </a:lnTo>
                <a:lnTo>
                  <a:pt x="5039" y="7847"/>
                </a:lnTo>
                <a:lnTo>
                  <a:pt x="5039" y="7856"/>
                </a:lnTo>
                <a:lnTo>
                  <a:pt x="5039" y="7860"/>
                </a:lnTo>
                <a:lnTo>
                  <a:pt x="5038" y="7865"/>
                </a:lnTo>
                <a:lnTo>
                  <a:pt x="5036" y="7869"/>
                </a:lnTo>
                <a:lnTo>
                  <a:pt x="5034" y="7873"/>
                </a:lnTo>
                <a:lnTo>
                  <a:pt x="5031" y="7878"/>
                </a:lnTo>
                <a:lnTo>
                  <a:pt x="5027" y="7882"/>
                </a:lnTo>
                <a:lnTo>
                  <a:pt x="5023" y="7886"/>
                </a:lnTo>
                <a:lnTo>
                  <a:pt x="5018" y="7889"/>
                </a:lnTo>
                <a:lnTo>
                  <a:pt x="5013" y="7889"/>
                </a:lnTo>
                <a:lnTo>
                  <a:pt x="5008" y="7890"/>
                </a:lnTo>
                <a:lnTo>
                  <a:pt x="5004" y="7892"/>
                </a:lnTo>
                <a:lnTo>
                  <a:pt x="4999" y="7893"/>
                </a:lnTo>
                <a:lnTo>
                  <a:pt x="4992" y="7898"/>
                </a:lnTo>
                <a:lnTo>
                  <a:pt x="4985" y="7904"/>
                </a:lnTo>
                <a:lnTo>
                  <a:pt x="4980" y="7911"/>
                </a:lnTo>
                <a:lnTo>
                  <a:pt x="4974" y="7919"/>
                </a:lnTo>
                <a:lnTo>
                  <a:pt x="4970" y="7928"/>
                </a:lnTo>
                <a:lnTo>
                  <a:pt x="4966" y="7937"/>
                </a:lnTo>
                <a:lnTo>
                  <a:pt x="4959" y="7954"/>
                </a:lnTo>
                <a:lnTo>
                  <a:pt x="4952" y="7969"/>
                </a:lnTo>
                <a:lnTo>
                  <a:pt x="4948" y="7975"/>
                </a:lnTo>
                <a:lnTo>
                  <a:pt x="4944" y="7980"/>
                </a:lnTo>
                <a:lnTo>
                  <a:pt x="4941" y="7982"/>
                </a:lnTo>
                <a:lnTo>
                  <a:pt x="4939" y="7983"/>
                </a:lnTo>
                <a:lnTo>
                  <a:pt x="4936" y="7984"/>
                </a:lnTo>
                <a:lnTo>
                  <a:pt x="4933" y="7984"/>
                </a:lnTo>
                <a:lnTo>
                  <a:pt x="4928" y="8010"/>
                </a:lnTo>
                <a:lnTo>
                  <a:pt x="4921" y="8034"/>
                </a:lnTo>
                <a:lnTo>
                  <a:pt x="4914" y="8058"/>
                </a:lnTo>
                <a:lnTo>
                  <a:pt x="4906" y="8082"/>
                </a:lnTo>
                <a:lnTo>
                  <a:pt x="4898" y="8105"/>
                </a:lnTo>
                <a:lnTo>
                  <a:pt x="4891" y="8130"/>
                </a:lnTo>
                <a:lnTo>
                  <a:pt x="4884" y="8153"/>
                </a:lnTo>
                <a:lnTo>
                  <a:pt x="4877" y="8178"/>
                </a:lnTo>
                <a:lnTo>
                  <a:pt x="4874" y="8192"/>
                </a:lnTo>
                <a:lnTo>
                  <a:pt x="4873" y="8205"/>
                </a:lnTo>
                <a:lnTo>
                  <a:pt x="4874" y="8216"/>
                </a:lnTo>
                <a:lnTo>
                  <a:pt x="4875" y="8227"/>
                </a:lnTo>
                <a:lnTo>
                  <a:pt x="4878" y="8236"/>
                </a:lnTo>
                <a:lnTo>
                  <a:pt x="4882" y="8245"/>
                </a:lnTo>
                <a:lnTo>
                  <a:pt x="4885" y="8255"/>
                </a:lnTo>
                <a:lnTo>
                  <a:pt x="4890" y="8263"/>
                </a:lnTo>
                <a:lnTo>
                  <a:pt x="4894" y="8271"/>
                </a:lnTo>
                <a:lnTo>
                  <a:pt x="4898" y="8279"/>
                </a:lnTo>
                <a:lnTo>
                  <a:pt x="4901" y="8288"/>
                </a:lnTo>
                <a:lnTo>
                  <a:pt x="4904" y="8297"/>
                </a:lnTo>
                <a:lnTo>
                  <a:pt x="4905" y="8307"/>
                </a:lnTo>
                <a:lnTo>
                  <a:pt x="4906" y="8318"/>
                </a:lnTo>
                <a:lnTo>
                  <a:pt x="4905" y="8330"/>
                </a:lnTo>
                <a:lnTo>
                  <a:pt x="4902" y="8344"/>
                </a:lnTo>
                <a:lnTo>
                  <a:pt x="4917" y="8346"/>
                </a:lnTo>
                <a:lnTo>
                  <a:pt x="4933" y="8348"/>
                </a:lnTo>
                <a:lnTo>
                  <a:pt x="4949" y="8349"/>
                </a:lnTo>
                <a:lnTo>
                  <a:pt x="4965" y="8350"/>
                </a:lnTo>
                <a:lnTo>
                  <a:pt x="4997" y="8351"/>
                </a:lnTo>
                <a:lnTo>
                  <a:pt x="5029" y="8350"/>
                </a:lnTo>
                <a:lnTo>
                  <a:pt x="5060" y="8348"/>
                </a:lnTo>
                <a:lnTo>
                  <a:pt x="5092" y="8346"/>
                </a:lnTo>
                <a:lnTo>
                  <a:pt x="5124" y="8345"/>
                </a:lnTo>
                <a:lnTo>
                  <a:pt x="5156" y="8344"/>
                </a:lnTo>
                <a:lnTo>
                  <a:pt x="5155" y="8333"/>
                </a:lnTo>
                <a:lnTo>
                  <a:pt x="5153" y="8322"/>
                </a:lnTo>
                <a:lnTo>
                  <a:pt x="5150" y="8312"/>
                </a:lnTo>
                <a:lnTo>
                  <a:pt x="5145" y="8302"/>
                </a:lnTo>
                <a:lnTo>
                  <a:pt x="5156" y="8303"/>
                </a:lnTo>
                <a:lnTo>
                  <a:pt x="5165" y="8304"/>
                </a:lnTo>
                <a:lnTo>
                  <a:pt x="5174" y="8308"/>
                </a:lnTo>
                <a:lnTo>
                  <a:pt x="5181" y="8312"/>
                </a:lnTo>
                <a:lnTo>
                  <a:pt x="5187" y="8317"/>
                </a:lnTo>
                <a:lnTo>
                  <a:pt x="5192" y="8323"/>
                </a:lnTo>
                <a:lnTo>
                  <a:pt x="5196" y="8330"/>
                </a:lnTo>
                <a:lnTo>
                  <a:pt x="5199" y="8338"/>
                </a:lnTo>
                <a:lnTo>
                  <a:pt x="5202" y="8346"/>
                </a:lnTo>
                <a:lnTo>
                  <a:pt x="5204" y="8355"/>
                </a:lnTo>
                <a:lnTo>
                  <a:pt x="5205" y="8365"/>
                </a:lnTo>
                <a:lnTo>
                  <a:pt x="5206" y="8375"/>
                </a:lnTo>
                <a:lnTo>
                  <a:pt x="5206" y="8397"/>
                </a:lnTo>
                <a:lnTo>
                  <a:pt x="5205" y="8418"/>
                </a:lnTo>
                <a:lnTo>
                  <a:pt x="5204" y="8440"/>
                </a:lnTo>
                <a:lnTo>
                  <a:pt x="5202" y="8461"/>
                </a:lnTo>
                <a:lnTo>
                  <a:pt x="5202" y="8480"/>
                </a:lnTo>
                <a:lnTo>
                  <a:pt x="5202" y="8497"/>
                </a:lnTo>
                <a:lnTo>
                  <a:pt x="5203" y="8506"/>
                </a:lnTo>
                <a:lnTo>
                  <a:pt x="5205" y="8513"/>
                </a:lnTo>
                <a:lnTo>
                  <a:pt x="5207" y="8519"/>
                </a:lnTo>
                <a:lnTo>
                  <a:pt x="5210" y="8525"/>
                </a:lnTo>
                <a:lnTo>
                  <a:pt x="5213" y="8529"/>
                </a:lnTo>
                <a:lnTo>
                  <a:pt x="5218" y="8532"/>
                </a:lnTo>
                <a:lnTo>
                  <a:pt x="5223" y="8534"/>
                </a:lnTo>
                <a:lnTo>
                  <a:pt x="5230" y="8535"/>
                </a:lnTo>
                <a:lnTo>
                  <a:pt x="5231" y="8551"/>
                </a:lnTo>
                <a:lnTo>
                  <a:pt x="5232" y="8566"/>
                </a:lnTo>
                <a:lnTo>
                  <a:pt x="5234" y="8582"/>
                </a:lnTo>
                <a:lnTo>
                  <a:pt x="5237" y="8597"/>
                </a:lnTo>
                <a:lnTo>
                  <a:pt x="5244" y="8625"/>
                </a:lnTo>
                <a:lnTo>
                  <a:pt x="5251" y="8653"/>
                </a:lnTo>
                <a:lnTo>
                  <a:pt x="5259" y="8678"/>
                </a:lnTo>
                <a:lnTo>
                  <a:pt x="5266" y="8702"/>
                </a:lnTo>
                <a:lnTo>
                  <a:pt x="5268" y="8714"/>
                </a:lnTo>
                <a:lnTo>
                  <a:pt x="5270" y="8725"/>
                </a:lnTo>
                <a:lnTo>
                  <a:pt x="5272" y="8735"/>
                </a:lnTo>
                <a:lnTo>
                  <a:pt x="5272" y="8746"/>
                </a:lnTo>
                <a:lnTo>
                  <a:pt x="5282" y="8753"/>
                </a:lnTo>
                <a:lnTo>
                  <a:pt x="5292" y="8762"/>
                </a:lnTo>
                <a:lnTo>
                  <a:pt x="5301" y="8769"/>
                </a:lnTo>
                <a:lnTo>
                  <a:pt x="5310" y="8778"/>
                </a:lnTo>
                <a:lnTo>
                  <a:pt x="5318" y="8786"/>
                </a:lnTo>
                <a:lnTo>
                  <a:pt x="5325" y="8795"/>
                </a:lnTo>
                <a:lnTo>
                  <a:pt x="5331" y="8804"/>
                </a:lnTo>
                <a:lnTo>
                  <a:pt x="5337" y="8814"/>
                </a:lnTo>
                <a:lnTo>
                  <a:pt x="5341" y="8824"/>
                </a:lnTo>
                <a:lnTo>
                  <a:pt x="5345" y="8834"/>
                </a:lnTo>
                <a:lnTo>
                  <a:pt x="5348" y="8845"/>
                </a:lnTo>
                <a:lnTo>
                  <a:pt x="5350" y="8856"/>
                </a:lnTo>
                <a:lnTo>
                  <a:pt x="5350" y="8867"/>
                </a:lnTo>
                <a:lnTo>
                  <a:pt x="5350" y="8879"/>
                </a:lnTo>
                <a:lnTo>
                  <a:pt x="5348" y="8892"/>
                </a:lnTo>
                <a:lnTo>
                  <a:pt x="5346" y="8905"/>
                </a:lnTo>
                <a:lnTo>
                  <a:pt x="5376" y="8909"/>
                </a:lnTo>
                <a:lnTo>
                  <a:pt x="5410" y="8912"/>
                </a:lnTo>
                <a:lnTo>
                  <a:pt x="5429" y="8913"/>
                </a:lnTo>
                <a:lnTo>
                  <a:pt x="5447" y="8913"/>
                </a:lnTo>
                <a:lnTo>
                  <a:pt x="5465" y="8913"/>
                </a:lnTo>
                <a:lnTo>
                  <a:pt x="5484" y="8911"/>
                </a:lnTo>
                <a:lnTo>
                  <a:pt x="5501" y="8909"/>
                </a:lnTo>
                <a:lnTo>
                  <a:pt x="5517" y="8904"/>
                </a:lnTo>
                <a:lnTo>
                  <a:pt x="5524" y="8902"/>
                </a:lnTo>
                <a:lnTo>
                  <a:pt x="5531" y="8899"/>
                </a:lnTo>
                <a:lnTo>
                  <a:pt x="5537" y="8895"/>
                </a:lnTo>
                <a:lnTo>
                  <a:pt x="5543" y="8892"/>
                </a:lnTo>
                <a:lnTo>
                  <a:pt x="5549" y="8887"/>
                </a:lnTo>
                <a:lnTo>
                  <a:pt x="5554" y="8881"/>
                </a:lnTo>
                <a:lnTo>
                  <a:pt x="5558" y="8876"/>
                </a:lnTo>
                <a:lnTo>
                  <a:pt x="5561" y="8870"/>
                </a:lnTo>
                <a:lnTo>
                  <a:pt x="5564" y="8864"/>
                </a:lnTo>
                <a:lnTo>
                  <a:pt x="5566" y="8857"/>
                </a:lnTo>
                <a:lnTo>
                  <a:pt x="5567" y="8849"/>
                </a:lnTo>
                <a:lnTo>
                  <a:pt x="5568" y="8841"/>
                </a:lnTo>
                <a:lnTo>
                  <a:pt x="5587" y="8842"/>
                </a:lnTo>
                <a:lnTo>
                  <a:pt x="5603" y="8844"/>
                </a:lnTo>
                <a:lnTo>
                  <a:pt x="5619" y="8848"/>
                </a:lnTo>
                <a:lnTo>
                  <a:pt x="5631" y="8854"/>
                </a:lnTo>
                <a:lnTo>
                  <a:pt x="5642" y="8860"/>
                </a:lnTo>
                <a:lnTo>
                  <a:pt x="5651" y="8868"/>
                </a:lnTo>
                <a:lnTo>
                  <a:pt x="5658" y="8877"/>
                </a:lnTo>
                <a:lnTo>
                  <a:pt x="5664" y="8888"/>
                </a:lnTo>
                <a:lnTo>
                  <a:pt x="5669" y="8899"/>
                </a:lnTo>
                <a:lnTo>
                  <a:pt x="5673" y="8910"/>
                </a:lnTo>
                <a:lnTo>
                  <a:pt x="5675" y="8922"/>
                </a:lnTo>
                <a:lnTo>
                  <a:pt x="5676" y="8935"/>
                </a:lnTo>
                <a:lnTo>
                  <a:pt x="5677" y="8948"/>
                </a:lnTo>
                <a:lnTo>
                  <a:pt x="5677" y="8962"/>
                </a:lnTo>
                <a:lnTo>
                  <a:pt x="5676" y="8975"/>
                </a:lnTo>
                <a:lnTo>
                  <a:pt x="5674" y="8989"/>
                </a:lnTo>
                <a:lnTo>
                  <a:pt x="5693" y="8988"/>
                </a:lnTo>
                <a:lnTo>
                  <a:pt x="5710" y="8987"/>
                </a:lnTo>
                <a:lnTo>
                  <a:pt x="5725" y="8984"/>
                </a:lnTo>
                <a:lnTo>
                  <a:pt x="5740" y="8980"/>
                </a:lnTo>
                <a:lnTo>
                  <a:pt x="5752" y="8975"/>
                </a:lnTo>
                <a:lnTo>
                  <a:pt x="5762" y="8970"/>
                </a:lnTo>
                <a:lnTo>
                  <a:pt x="5771" y="8963"/>
                </a:lnTo>
                <a:lnTo>
                  <a:pt x="5778" y="8956"/>
                </a:lnTo>
                <a:lnTo>
                  <a:pt x="5785" y="8949"/>
                </a:lnTo>
                <a:lnTo>
                  <a:pt x="5790" y="8940"/>
                </a:lnTo>
                <a:lnTo>
                  <a:pt x="5795" y="8932"/>
                </a:lnTo>
                <a:lnTo>
                  <a:pt x="5798" y="8923"/>
                </a:lnTo>
                <a:lnTo>
                  <a:pt x="5801" y="8913"/>
                </a:lnTo>
                <a:lnTo>
                  <a:pt x="5803" y="8904"/>
                </a:lnTo>
                <a:lnTo>
                  <a:pt x="5804" y="8894"/>
                </a:lnTo>
                <a:lnTo>
                  <a:pt x="5805" y="8884"/>
                </a:lnTo>
                <a:lnTo>
                  <a:pt x="5807" y="8844"/>
                </a:lnTo>
                <a:lnTo>
                  <a:pt x="5809" y="8811"/>
                </a:lnTo>
                <a:lnTo>
                  <a:pt x="5811" y="8804"/>
                </a:lnTo>
                <a:lnTo>
                  <a:pt x="5813" y="8797"/>
                </a:lnTo>
                <a:lnTo>
                  <a:pt x="5816" y="8792"/>
                </a:lnTo>
                <a:lnTo>
                  <a:pt x="5819" y="8787"/>
                </a:lnTo>
                <a:lnTo>
                  <a:pt x="5823" y="8783"/>
                </a:lnTo>
                <a:lnTo>
                  <a:pt x="5829" y="8780"/>
                </a:lnTo>
                <a:lnTo>
                  <a:pt x="5835" y="8779"/>
                </a:lnTo>
                <a:lnTo>
                  <a:pt x="5843" y="8778"/>
                </a:lnTo>
                <a:lnTo>
                  <a:pt x="5846" y="8766"/>
                </a:lnTo>
                <a:lnTo>
                  <a:pt x="5850" y="8758"/>
                </a:lnTo>
                <a:lnTo>
                  <a:pt x="5852" y="8753"/>
                </a:lnTo>
                <a:lnTo>
                  <a:pt x="5855" y="8750"/>
                </a:lnTo>
                <a:lnTo>
                  <a:pt x="5857" y="8748"/>
                </a:lnTo>
                <a:lnTo>
                  <a:pt x="5861" y="8747"/>
                </a:lnTo>
                <a:lnTo>
                  <a:pt x="5864" y="8746"/>
                </a:lnTo>
                <a:lnTo>
                  <a:pt x="5866" y="8746"/>
                </a:lnTo>
                <a:lnTo>
                  <a:pt x="5870" y="8746"/>
                </a:lnTo>
                <a:lnTo>
                  <a:pt x="5873" y="8747"/>
                </a:lnTo>
                <a:lnTo>
                  <a:pt x="5879" y="8752"/>
                </a:lnTo>
                <a:lnTo>
                  <a:pt x="5887" y="8760"/>
                </a:lnTo>
                <a:lnTo>
                  <a:pt x="5895" y="8763"/>
                </a:lnTo>
                <a:lnTo>
                  <a:pt x="5903" y="8765"/>
                </a:lnTo>
                <a:lnTo>
                  <a:pt x="5910" y="8764"/>
                </a:lnTo>
                <a:lnTo>
                  <a:pt x="5918" y="8763"/>
                </a:lnTo>
                <a:lnTo>
                  <a:pt x="5925" y="8760"/>
                </a:lnTo>
                <a:lnTo>
                  <a:pt x="5932" y="8754"/>
                </a:lnTo>
                <a:lnTo>
                  <a:pt x="5939" y="8749"/>
                </a:lnTo>
                <a:lnTo>
                  <a:pt x="5945" y="8743"/>
                </a:lnTo>
                <a:lnTo>
                  <a:pt x="5959" y="8730"/>
                </a:lnTo>
                <a:lnTo>
                  <a:pt x="5972" y="8717"/>
                </a:lnTo>
                <a:lnTo>
                  <a:pt x="5986" y="8704"/>
                </a:lnTo>
                <a:lnTo>
                  <a:pt x="5999" y="8694"/>
                </a:lnTo>
                <a:lnTo>
                  <a:pt x="6011" y="8687"/>
                </a:lnTo>
                <a:lnTo>
                  <a:pt x="6028" y="8677"/>
                </a:lnTo>
                <a:lnTo>
                  <a:pt x="6045" y="8668"/>
                </a:lnTo>
                <a:lnTo>
                  <a:pt x="6055" y="8665"/>
                </a:lnTo>
                <a:lnTo>
                  <a:pt x="6073" y="8674"/>
                </a:lnTo>
                <a:lnTo>
                  <a:pt x="6084" y="8680"/>
                </a:lnTo>
                <a:lnTo>
                  <a:pt x="6088" y="8683"/>
                </a:lnTo>
                <a:lnTo>
                  <a:pt x="6092" y="8686"/>
                </a:lnTo>
                <a:lnTo>
                  <a:pt x="6096" y="8691"/>
                </a:lnTo>
                <a:lnTo>
                  <a:pt x="6100" y="8697"/>
                </a:lnTo>
                <a:lnTo>
                  <a:pt x="6112" y="8697"/>
                </a:lnTo>
                <a:lnTo>
                  <a:pt x="6123" y="8696"/>
                </a:lnTo>
                <a:lnTo>
                  <a:pt x="6133" y="8694"/>
                </a:lnTo>
                <a:lnTo>
                  <a:pt x="6144" y="8691"/>
                </a:lnTo>
                <a:lnTo>
                  <a:pt x="6166" y="8685"/>
                </a:lnTo>
                <a:lnTo>
                  <a:pt x="6187" y="8676"/>
                </a:lnTo>
                <a:lnTo>
                  <a:pt x="6207" y="8666"/>
                </a:lnTo>
                <a:lnTo>
                  <a:pt x="6228" y="8655"/>
                </a:lnTo>
                <a:lnTo>
                  <a:pt x="6248" y="8643"/>
                </a:lnTo>
                <a:lnTo>
                  <a:pt x="6267" y="8629"/>
                </a:lnTo>
                <a:lnTo>
                  <a:pt x="6274" y="8630"/>
                </a:lnTo>
                <a:lnTo>
                  <a:pt x="6280" y="8633"/>
                </a:lnTo>
                <a:lnTo>
                  <a:pt x="6286" y="8636"/>
                </a:lnTo>
                <a:lnTo>
                  <a:pt x="6291" y="8640"/>
                </a:lnTo>
                <a:lnTo>
                  <a:pt x="6296" y="8645"/>
                </a:lnTo>
                <a:lnTo>
                  <a:pt x="6301" y="8649"/>
                </a:lnTo>
                <a:lnTo>
                  <a:pt x="6305" y="8655"/>
                </a:lnTo>
                <a:lnTo>
                  <a:pt x="6309" y="8661"/>
                </a:lnTo>
                <a:lnTo>
                  <a:pt x="6324" y="8689"/>
                </a:lnTo>
                <a:lnTo>
                  <a:pt x="6339" y="8721"/>
                </a:lnTo>
                <a:lnTo>
                  <a:pt x="6347" y="8737"/>
                </a:lnTo>
                <a:lnTo>
                  <a:pt x="6357" y="8753"/>
                </a:lnTo>
                <a:lnTo>
                  <a:pt x="6362" y="8761"/>
                </a:lnTo>
                <a:lnTo>
                  <a:pt x="6369" y="8768"/>
                </a:lnTo>
                <a:lnTo>
                  <a:pt x="6375" y="8775"/>
                </a:lnTo>
                <a:lnTo>
                  <a:pt x="6382" y="8782"/>
                </a:lnTo>
                <a:lnTo>
                  <a:pt x="6389" y="8788"/>
                </a:lnTo>
                <a:lnTo>
                  <a:pt x="6397" y="8793"/>
                </a:lnTo>
                <a:lnTo>
                  <a:pt x="6406" y="8798"/>
                </a:lnTo>
                <a:lnTo>
                  <a:pt x="6415" y="8803"/>
                </a:lnTo>
                <a:lnTo>
                  <a:pt x="6425" y="8807"/>
                </a:lnTo>
                <a:lnTo>
                  <a:pt x="6436" y="8810"/>
                </a:lnTo>
                <a:lnTo>
                  <a:pt x="6448" y="8812"/>
                </a:lnTo>
                <a:lnTo>
                  <a:pt x="6461" y="8813"/>
                </a:lnTo>
                <a:lnTo>
                  <a:pt x="6486" y="8815"/>
                </a:lnTo>
                <a:lnTo>
                  <a:pt x="6516" y="8818"/>
                </a:lnTo>
                <a:lnTo>
                  <a:pt x="6549" y="8820"/>
                </a:lnTo>
                <a:lnTo>
                  <a:pt x="6584" y="8820"/>
                </a:lnTo>
                <a:lnTo>
                  <a:pt x="6601" y="8820"/>
                </a:lnTo>
                <a:lnTo>
                  <a:pt x="6619" y="8820"/>
                </a:lnTo>
                <a:lnTo>
                  <a:pt x="6635" y="8818"/>
                </a:lnTo>
                <a:lnTo>
                  <a:pt x="6651" y="8816"/>
                </a:lnTo>
                <a:lnTo>
                  <a:pt x="6665" y="8814"/>
                </a:lnTo>
                <a:lnTo>
                  <a:pt x="6679" y="8810"/>
                </a:lnTo>
                <a:lnTo>
                  <a:pt x="6690" y="8805"/>
                </a:lnTo>
                <a:lnTo>
                  <a:pt x="6701" y="8799"/>
                </a:lnTo>
                <a:lnTo>
                  <a:pt x="6703" y="8798"/>
                </a:lnTo>
                <a:lnTo>
                  <a:pt x="6707" y="8798"/>
                </a:lnTo>
                <a:lnTo>
                  <a:pt x="6710" y="8799"/>
                </a:lnTo>
                <a:lnTo>
                  <a:pt x="6715" y="8801"/>
                </a:lnTo>
                <a:lnTo>
                  <a:pt x="6724" y="8806"/>
                </a:lnTo>
                <a:lnTo>
                  <a:pt x="6734" y="8812"/>
                </a:lnTo>
                <a:lnTo>
                  <a:pt x="6745" y="8820"/>
                </a:lnTo>
                <a:lnTo>
                  <a:pt x="6754" y="8829"/>
                </a:lnTo>
                <a:lnTo>
                  <a:pt x="6760" y="8837"/>
                </a:lnTo>
                <a:lnTo>
                  <a:pt x="6764" y="8843"/>
                </a:lnTo>
                <a:lnTo>
                  <a:pt x="6772" y="8844"/>
                </a:lnTo>
                <a:lnTo>
                  <a:pt x="6779" y="8845"/>
                </a:lnTo>
                <a:lnTo>
                  <a:pt x="6785" y="8847"/>
                </a:lnTo>
                <a:lnTo>
                  <a:pt x="6791" y="8850"/>
                </a:lnTo>
                <a:lnTo>
                  <a:pt x="6795" y="8853"/>
                </a:lnTo>
                <a:lnTo>
                  <a:pt x="6799" y="8856"/>
                </a:lnTo>
                <a:lnTo>
                  <a:pt x="6802" y="8860"/>
                </a:lnTo>
                <a:lnTo>
                  <a:pt x="6805" y="8864"/>
                </a:lnTo>
                <a:lnTo>
                  <a:pt x="6811" y="8871"/>
                </a:lnTo>
                <a:lnTo>
                  <a:pt x="6815" y="8878"/>
                </a:lnTo>
                <a:lnTo>
                  <a:pt x="6818" y="8880"/>
                </a:lnTo>
                <a:lnTo>
                  <a:pt x="6821" y="8882"/>
                </a:lnTo>
                <a:lnTo>
                  <a:pt x="6824" y="8884"/>
                </a:lnTo>
                <a:lnTo>
                  <a:pt x="6827" y="8884"/>
                </a:lnTo>
                <a:lnTo>
                  <a:pt x="6829" y="8888"/>
                </a:lnTo>
                <a:lnTo>
                  <a:pt x="6831" y="8890"/>
                </a:lnTo>
                <a:lnTo>
                  <a:pt x="6834" y="8893"/>
                </a:lnTo>
                <a:lnTo>
                  <a:pt x="6836" y="8894"/>
                </a:lnTo>
                <a:lnTo>
                  <a:pt x="6839" y="8895"/>
                </a:lnTo>
                <a:lnTo>
                  <a:pt x="6842" y="8896"/>
                </a:lnTo>
                <a:lnTo>
                  <a:pt x="6845" y="8896"/>
                </a:lnTo>
                <a:lnTo>
                  <a:pt x="6848" y="8895"/>
                </a:lnTo>
                <a:lnTo>
                  <a:pt x="6850" y="8898"/>
                </a:lnTo>
                <a:lnTo>
                  <a:pt x="6852" y="8901"/>
                </a:lnTo>
                <a:lnTo>
                  <a:pt x="6855" y="8904"/>
                </a:lnTo>
                <a:lnTo>
                  <a:pt x="6858" y="8907"/>
                </a:lnTo>
                <a:lnTo>
                  <a:pt x="6866" y="8913"/>
                </a:lnTo>
                <a:lnTo>
                  <a:pt x="6876" y="8919"/>
                </a:lnTo>
                <a:lnTo>
                  <a:pt x="6886" y="8928"/>
                </a:lnTo>
                <a:lnTo>
                  <a:pt x="6895" y="8938"/>
                </a:lnTo>
                <a:lnTo>
                  <a:pt x="6900" y="8944"/>
                </a:lnTo>
                <a:lnTo>
                  <a:pt x="6905" y="8951"/>
                </a:lnTo>
                <a:lnTo>
                  <a:pt x="6909" y="8959"/>
                </a:lnTo>
                <a:lnTo>
                  <a:pt x="6913" y="8968"/>
                </a:lnTo>
                <a:lnTo>
                  <a:pt x="6913" y="8972"/>
                </a:lnTo>
                <a:lnTo>
                  <a:pt x="6914" y="8976"/>
                </a:lnTo>
                <a:lnTo>
                  <a:pt x="6915" y="8980"/>
                </a:lnTo>
                <a:lnTo>
                  <a:pt x="6917" y="8984"/>
                </a:lnTo>
                <a:lnTo>
                  <a:pt x="6921" y="8990"/>
                </a:lnTo>
                <a:lnTo>
                  <a:pt x="6927" y="8996"/>
                </a:lnTo>
                <a:lnTo>
                  <a:pt x="6935" y="9002"/>
                </a:lnTo>
                <a:lnTo>
                  <a:pt x="6943" y="9007"/>
                </a:lnTo>
                <a:lnTo>
                  <a:pt x="6951" y="9012"/>
                </a:lnTo>
                <a:lnTo>
                  <a:pt x="6960" y="9017"/>
                </a:lnTo>
                <a:lnTo>
                  <a:pt x="6977" y="9025"/>
                </a:lnTo>
                <a:lnTo>
                  <a:pt x="6992" y="9034"/>
                </a:lnTo>
                <a:lnTo>
                  <a:pt x="6999" y="9038"/>
                </a:lnTo>
                <a:lnTo>
                  <a:pt x="7004" y="9043"/>
                </a:lnTo>
                <a:lnTo>
                  <a:pt x="7007" y="9048"/>
                </a:lnTo>
                <a:lnTo>
                  <a:pt x="7008" y="9053"/>
                </a:lnTo>
                <a:lnTo>
                  <a:pt x="7019" y="9059"/>
                </a:lnTo>
                <a:lnTo>
                  <a:pt x="7027" y="9065"/>
                </a:lnTo>
                <a:lnTo>
                  <a:pt x="7032" y="9070"/>
                </a:lnTo>
                <a:lnTo>
                  <a:pt x="7035" y="9075"/>
                </a:lnTo>
                <a:lnTo>
                  <a:pt x="7036" y="9079"/>
                </a:lnTo>
                <a:lnTo>
                  <a:pt x="7036" y="9083"/>
                </a:lnTo>
                <a:lnTo>
                  <a:pt x="7036" y="9088"/>
                </a:lnTo>
                <a:lnTo>
                  <a:pt x="7035" y="9091"/>
                </a:lnTo>
                <a:lnTo>
                  <a:pt x="7035" y="9095"/>
                </a:lnTo>
                <a:lnTo>
                  <a:pt x="7035" y="9099"/>
                </a:lnTo>
                <a:lnTo>
                  <a:pt x="7038" y="9104"/>
                </a:lnTo>
                <a:lnTo>
                  <a:pt x="7042" y="9108"/>
                </a:lnTo>
                <a:lnTo>
                  <a:pt x="7048" y="9112"/>
                </a:lnTo>
                <a:lnTo>
                  <a:pt x="7058" y="9117"/>
                </a:lnTo>
                <a:lnTo>
                  <a:pt x="7071" y="9122"/>
                </a:lnTo>
                <a:lnTo>
                  <a:pt x="7088" y="9128"/>
                </a:lnTo>
                <a:lnTo>
                  <a:pt x="7110" y="9136"/>
                </a:lnTo>
                <a:lnTo>
                  <a:pt x="7132" y="9144"/>
                </a:lnTo>
                <a:lnTo>
                  <a:pt x="7153" y="9152"/>
                </a:lnTo>
                <a:lnTo>
                  <a:pt x="7174" y="9160"/>
                </a:lnTo>
                <a:lnTo>
                  <a:pt x="7195" y="9167"/>
                </a:lnTo>
                <a:lnTo>
                  <a:pt x="7216" y="9173"/>
                </a:lnTo>
                <a:lnTo>
                  <a:pt x="7239" y="9177"/>
                </a:lnTo>
                <a:lnTo>
                  <a:pt x="7262" y="9180"/>
                </a:lnTo>
                <a:lnTo>
                  <a:pt x="7264" y="9173"/>
                </a:lnTo>
                <a:lnTo>
                  <a:pt x="7266" y="9168"/>
                </a:lnTo>
                <a:lnTo>
                  <a:pt x="7269" y="9163"/>
                </a:lnTo>
                <a:lnTo>
                  <a:pt x="7271" y="9159"/>
                </a:lnTo>
                <a:lnTo>
                  <a:pt x="7274" y="9156"/>
                </a:lnTo>
                <a:lnTo>
                  <a:pt x="7277" y="9153"/>
                </a:lnTo>
                <a:lnTo>
                  <a:pt x="7281" y="9151"/>
                </a:lnTo>
                <a:lnTo>
                  <a:pt x="7284" y="9150"/>
                </a:lnTo>
                <a:lnTo>
                  <a:pt x="7291" y="9149"/>
                </a:lnTo>
                <a:lnTo>
                  <a:pt x="7299" y="9151"/>
                </a:lnTo>
                <a:lnTo>
                  <a:pt x="7307" y="9153"/>
                </a:lnTo>
                <a:lnTo>
                  <a:pt x="7315" y="9157"/>
                </a:lnTo>
                <a:lnTo>
                  <a:pt x="7332" y="9168"/>
                </a:lnTo>
                <a:lnTo>
                  <a:pt x="7349" y="9179"/>
                </a:lnTo>
                <a:lnTo>
                  <a:pt x="7357" y="9183"/>
                </a:lnTo>
                <a:lnTo>
                  <a:pt x="7364" y="9187"/>
                </a:lnTo>
                <a:lnTo>
                  <a:pt x="7372" y="9190"/>
                </a:lnTo>
                <a:lnTo>
                  <a:pt x="7379" y="9191"/>
                </a:lnTo>
                <a:lnTo>
                  <a:pt x="7385" y="9201"/>
                </a:lnTo>
                <a:lnTo>
                  <a:pt x="7390" y="9207"/>
                </a:lnTo>
                <a:lnTo>
                  <a:pt x="7395" y="9210"/>
                </a:lnTo>
                <a:lnTo>
                  <a:pt x="7400" y="9212"/>
                </a:lnTo>
                <a:lnTo>
                  <a:pt x="7404" y="9213"/>
                </a:lnTo>
                <a:lnTo>
                  <a:pt x="7409" y="9216"/>
                </a:lnTo>
                <a:lnTo>
                  <a:pt x="7414" y="9222"/>
                </a:lnTo>
                <a:lnTo>
                  <a:pt x="7420" y="9233"/>
                </a:lnTo>
                <a:lnTo>
                  <a:pt x="7437" y="9247"/>
                </a:lnTo>
                <a:lnTo>
                  <a:pt x="7450" y="9258"/>
                </a:lnTo>
                <a:lnTo>
                  <a:pt x="7460" y="9269"/>
                </a:lnTo>
                <a:lnTo>
                  <a:pt x="7467" y="9277"/>
                </a:lnTo>
                <a:lnTo>
                  <a:pt x="7472" y="9284"/>
                </a:lnTo>
                <a:lnTo>
                  <a:pt x="7475" y="9290"/>
                </a:lnTo>
                <a:lnTo>
                  <a:pt x="7477" y="9295"/>
                </a:lnTo>
                <a:lnTo>
                  <a:pt x="7478" y="9300"/>
                </a:lnTo>
                <a:lnTo>
                  <a:pt x="7478" y="9310"/>
                </a:lnTo>
                <a:lnTo>
                  <a:pt x="7479" y="9324"/>
                </a:lnTo>
                <a:lnTo>
                  <a:pt x="7480" y="9332"/>
                </a:lnTo>
                <a:lnTo>
                  <a:pt x="7483" y="9343"/>
                </a:lnTo>
                <a:lnTo>
                  <a:pt x="7487" y="9355"/>
                </a:lnTo>
                <a:lnTo>
                  <a:pt x="7494" y="9370"/>
                </a:lnTo>
                <a:lnTo>
                  <a:pt x="7503" y="9377"/>
                </a:lnTo>
                <a:lnTo>
                  <a:pt x="7511" y="9385"/>
                </a:lnTo>
                <a:lnTo>
                  <a:pt x="7518" y="9396"/>
                </a:lnTo>
                <a:lnTo>
                  <a:pt x="7524" y="9406"/>
                </a:lnTo>
                <a:lnTo>
                  <a:pt x="7530" y="9418"/>
                </a:lnTo>
                <a:lnTo>
                  <a:pt x="7535" y="9431"/>
                </a:lnTo>
                <a:lnTo>
                  <a:pt x="7540" y="9445"/>
                </a:lnTo>
                <a:lnTo>
                  <a:pt x="7544" y="9459"/>
                </a:lnTo>
                <a:lnTo>
                  <a:pt x="7552" y="9488"/>
                </a:lnTo>
                <a:lnTo>
                  <a:pt x="7558" y="9519"/>
                </a:lnTo>
                <a:lnTo>
                  <a:pt x="7564" y="9546"/>
                </a:lnTo>
                <a:lnTo>
                  <a:pt x="7569" y="9571"/>
                </a:lnTo>
                <a:lnTo>
                  <a:pt x="7565" y="9572"/>
                </a:lnTo>
                <a:lnTo>
                  <a:pt x="7562" y="9573"/>
                </a:lnTo>
                <a:lnTo>
                  <a:pt x="7560" y="9575"/>
                </a:lnTo>
                <a:lnTo>
                  <a:pt x="7557" y="9578"/>
                </a:lnTo>
                <a:lnTo>
                  <a:pt x="7554" y="9585"/>
                </a:lnTo>
                <a:lnTo>
                  <a:pt x="7551" y="9594"/>
                </a:lnTo>
                <a:lnTo>
                  <a:pt x="7549" y="9605"/>
                </a:lnTo>
                <a:lnTo>
                  <a:pt x="7549" y="9618"/>
                </a:lnTo>
                <a:lnTo>
                  <a:pt x="7549" y="9631"/>
                </a:lnTo>
                <a:lnTo>
                  <a:pt x="7549" y="9646"/>
                </a:lnTo>
                <a:lnTo>
                  <a:pt x="7551" y="9674"/>
                </a:lnTo>
                <a:lnTo>
                  <a:pt x="7554" y="9700"/>
                </a:lnTo>
                <a:lnTo>
                  <a:pt x="7557" y="9719"/>
                </a:lnTo>
                <a:lnTo>
                  <a:pt x="7558" y="9730"/>
                </a:lnTo>
                <a:lnTo>
                  <a:pt x="7554" y="9730"/>
                </a:lnTo>
                <a:lnTo>
                  <a:pt x="7552" y="9731"/>
                </a:lnTo>
                <a:lnTo>
                  <a:pt x="7550" y="9732"/>
                </a:lnTo>
                <a:lnTo>
                  <a:pt x="7550" y="9733"/>
                </a:lnTo>
                <a:lnTo>
                  <a:pt x="7552" y="9737"/>
                </a:lnTo>
                <a:lnTo>
                  <a:pt x="7557" y="9742"/>
                </a:lnTo>
                <a:lnTo>
                  <a:pt x="7564" y="9747"/>
                </a:lnTo>
                <a:lnTo>
                  <a:pt x="7574" y="9752"/>
                </a:lnTo>
                <a:lnTo>
                  <a:pt x="7586" y="9756"/>
                </a:lnTo>
                <a:lnTo>
                  <a:pt x="7599" y="9760"/>
                </a:lnTo>
                <a:lnTo>
                  <a:pt x="7612" y="9762"/>
                </a:lnTo>
                <a:lnTo>
                  <a:pt x="7626" y="9763"/>
                </a:lnTo>
                <a:lnTo>
                  <a:pt x="7632" y="9763"/>
                </a:lnTo>
                <a:lnTo>
                  <a:pt x="7639" y="9762"/>
                </a:lnTo>
                <a:lnTo>
                  <a:pt x="7644" y="9760"/>
                </a:lnTo>
                <a:lnTo>
                  <a:pt x="7650" y="9758"/>
                </a:lnTo>
                <a:lnTo>
                  <a:pt x="7655" y="9755"/>
                </a:lnTo>
                <a:lnTo>
                  <a:pt x="7660" y="9751"/>
                </a:lnTo>
                <a:lnTo>
                  <a:pt x="7664" y="9746"/>
                </a:lnTo>
                <a:lnTo>
                  <a:pt x="7668" y="9741"/>
                </a:lnTo>
                <a:lnTo>
                  <a:pt x="7671" y="9734"/>
                </a:lnTo>
                <a:lnTo>
                  <a:pt x="7673" y="9727"/>
                </a:lnTo>
                <a:lnTo>
                  <a:pt x="7674" y="9719"/>
                </a:lnTo>
                <a:lnTo>
                  <a:pt x="7675" y="9709"/>
                </a:lnTo>
                <a:lnTo>
                  <a:pt x="7687" y="9712"/>
                </a:lnTo>
                <a:lnTo>
                  <a:pt x="7698" y="9716"/>
                </a:lnTo>
                <a:lnTo>
                  <a:pt x="7710" y="9721"/>
                </a:lnTo>
                <a:lnTo>
                  <a:pt x="7720" y="9727"/>
                </a:lnTo>
                <a:lnTo>
                  <a:pt x="7741" y="9740"/>
                </a:lnTo>
                <a:lnTo>
                  <a:pt x="7761" y="9755"/>
                </a:lnTo>
                <a:lnTo>
                  <a:pt x="7780" y="9770"/>
                </a:lnTo>
                <a:lnTo>
                  <a:pt x="7798" y="9782"/>
                </a:lnTo>
                <a:lnTo>
                  <a:pt x="7806" y="9787"/>
                </a:lnTo>
                <a:lnTo>
                  <a:pt x="7815" y="9791"/>
                </a:lnTo>
                <a:lnTo>
                  <a:pt x="7824" y="9793"/>
                </a:lnTo>
                <a:lnTo>
                  <a:pt x="7833" y="9794"/>
                </a:lnTo>
                <a:lnTo>
                  <a:pt x="7831" y="9800"/>
                </a:lnTo>
                <a:lnTo>
                  <a:pt x="7829" y="9805"/>
                </a:lnTo>
                <a:lnTo>
                  <a:pt x="7828" y="9811"/>
                </a:lnTo>
                <a:lnTo>
                  <a:pt x="7828" y="9816"/>
                </a:lnTo>
                <a:lnTo>
                  <a:pt x="7829" y="9822"/>
                </a:lnTo>
                <a:lnTo>
                  <a:pt x="7829" y="9827"/>
                </a:lnTo>
                <a:lnTo>
                  <a:pt x="7831" y="9832"/>
                </a:lnTo>
                <a:lnTo>
                  <a:pt x="7833" y="9836"/>
                </a:lnTo>
                <a:lnTo>
                  <a:pt x="7838" y="9844"/>
                </a:lnTo>
                <a:lnTo>
                  <a:pt x="7844" y="9851"/>
                </a:lnTo>
                <a:lnTo>
                  <a:pt x="7851" y="9857"/>
                </a:lnTo>
                <a:lnTo>
                  <a:pt x="7859" y="9860"/>
                </a:lnTo>
                <a:lnTo>
                  <a:pt x="7863" y="9862"/>
                </a:lnTo>
                <a:lnTo>
                  <a:pt x="7868" y="9862"/>
                </a:lnTo>
                <a:lnTo>
                  <a:pt x="7872" y="9862"/>
                </a:lnTo>
                <a:lnTo>
                  <a:pt x="7877" y="9862"/>
                </a:lnTo>
                <a:lnTo>
                  <a:pt x="7881" y="9861"/>
                </a:lnTo>
                <a:lnTo>
                  <a:pt x="7885" y="9859"/>
                </a:lnTo>
                <a:lnTo>
                  <a:pt x="7889" y="9857"/>
                </a:lnTo>
                <a:lnTo>
                  <a:pt x="7892" y="9854"/>
                </a:lnTo>
                <a:lnTo>
                  <a:pt x="7895" y="9850"/>
                </a:lnTo>
                <a:lnTo>
                  <a:pt x="7898" y="9846"/>
                </a:lnTo>
                <a:lnTo>
                  <a:pt x="7901" y="9841"/>
                </a:lnTo>
                <a:lnTo>
                  <a:pt x="7903" y="9836"/>
                </a:lnTo>
                <a:lnTo>
                  <a:pt x="7905" y="9829"/>
                </a:lnTo>
                <a:lnTo>
                  <a:pt x="7906" y="9822"/>
                </a:lnTo>
                <a:lnTo>
                  <a:pt x="7907" y="9814"/>
                </a:lnTo>
                <a:lnTo>
                  <a:pt x="7907" y="9805"/>
                </a:lnTo>
                <a:lnTo>
                  <a:pt x="7916" y="9806"/>
                </a:lnTo>
                <a:lnTo>
                  <a:pt x="7925" y="9808"/>
                </a:lnTo>
                <a:lnTo>
                  <a:pt x="7932" y="9811"/>
                </a:lnTo>
                <a:lnTo>
                  <a:pt x="7939" y="9815"/>
                </a:lnTo>
                <a:lnTo>
                  <a:pt x="7945" y="9819"/>
                </a:lnTo>
                <a:lnTo>
                  <a:pt x="7951" y="9824"/>
                </a:lnTo>
                <a:lnTo>
                  <a:pt x="7956" y="9829"/>
                </a:lnTo>
                <a:lnTo>
                  <a:pt x="7961" y="9835"/>
                </a:lnTo>
                <a:lnTo>
                  <a:pt x="7965" y="9841"/>
                </a:lnTo>
                <a:lnTo>
                  <a:pt x="7968" y="9848"/>
                </a:lnTo>
                <a:lnTo>
                  <a:pt x="7971" y="9855"/>
                </a:lnTo>
                <a:lnTo>
                  <a:pt x="7974" y="9862"/>
                </a:lnTo>
                <a:lnTo>
                  <a:pt x="7978" y="9878"/>
                </a:lnTo>
                <a:lnTo>
                  <a:pt x="7980" y="9896"/>
                </a:lnTo>
                <a:lnTo>
                  <a:pt x="7981" y="9913"/>
                </a:lnTo>
                <a:lnTo>
                  <a:pt x="7981" y="9930"/>
                </a:lnTo>
                <a:lnTo>
                  <a:pt x="7980" y="9947"/>
                </a:lnTo>
                <a:lnTo>
                  <a:pt x="7979" y="9963"/>
                </a:lnTo>
                <a:lnTo>
                  <a:pt x="7975" y="9993"/>
                </a:lnTo>
                <a:lnTo>
                  <a:pt x="7970" y="10016"/>
                </a:lnTo>
                <a:lnTo>
                  <a:pt x="7985" y="10015"/>
                </a:lnTo>
                <a:lnTo>
                  <a:pt x="7998" y="10013"/>
                </a:lnTo>
                <a:lnTo>
                  <a:pt x="8011" y="10010"/>
                </a:lnTo>
                <a:lnTo>
                  <a:pt x="8022" y="10007"/>
                </a:lnTo>
                <a:lnTo>
                  <a:pt x="8041" y="9998"/>
                </a:lnTo>
                <a:lnTo>
                  <a:pt x="8059" y="9987"/>
                </a:lnTo>
                <a:lnTo>
                  <a:pt x="8068" y="9982"/>
                </a:lnTo>
                <a:lnTo>
                  <a:pt x="8077" y="9977"/>
                </a:lnTo>
                <a:lnTo>
                  <a:pt x="8086" y="9972"/>
                </a:lnTo>
                <a:lnTo>
                  <a:pt x="8096" y="9968"/>
                </a:lnTo>
                <a:lnTo>
                  <a:pt x="8107" y="9965"/>
                </a:lnTo>
                <a:lnTo>
                  <a:pt x="8120" y="9962"/>
                </a:lnTo>
                <a:lnTo>
                  <a:pt x="8134" y="9961"/>
                </a:lnTo>
                <a:lnTo>
                  <a:pt x="8149" y="9961"/>
                </a:lnTo>
                <a:lnTo>
                  <a:pt x="8186" y="9966"/>
                </a:lnTo>
                <a:lnTo>
                  <a:pt x="8219" y="9972"/>
                </a:lnTo>
                <a:lnTo>
                  <a:pt x="8227" y="9973"/>
                </a:lnTo>
                <a:lnTo>
                  <a:pt x="8234" y="9972"/>
                </a:lnTo>
                <a:lnTo>
                  <a:pt x="8241" y="9971"/>
                </a:lnTo>
                <a:lnTo>
                  <a:pt x="8247" y="9968"/>
                </a:lnTo>
                <a:lnTo>
                  <a:pt x="8254" y="9964"/>
                </a:lnTo>
                <a:lnTo>
                  <a:pt x="8259" y="9959"/>
                </a:lnTo>
                <a:lnTo>
                  <a:pt x="8264" y="9951"/>
                </a:lnTo>
                <a:lnTo>
                  <a:pt x="8267" y="9942"/>
                </a:lnTo>
                <a:lnTo>
                  <a:pt x="8289" y="9949"/>
                </a:lnTo>
                <a:lnTo>
                  <a:pt x="8309" y="9957"/>
                </a:lnTo>
                <a:lnTo>
                  <a:pt x="8327" y="9964"/>
                </a:lnTo>
                <a:lnTo>
                  <a:pt x="8344" y="9972"/>
                </a:lnTo>
                <a:lnTo>
                  <a:pt x="8361" y="9980"/>
                </a:lnTo>
                <a:lnTo>
                  <a:pt x="8376" y="9988"/>
                </a:lnTo>
                <a:lnTo>
                  <a:pt x="8392" y="9996"/>
                </a:lnTo>
                <a:lnTo>
                  <a:pt x="8406" y="10005"/>
                </a:lnTo>
                <a:lnTo>
                  <a:pt x="8433" y="10024"/>
                </a:lnTo>
                <a:lnTo>
                  <a:pt x="8459" y="10044"/>
                </a:lnTo>
                <a:lnTo>
                  <a:pt x="8486" y="10067"/>
                </a:lnTo>
                <a:lnTo>
                  <a:pt x="8515" y="10092"/>
                </a:lnTo>
                <a:lnTo>
                  <a:pt x="8528" y="10104"/>
                </a:lnTo>
                <a:lnTo>
                  <a:pt x="8540" y="10116"/>
                </a:lnTo>
                <a:lnTo>
                  <a:pt x="8550" y="10130"/>
                </a:lnTo>
                <a:lnTo>
                  <a:pt x="8561" y="10146"/>
                </a:lnTo>
                <a:lnTo>
                  <a:pt x="8570" y="10161"/>
                </a:lnTo>
                <a:lnTo>
                  <a:pt x="8579" y="10178"/>
                </a:lnTo>
                <a:lnTo>
                  <a:pt x="8587" y="10195"/>
                </a:lnTo>
                <a:lnTo>
                  <a:pt x="8595" y="10212"/>
                </a:lnTo>
                <a:lnTo>
                  <a:pt x="8602" y="10230"/>
                </a:lnTo>
                <a:lnTo>
                  <a:pt x="8607" y="10249"/>
                </a:lnTo>
                <a:lnTo>
                  <a:pt x="8613" y="10268"/>
                </a:lnTo>
                <a:lnTo>
                  <a:pt x="8617" y="10288"/>
                </a:lnTo>
                <a:lnTo>
                  <a:pt x="8621" y="10307"/>
                </a:lnTo>
                <a:lnTo>
                  <a:pt x="8624" y="10327"/>
                </a:lnTo>
                <a:lnTo>
                  <a:pt x="8626" y="10347"/>
                </a:lnTo>
                <a:lnTo>
                  <a:pt x="8627" y="10366"/>
                </a:lnTo>
                <a:lnTo>
                  <a:pt x="8628" y="10386"/>
                </a:lnTo>
                <a:lnTo>
                  <a:pt x="8627" y="10407"/>
                </a:lnTo>
                <a:lnTo>
                  <a:pt x="8626" y="10426"/>
                </a:lnTo>
                <a:lnTo>
                  <a:pt x="8624" y="10445"/>
                </a:lnTo>
                <a:lnTo>
                  <a:pt x="8621" y="10464"/>
                </a:lnTo>
                <a:lnTo>
                  <a:pt x="8617" y="10482"/>
                </a:lnTo>
                <a:lnTo>
                  <a:pt x="8613" y="10500"/>
                </a:lnTo>
                <a:lnTo>
                  <a:pt x="8607" y="10518"/>
                </a:lnTo>
                <a:lnTo>
                  <a:pt x="8601" y="10535"/>
                </a:lnTo>
                <a:lnTo>
                  <a:pt x="8594" y="10551"/>
                </a:lnTo>
                <a:lnTo>
                  <a:pt x="8586" y="10567"/>
                </a:lnTo>
                <a:lnTo>
                  <a:pt x="8577" y="10581"/>
                </a:lnTo>
                <a:lnTo>
                  <a:pt x="8567" y="10595"/>
                </a:lnTo>
                <a:lnTo>
                  <a:pt x="8556" y="10607"/>
                </a:lnTo>
                <a:lnTo>
                  <a:pt x="8544" y="10619"/>
                </a:lnTo>
                <a:lnTo>
                  <a:pt x="8532" y="10629"/>
                </a:lnTo>
                <a:lnTo>
                  <a:pt x="8530" y="10635"/>
                </a:lnTo>
                <a:lnTo>
                  <a:pt x="8525" y="10643"/>
                </a:lnTo>
                <a:lnTo>
                  <a:pt x="8518" y="10655"/>
                </a:lnTo>
                <a:lnTo>
                  <a:pt x="8508" y="10668"/>
                </a:lnTo>
                <a:lnTo>
                  <a:pt x="8482" y="10699"/>
                </a:lnTo>
                <a:lnTo>
                  <a:pt x="8454" y="10732"/>
                </a:lnTo>
                <a:lnTo>
                  <a:pt x="8425" y="10765"/>
                </a:lnTo>
                <a:lnTo>
                  <a:pt x="8400" y="10794"/>
                </a:lnTo>
                <a:lnTo>
                  <a:pt x="8382" y="10813"/>
                </a:lnTo>
                <a:lnTo>
                  <a:pt x="8373" y="10821"/>
                </a:lnTo>
                <a:lnTo>
                  <a:pt x="8372" y="10836"/>
                </a:lnTo>
                <a:lnTo>
                  <a:pt x="8372" y="10865"/>
                </a:lnTo>
                <a:lnTo>
                  <a:pt x="8371" y="10904"/>
                </a:lnTo>
                <a:lnTo>
                  <a:pt x="8369" y="10945"/>
                </a:lnTo>
                <a:lnTo>
                  <a:pt x="8368" y="10985"/>
                </a:lnTo>
                <a:lnTo>
                  <a:pt x="8366" y="11019"/>
                </a:lnTo>
                <a:lnTo>
                  <a:pt x="8365" y="11034"/>
                </a:lnTo>
                <a:lnTo>
                  <a:pt x="8364" y="11044"/>
                </a:lnTo>
                <a:lnTo>
                  <a:pt x="8363" y="11051"/>
                </a:lnTo>
                <a:lnTo>
                  <a:pt x="8362" y="11053"/>
                </a:lnTo>
                <a:lnTo>
                  <a:pt x="8360" y="11077"/>
                </a:lnTo>
                <a:lnTo>
                  <a:pt x="8356" y="11114"/>
                </a:lnTo>
                <a:lnTo>
                  <a:pt x="8350" y="11159"/>
                </a:lnTo>
                <a:lnTo>
                  <a:pt x="8342" y="11207"/>
                </a:lnTo>
                <a:lnTo>
                  <a:pt x="8337" y="11230"/>
                </a:lnTo>
                <a:lnTo>
                  <a:pt x="8332" y="11252"/>
                </a:lnTo>
                <a:lnTo>
                  <a:pt x="8327" y="11272"/>
                </a:lnTo>
                <a:lnTo>
                  <a:pt x="8322" y="11292"/>
                </a:lnTo>
                <a:lnTo>
                  <a:pt x="8316" y="11307"/>
                </a:lnTo>
                <a:lnTo>
                  <a:pt x="8310" y="11318"/>
                </a:lnTo>
                <a:lnTo>
                  <a:pt x="8307" y="11323"/>
                </a:lnTo>
                <a:lnTo>
                  <a:pt x="8305" y="11326"/>
                </a:lnTo>
                <a:lnTo>
                  <a:pt x="8302" y="11328"/>
                </a:lnTo>
                <a:lnTo>
                  <a:pt x="8299" y="11328"/>
                </a:lnTo>
                <a:lnTo>
                  <a:pt x="8298" y="11350"/>
                </a:lnTo>
                <a:lnTo>
                  <a:pt x="8295" y="11369"/>
                </a:lnTo>
                <a:lnTo>
                  <a:pt x="8292" y="11386"/>
                </a:lnTo>
                <a:lnTo>
                  <a:pt x="8286" y="11402"/>
                </a:lnTo>
                <a:lnTo>
                  <a:pt x="8280" y="11418"/>
                </a:lnTo>
                <a:lnTo>
                  <a:pt x="8273" y="11432"/>
                </a:lnTo>
                <a:lnTo>
                  <a:pt x="8265" y="11445"/>
                </a:lnTo>
                <a:lnTo>
                  <a:pt x="8257" y="11458"/>
                </a:lnTo>
                <a:lnTo>
                  <a:pt x="8238" y="11484"/>
                </a:lnTo>
                <a:lnTo>
                  <a:pt x="8221" y="11512"/>
                </a:lnTo>
                <a:lnTo>
                  <a:pt x="8213" y="11527"/>
                </a:lnTo>
                <a:lnTo>
                  <a:pt x="8206" y="11544"/>
                </a:lnTo>
                <a:lnTo>
                  <a:pt x="8199" y="11563"/>
                </a:lnTo>
                <a:lnTo>
                  <a:pt x="8193" y="11582"/>
                </a:lnTo>
                <a:lnTo>
                  <a:pt x="8165" y="11602"/>
                </a:lnTo>
                <a:lnTo>
                  <a:pt x="8129" y="11623"/>
                </a:lnTo>
                <a:lnTo>
                  <a:pt x="8088" y="11646"/>
                </a:lnTo>
                <a:lnTo>
                  <a:pt x="8047" y="11671"/>
                </a:lnTo>
                <a:lnTo>
                  <a:pt x="8027" y="11683"/>
                </a:lnTo>
                <a:lnTo>
                  <a:pt x="8007" y="11695"/>
                </a:lnTo>
                <a:lnTo>
                  <a:pt x="7988" y="11707"/>
                </a:lnTo>
                <a:lnTo>
                  <a:pt x="7972" y="11719"/>
                </a:lnTo>
                <a:lnTo>
                  <a:pt x="7957" y="11730"/>
                </a:lnTo>
                <a:lnTo>
                  <a:pt x="7945" y="11741"/>
                </a:lnTo>
                <a:lnTo>
                  <a:pt x="7940" y="11747"/>
                </a:lnTo>
                <a:lnTo>
                  <a:pt x="7935" y="11752"/>
                </a:lnTo>
                <a:lnTo>
                  <a:pt x="7931" y="11757"/>
                </a:lnTo>
                <a:lnTo>
                  <a:pt x="7928" y="11762"/>
                </a:lnTo>
                <a:lnTo>
                  <a:pt x="7919" y="11762"/>
                </a:lnTo>
                <a:lnTo>
                  <a:pt x="7910" y="11764"/>
                </a:lnTo>
                <a:lnTo>
                  <a:pt x="7902" y="11766"/>
                </a:lnTo>
                <a:lnTo>
                  <a:pt x="7893" y="11769"/>
                </a:lnTo>
                <a:lnTo>
                  <a:pt x="7877" y="11775"/>
                </a:lnTo>
                <a:lnTo>
                  <a:pt x="7859" y="11784"/>
                </a:lnTo>
                <a:lnTo>
                  <a:pt x="7843" y="11792"/>
                </a:lnTo>
                <a:lnTo>
                  <a:pt x="7826" y="11798"/>
                </a:lnTo>
                <a:lnTo>
                  <a:pt x="7818" y="11801"/>
                </a:lnTo>
                <a:lnTo>
                  <a:pt x="7809" y="11803"/>
                </a:lnTo>
                <a:lnTo>
                  <a:pt x="7800" y="11804"/>
                </a:lnTo>
                <a:lnTo>
                  <a:pt x="7791" y="11805"/>
                </a:lnTo>
                <a:lnTo>
                  <a:pt x="7784" y="11814"/>
                </a:lnTo>
                <a:lnTo>
                  <a:pt x="7770" y="11829"/>
                </a:lnTo>
                <a:lnTo>
                  <a:pt x="7753" y="11848"/>
                </a:lnTo>
                <a:lnTo>
                  <a:pt x="7733" y="11868"/>
                </a:lnTo>
                <a:lnTo>
                  <a:pt x="7715" y="11888"/>
                </a:lnTo>
                <a:lnTo>
                  <a:pt x="7701" y="11904"/>
                </a:lnTo>
                <a:lnTo>
                  <a:pt x="7696" y="11912"/>
                </a:lnTo>
                <a:lnTo>
                  <a:pt x="7694" y="11917"/>
                </a:lnTo>
                <a:lnTo>
                  <a:pt x="7693" y="11919"/>
                </a:lnTo>
                <a:lnTo>
                  <a:pt x="7693" y="11920"/>
                </a:lnTo>
                <a:lnTo>
                  <a:pt x="7694" y="11921"/>
                </a:lnTo>
                <a:lnTo>
                  <a:pt x="7695" y="11921"/>
                </a:lnTo>
                <a:lnTo>
                  <a:pt x="7693" y="11954"/>
                </a:lnTo>
                <a:lnTo>
                  <a:pt x="7692" y="11993"/>
                </a:lnTo>
                <a:lnTo>
                  <a:pt x="7691" y="12037"/>
                </a:lnTo>
                <a:lnTo>
                  <a:pt x="7690" y="12081"/>
                </a:lnTo>
                <a:lnTo>
                  <a:pt x="7689" y="12103"/>
                </a:lnTo>
                <a:lnTo>
                  <a:pt x="7687" y="12125"/>
                </a:lnTo>
                <a:lnTo>
                  <a:pt x="7685" y="12145"/>
                </a:lnTo>
                <a:lnTo>
                  <a:pt x="7682" y="12165"/>
                </a:lnTo>
                <a:lnTo>
                  <a:pt x="7678" y="12183"/>
                </a:lnTo>
                <a:lnTo>
                  <a:pt x="7673" y="12198"/>
                </a:lnTo>
                <a:lnTo>
                  <a:pt x="7670" y="12205"/>
                </a:lnTo>
                <a:lnTo>
                  <a:pt x="7667" y="12212"/>
                </a:lnTo>
                <a:lnTo>
                  <a:pt x="7664" y="12217"/>
                </a:lnTo>
                <a:lnTo>
                  <a:pt x="7660" y="12222"/>
                </a:lnTo>
                <a:lnTo>
                  <a:pt x="7650" y="12233"/>
                </a:lnTo>
                <a:lnTo>
                  <a:pt x="7639" y="12241"/>
                </a:lnTo>
                <a:lnTo>
                  <a:pt x="7629" y="12248"/>
                </a:lnTo>
                <a:lnTo>
                  <a:pt x="7619" y="12255"/>
                </a:lnTo>
                <a:lnTo>
                  <a:pt x="7615" y="12259"/>
                </a:lnTo>
                <a:lnTo>
                  <a:pt x="7612" y="12263"/>
                </a:lnTo>
                <a:lnTo>
                  <a:pt x="7609" y="12267"/>
                </a:lnTo>
                <a:lnTo>
                  <a:pt x="7607" y="12273"/>
                </a:lnTo>
                <a:lnTo>
                  <a:pt x="7607" y="12278"/>
                </a:lnTo>
                <a:lnTo>
                  <a:pt x="7607" y="12286"/>
                </a:lnTo>
                <a:lnTo>
                  <a:pt x="7608" y="12294"/>
                </a:lnTo>
                <a:lnTo>
                  <a:pt x="7611" y="12303"/>
                </a:lnTo>
                <a:lnTo>
                  <a:pt x="7601" y="12303"/>
                </a:lnTo>
                <a:lnTo>
                  <a:pt x="7594" y="12304"/>
                </a:lnTo>
                <a:lnTo>
                  <a:pt x="7588" y="12306"/>
                </a:lnTo>
                <a:lnTo>
                  <a:pt x="7585" y="12309"/>
                </a:lnTo>
                <a:lnTo>
                  <a:pt x="7581" y="12316"/>
                </a:lnTo>
                <a:lnTo>
                  <a:pt x="7579" y="12323"/>
                </a:lnTo>
                <a:lnTo>
                  <a:pt x="7577" y="12327"/>
                </a:lnTo>
                <a:lnTo>
                  <a:pt x="7575" y="12331"/>
                </a:lnTo>
                <a:lnTo>
                  <a:pt x="7571" y="12335"/>
                </a:lnTo>
                <a:lnTo>
                  <a:pt x="7566" y="12338"/>
                </a:lnTo>
                <a:lnTo>
                  <a:pt x="7559" y="12340"/>
                </a:lnTo>
                <a:lnTo>
                  <a:pt x="7549" y="12343"/>
                </a:lnTo>
                <a:lnTo>
                  <a:pt x="7537" y="12344"/>
                </a:lnTo>
                <a:lnTo>
                  <a:pt x="7521" y="12344"/>
                </a:lnTo>
                <a:lnTo>
                  <a:pt x="7510" y="12345"/>
                </a:lnTo>
                <a:lnTo>
                  <a:pt x="7496" y="12348"/>
                </a:lnTo>
                <a:lnTo>
                  <a:pt x="7483" y="12353"/>
                </a:lnTo>
                <a:lnTo>
                  <a:pt x="7470" y="12359"/>
                </a:lnTo>
                <a:lnTo>
                  <a:pt x="7456" y="12366"/>
                </a:lnTo>
                <a:lnTo>
                  <a:pt x="7443" y="12375"/>
                </a:lnTo>
                <a:lnTo>
                  <a:pt x="7429" y="12384"/>
                </a:lnTo>
                <a:lnTo>
                  <a:pt x="7416" y="12395"/>
                </a:lnTo>
                <a:lnTo>
                  <a:pt x="7404" y="12407"/>
                </a:lnTo>
                <a:lnTo>
                  <a:pt x="7392" y="12420"/>
                </a:lnTo>
                <a:lnTo>
                  <a:pt x="7382" y="12433"/>
                </a:lnTo>
                <a:lnTo>
                  <a:pt x="7373" y="12446"/>
                </a:lnTo>
                <a:lnTo>
                  <a:pt x="7364" y="12460"/>
                </a:lnTo>
                <a:lnTo>
                  <a:pt x="7359" y="12473"/>
                </a:lnTo>
                <a:lnTo>
                  <a:pt x="7356" y="12480"/>
                </a:lnTo>
                <a:lnTo>
                  <a:pt x="7355" y="12487"/>
                </a:lnTo>
                <a:lnTo>
                  <a:pt x="7354" y="12493"/>
                </a:lnTo>
                <a:lnTo>
                  <a:pt x="7353" y="12500"/>
                </a:lnTo>
                <a:lnTo>
                  <a:pt x="7352" y="12516"/>
                </a:lnTo>
                <a:lnTo>
                  <a:pt x="7350" y="12531"/>
                </a:lnTo>
                <a:lnTo>
                  <a:pt x="7348" y="12547"/>
                </a:lnTo>
                <a:lnTo>
                  <a:pt x="7346" y="12562"/>
                </a:lnTo>
                <a:lnTo>
                  <a:pt x="7343" y="12576"/>
                </a:lnTo>
                <a:lnTo>
                  <a:pt x="7339" y="12589"/>
                </a:lnTo>
                <a:lnTo>
                  <a:pt x="7334" y="12602"/>
                </a:lnTo>
                <a:lnTo>
                  <a:pt x="7329" y="12615"/>
                </a:lnTo>
                <a:lnTo>
                  <a:pt x="7322" y="12627"/>
                </a:lnTo>
                <a:lnTo>
                  <a:pt x="7315" y="12639"/>
                </a:lnTo>
                <a:lnTo>
                  <a:pt x="7307" y="12651"/>
                </a:lnTo>
                <a:lnTo>
                  <a:pt x="7298" y="12662"/>
                </a:lnTo>
                <a:lnTo>
                  <a:pt x="7288" y="12674"/>
                </a:lnTo>
                <a:lnTo>
                  <a:pt x="7277" y="12684"/>
                </a:lnTo>
                <a:lnTo>
                  <a:pt x="7265" y="12694"/>
                </a:lnTo>
                <a:lnTo>
                  <a:pt x="7251" y="12705"/>
                </a:lnTo>
                <a:lnTo>
                  <a:pt x="7251" y="12707"/>
                </a:lnTo>
                <a:lnTo>
                  <a:pt x="7250" y="12710"/>
                </a:lnTo>
                <a:lnTo>
                  <a:pt x="7248" y="12712"/>
                </a:lnTo>
                <a:lnTo>
                  <a:pt x="7246" y="12715"/>
                </a:lnTo>
                <a:lnTo>
                  <a:pt x="7238" y="12720"/>
                </a:lnTo>
                <a:lnTo>
                  <a:pt x="7229" y="12724"/>
                </a:lnTo>
                <a:lnTo>
                  <a:pt x="7207" y="12734"/>
                </a:lnTo>
                <a:lnTo>
                  <a:pt x="7182" y="12744"/>
                </a:lnTo>
                <a:lnTo>
                  <a:pt x="7169" y="12751"/>
                </a:lnTo>
                <a:lnTo>
                  <a:pt x="7157" y="12757"/>
                </a:lnTo>
                <a:lnTo>
                  <a:pt x="7146" y="12765"/>
                </a:lnTo>
                <a:lnTo>
                  <a:pt x="7135" y="12773"/>
                </a:lnTo>
                <a:lnTo>
                  <a:pt x="7131" y="12778"/>
                </a:lnTo>
                <a:lnTo>
                  <a:pt x="7127" y="12783"/>
                </a:lnTo>
                <a:lnTo>
                  <a:pt x="7123" y="12788"/>
                </a:lnTo>
                <a:lnTo>
                  <a:pt x="7120" y="12795"/>
                </a:lnTo>
                <a:lnTo>
                  <a:pt x="7116" y="12801"/>
                </a:lnTo>
                <a:lnTo>
                  <a:pt x="7114" y="12807"/>
                </a:lnTo>
                <a:lnTo>
                  <a:pt x="7113" y="12814"/>
                </a:lnTo>
                <a:lnTo>
                  <a:pt x="7113" y="12821"/>
                </a:lnTo>
                <a:lnTo>
                  <a:pt x="7115" y="12822"/>
                </a:lnTo>
                <a:lnTo>
                  <a:pt x="7117" y="12827"/>
                </a:lnTo>
                <a:lnTo>
                  <a:pt x="7118" y="12834"/>
                </a:lnTo>
                <a:lnTo>
                  <a:pt x="7118" y="12843"/>
                </a:lnTo>
                <a:lnTo>
                  <a:pt x="7120" y="12867"/>
                </a:lnTo>
                <a:lnTo>
                  <a:pt x="7118" y="12894"/>
                </a:lnTo>
                <a:lnTo>
                  <a:pt x="7116" y="12923"/>
                </a:lnTo>
                <a:lnTo>
                  <a:pt x="7115" y="12949"/>
                </a:lnTo>
                <a:lnTo>
                  <a:pt x="7113" y="12968"/>
                </a:lnTo>
                <a:lnTo>
                  <a:pt x="7113" y="12979"/>
                </a:lnTo>
                <a:lnTo>
                  <a:pt x="7105" y="12980"/>
                </a:lnTo>
                <a:lnTo>
                  <a:pt x="7095" y="12981"/>
                </a:lnTo>
                <a:lnTo>
                  <a:pt x="7085" y="12983"/>
                </a:lnTo>
                <a:lnTo>
                  <a:pt x="7074" y="12986"/>
                </a:lnTo>
                <a:lnTo>
                  <a:pt x="7050" y="12993"/>
                </a:lnTo>
                <a:lnTo>
                  <a:pt x="7025" y="13003"/>
                </a:lnTo>
                <a:lnTo>
                  <a:pt x="7014" y="13008"/>
                </a:lnTo>
                <a:lnTo>
                  <a:pt x="7002" y="13014"/>
                </a:lnTo>
                <a:lnTo>
                  <a:pt x="6990" y="13021"/>
                </a:lnTo>
                <a:lnTo>
                  <a:pt x="6981" y="13027"/>
                </a:lnTo>
                <a:lnTo>
                  <a:pt x="6972" y="13033"/>
                </a:lnTo>
                <a:lnTo>
                  <a:pt x="6964" y="13040"/>
                </a:lnTo>
                <a:lnTo>
                  <a:pt x="6959" y="13047"/>
                </a:lnTo>
                <a:lnTo>
                  <a:pt x="6954" y="13054"/>
                </a:lnTo>
                <a:lnTo>
                  <a:pt x="6930" y="13054"/>
                </a:lnTo>
                <a:lnTo>
                  <a:pt x="6910" y="13054"/>
                </a:lnTo>
                <a:lnTo>
                  <a:pt x="6892" y="13055"/>
                </a:lnTo>
                <a:lnTo>
                  <a:pt x="6876" y="13057"/>
                </a:lnTo>
                <a:lnTo>
                  <a:pt x="6862" y="13059"/>
                </a:lnTo>
                <a:lnTo>
                  <a:pt x="6850" y="13061"/>
                </a:lnTo>
                <a:lnTo>
                  <a:pt x="6840" y="13064"/>
                </a:lnTo>
                <a:lnTo>
                  <a:pt x="6830" y="13068"/>
                </a:lnTo>
                <a:lnTo>
                  <a:pt x="6822" y="13073"/>
                </a:lnTo>
                <a:lnTo>
                  <a:pt x="6813" y="13078"/>
                </a:lnTo>
                <a:lnTo>
                  <a:pt x="6804" y="13084"/>
                </a:lnTo>
                <a:lnTo>
                  <a:pt x="6795" y="13091"/>
                </a:lnTo>
                <a:lnTo>
                  <a:pt x="6773" y="13107"/>
                </a:lnTo>
                <a:lnTo>
                  <a:pt x="6743" y="13127"/>
                </a:lnTo>
                <a:lnTo>
                  <a:pt x="6743" y="13136"/>
                </a:lnTo>
                <a:lnTo>
                  <a:pt x="6740" y="13148"/>
                </a:lnTo>
                <a:lnTo>
                  <a:pt x="6738" y="13162"/>
                </a:lnTo>
                <a:lnTo>
                  <a:pt x="6734" y="13177"/>
                </a:lnTo>
                <a:lnTo>
                  <a:pt x="6729" y="13191"/>
                </a:lnTo>
                <a:lnTo>
                  <a:pt x="6724" y="13202"/>
                </a:lnTo>
                <a:lnTo>
                  <a:pt x="6721" y="13206"/>
                </a:lnTo>
                <a:lnTo>
                  <a:pt x="6718" y="13209"/>
                </a:lnTo>
                <a:lnTo>
                  <a:pt x="6715" y="13211"/>
                </a:lnTo>
                <a:lnTo>
                  <a:pt x="6711" y="13212"/>
                </a:lnTo>
                <a:lnTo>
                  <a:pt x="6711" y="13222"/>
                </a:lnTo>
                <a:lnTo>
                  <a:pt x="6710" y="13230"/>
                </a:lnTo>
                <a:lnTo>
                  <a:pt x="6709" y="13237"/>
                </a:lnTo>
                <a:lnTo>
                  <a:pt x="6708" y="13243"/>
                </a:lnTo>
                <a:lnTo>
                  <a:pt x="6706" y="13249"/>
                </a:lnTo>
                <a:lnTo>
                  <a:pt x="6704" y="13253"/>
                </a:lnTo>
                <a:lnTo>
                  <a:pt x="6701" y="13257"/>
                </a:lnTo>
                <a:lnTo>
                  <a:pt x="6698" y="13259"/>
                </a:lnTo>
                <a:lnTo>
                  <a:pt x="6695" y="13262"/>
                </a:lnTo>
                <a:lnTo>
                  <a:pt x="6692" y="13263"/>
                </a:lnTo>
                <a:lnTo>
                  <a:pt x="6688" y="13264"/>
                </a:lnTo>
                <a:lnTo>
                  <a:pt x="6684" y="13265"/>
                </a:lnTo>
                <a:lnTo>
                  <a:pt x="6675" y="13265"/>
                </a:lnTo>
                <a:lnTo>
                  <a:pt x="6666" y="13264"/>
                </a:lnTo>
                <a:lnTo>
                  <a:pt x="6645" y="13260"/>
                </a:lnTo>
                <a:lnTo>
                  <a:pt x="6622" y="13258"/>
                </a:lnTo>
                <a:lnTo>
                  <a:pt x="6609" y="13259"/>
                </a:lnTo>
                <a:lnTo>
                  <a:pt x="6597" y="13262"/>
                </a:lnTo>
                <a:lnTo>
                  <a:pt x="6591" y="13264"/>
                </a:lnTo>
                <a:lnTo>
                  <a:pt x="6585" y="13267"/>
                </a:lnTo>
                <a:lnTo>
                  <a:pt x="6579" y="13271"/>
                </a:lnTo>
                <a:lnTo>
                  <a:pt x="6574" y="13275"/>
                </a:lnTo>
                <a:lnTo>
                  <a:pt x="6578" y="13277"/>
                </a:lnTo>
                <a:lnTo>
                  <a:pt x="6583" y="13280"/>
                </a:lnTo>
                <a:lnTo>
                  <a:pt x="6587" y="13285"/>
                </a:lnTo>
                <a:lnTo>
                  <a:pt x="6592" y="13292"/>
                </a:lnTo>
                <a:lnTo>
                  <a:pt x="6596" y="13301"/>
                </a:lnTo>
                <a:lnTo>
                  <a:pt x="6601" y="13310"/>
                </a:lnTo>
                <a:lnTo>
                  <a:pt x="6605" y="13319"/>
                </a:lnTo>
                <a:lnTo>
                  <a:pt x="6608" y="13329"/>
                </a:lnTo>
                <a:lnTo>
                  <a:pt x="6614" y="13348"/>
                </a:lnTo>
                <a:lnTo>
                  <a:pt x="6619" y="13365"/>
                </a:lnTo>
                <a:lnTo>
                  <a:pt x="6619" y="13371"/>
                </a:lnTo>
                <a:lnTo>
                  <a:pt x="6619" y="13377"/>
                </a:lnTo>
                <a:lnTo>
                  <a:pt x="6619" y="13380"/>
                </a:lnTo>
                <a:lnTo>
                  <a:pt x="6617" y="13381"/>
                </a:lnTo>
                <a:lnTo>
                  <a:pt x="6616" y="13398"/>
                </a:lnTo>
                <a:lnTo>
                  <a:pt x="6613" y="13412"/>
                </a:lnTo>
                <a:lnTo>
                  <a:pt x="6610" y="13426"/>
                </a:lnTo>
                <a:lnTo>
                  <a:pt x="6606" y="13438"/>
                </a:lnTo>
                <a:lnTo>
                  <a:pt x="6601" y="13448"/>
                </a:lnTo>
                <a:lnTo>
                  <a:pt x="6594" y="13458"/>
                </a:lnTo>
                <a:lnTo>
                  <a:pt x="6587" y="13467"/>
                </a:lnTo>
                <a:lnTo>
                  <a:pt x="6580" y="13475"/>
                </a:lnTo>
                <a:lnTo>
                  <a:pt x="6562" y="13492"/>
                </a:lnTo>
                <a:lnTo>
                  <a:pt x="6543" y="13508"/>
                </a:lnTo>
                <a:lnTo>
                  <a:pt x="6532" y="13517"/>
                </a:lnTo>
                <a:lnTo>
                  <a:pt x="6522" y="13527"/>
                </a:lnTo>
                <a:lnTo>
                  <a:pt x="6511" y="13538"/>
                </a:lnTo>
                <a:lnTo>
                  <a:pt x="6500" y="13551"/>
                </a:lnTo>
                <a:lnTo>
                  <a:pt x="6495" y="13555"/>
                </a:lnTo>
                <a:lnTo>
                  <a:pt x="6490" y="13561"/>
                </a:lnTo>
                <a:lnTo>
                  <a:pt x="6484" y="13567"/>
                </a:lnTo>
                <a:lnTo>
                  <a:pt x="6479" y="13574"/>
                </a:lnTo>
                <a:lnTo>
                  <a:pt x="6469" y="13589"/>
                </a:lnTo>
                <a:lnTo>
                  <a:pt x="6459" y="13606"/>
                </a:lnTo>
                <a:lnTo>
                  <a:pt x="6450" y="13621"/>
                </a:lnTo>
                <a:lnTo>
                  <a:pt x="6442" y="13634"/>
                </a:lnTo>
                <a:lnTo>
                  <a:pt x="6437" y="13639"/>
                </a:lnTo>
                <a:lnTo>
                  <a:pt x="6433" y="13642"/>
                </a:lnTo>
                <a:lnTo>
                  <a:pt x="6429" y="13645"/>
                </a:lnTo>
                <a:lnTo>
                  <a:pt x="6426" y="13646"/>
                </a:lnTo>
                <a:lnTo>
                  <a:pt x="6425" y="13657"/>
                </a:lnTo>
                <a:lnTo>
                  <a:pt x="6424" y="13669"/>
                </a:lnTo>
                <a:lnTo>
                  <a:pt x="6423" y="13681"/>
                </a:lnTo>
                <a:lnTo>
                  <a:pt x="6421" y="13693"/>
                </a:lnTo>
                <a:lnTo>
                  <a:pt x="6416" y="13715"/>
                </a:lnTo>
                <a:lnTo>
                  <a:pt x="6410" y="13737"/>
                </a:lnTo>
                <a:lnTo>
                  <a:pt x="6404" y="13759"/>
                </a:lnTo>
                <a:lnTo>
                  <a:pt x="6399" y="13781"/>
                </a:lnTo>
                <a:lnTo>
                  <a:pt x="6397" y="13792"/>
                </a:lnTo>
                <a:lnTo>
                  <a:pt x="6396" y="13804"/>
                </a:lnTo>
                <a:lnTo>
                  <a:pt x="6395" y="13815"/>
                </a:lnTo>
                <a:lnTo>
                  <a:pt x="6394" y="13826"/>
                </a:lnTo>
                <a:lnTo>
                  <a:pt x="6397" y="13827"/>
                </a:lnTo>
                <a:lnTo>
                  <a:pt x="6398" y="13828"/>
                </a:lnTo>
                <a:lnTo>
                  <a:pt x="6399" y="13829"/>
                </a:lnTo>
                <a:lnTo>
                  <a:pt x="6400" y="13831"/>
                </a:lnTo>
                <a:lnTo>
                  <a:pt x="6401" y="13836"/>
                </a:lnTo>
                <a:lnTo>
                  <a:pt x="6401" y="13843"/>
                </a:lnTo>
                <a:lnTo>
                  <a:pt x="6401" y="13851"/>
                </a:lnTo>
                <a:lnTo>
                  <a:pt x="6401" y="13860"/>
                </a:lnTo>
                <a:lnTo>
                  <a:pt x="6402" y="13869"/>
                </a:lnTo>
                <a:lnTo>
                  <a:pt x="6405" y="13878"/>
                </a:lnTo>
                <a:lnTo>
                  <a:pt x="6410" y="13877"/>
                </a:lnTo>
                <a:lnTo>
                  <a:pt x="6414" y="13874"/>
                </a:lnTo>
                <a:lnTo>
                  <a:pt x="6418" y="13871"/>
                </a:lnTo>
                <a:lnTo>
                  <a:pt x="6422" y="13868"/>
                </a:lnTo>
                <a:lnTo>
                  <a:pt x="6428" y="13862"/>
                </a:lnTo>
                <a:lnTo>
                  <a:pt x="6432" y="13854"/>
                </a:lnTo>
                <a:lnTo>
                  <a:pt x="6436" y="13848"/>
                </a:lnTo>
                <a:lnTo>
                  <a:pt x="6439" y="13842"/>
                </a:lnTo>
                <a:lnTo>
                  <a:pt x="6441" y="13840"/>
                </a:lnTo>
                <a:lnTo>
                  <a:pt x="6443" y="13838"/>
                </a:lnTo>
                <a:lnTo>
                  <a:pt x="6445" y="13837"/>
                </a:lnTo>
                <a:lnTo>
                  <a:pt x="6447" y="13837"/>
                </a:lnTo>
                <a:lnTo>
                  <a:pt x="6447" y="13832"/>
                </a:lnTo>
                <a:lnTo>
                  <a:pt x="6448" y="13828"/>
                </a:lnTo>
                <a:lnTo>
                  <a:pt x="6449" y="13825"/>
                </a:lnTo>
                <a:lnTo>
                  <a:pt x="6450" y="13823"/>
                </a:lnTo>
                <a:lnTo>
                  <a:pt x="6452" y="13821"/>
                </a:lnTo>
                <a:lnTo>
                  <a:pt x="6454" y="13820"/>
                </a:lnTo>
                <a:lnTo>
                  <a:pt x="6456" y="13820"/>
                </a:lnTo>
                <a:lnTo>
                  <a:pt x="6459" y="13820"/>
                </a:lnTo>
                <a:lnTo>
                  <a:pt x="6464" y="13821"/>
                </a:lnTo>
                <a:lnTo>
                  <a:pt x="6470" y="13824"/>
                </a:lnTo>
                <a:lnTo>
                  <a:pt x="6476" y="13828"/>
                </a:lnTo>
                <a:lnTo>
                  <a:pt x="6482" y="13833"/>
                </a:lnTo>
                <a:lnTo>
                  <a:pt x="6487" y="13838"/>
                </a:lnTo>
                <a:lnTo>
                  <a:pt x="6492" y="13844"/>
                </a:lnTo>
                <a:lnTo>
                  <a:pt x="6495" y="13850"/>
                </a:lnTo>
                <a:lnTo>
                  <a:pt x="6496" y="13856"/>
                </a:lnTo>
                <a:lnTo>
                  <a:pt x="6496" y="13858"/>
                </a:lnTo>
                <a:lnTo>
                  <a:pt x="6495" y="13861"/>
                </a:lnTo>
                <a:lnTo>
                  <a:pt x="6494" y="13863"/>
                </a:lnTo>
                <a:lnTo>
                  <a:pt x="6493" y="13865"/>
                </a:lnTo>
                <a:lnTo>
                  <a:pt x="6490" y="13866"/>
                </a:lnTo>
                <a:lnTo>
                  <a:pt x="6486" y="13867"/>
                </a:lnTo>
                <a:lnTo>
                  <a:pt x="6483" y="13868"/>
                </a:lnTo>
                <a:lnTo>
                  <a:pt x="6478" y="13868"/>
                </a:lnTo>
                <a:lnTo>
                  <a:pt x="6470" y="13880"/>
                </a:lnTo>
                <a:lnTo>
                  <a:pt x="6462" y="13890"/>
                </a:lnTo>
                <a:lnTo>
                  <a:pt x="6454" y="13899"/>
                </a:lnTo>
                <a:lnTo>
                  <a:pt x="6445" y="13908"/>
                </a:lnTo>
                <a:lnTo>
                  <a:pt x="6429" y="13924"/>
                </a:lnTo>
                <a:lnTo>
                  <a:pt x="6414" y="13938"/>
                </a:lnTo>
                <a:lnTo>
                  <a:pt x="6406" y="13946"/>
                </a:lnTo>
                <a:lnTo>
                  <a:pt x="6399" y="13954"/>
                </a:lnTo>
                <a:lnTo>
                  <a:pt x="6392" y="13963"/>
                </a:lnTo>
                <a:lnTo>
                  <a:pt x="6385" y="13973"/>
                </a:lnTo>
                <a:lnTo>
                  <a:pt x="6379" y="13984"/>
                </a:lnTo>
                <a:lnTo>
                  <a:pt x="6373" y="13997"/>
                </a:lnTo>
                <a:lnTo>
                  <a:pt x="6368" y="14011"/>
                </a:lnTo>
                <a:lnTo>
                  <a:pt x="6361" y="14027"/>
                </a:lnTo>
                <a:lnTo>
                  <a:pt x="6354" y="14027"/>
                </a:lnTo>
                <a:lnTo>
                  <a:pt x="6348" y="14029"/>
                </a:lnTo>
                <a:lnTo>
                  <a:pt x="6341" y="14031"/>
                </a:lnTo>
                <a:lnTo>
                  <a:pt x="6334" y="14035"/>
                </a:lnTo>
                <a:lnTo>
                  <a:pt x="6327" y="14039"/>
                </a:lnTo>
                <a:lnTo>
                  <a:pt x="6321" y="14044"/>
                </a:lnTo>
                <a:lnTo>
                  <a:pt x="6315" y="14051"/>
                </a:lnTo>
                <a:lnTo>
                  <a:pt x="6309" y="14057"/>
                </a:lnTo>
                <a:lnTo>
                  <a:pt x="6297" y="14072"/>
                </a:lnTo>
                <a:lnTo>
                  <a:pt x="6287" y="14088"/>
                </a:lnTo>
                <a:lnTo>
                  <a:pt x="6278" y="14105"/>
                </a:lnTo>
                <a:lnTo>
                  <a:pt x="6270" y="14122"/>
                </a:lnTo>
                <a:lnTo>
                  <a:pt x="6265" y="14140"/>
                </a:lnTo>
                <a:lnTo>
                  <a:pt x="6261" y="14157"/>
                </a:lnTo>
                <a:lnTo>
                  <a:pt x="6260" y="14165"/>
                </a:lnTo>
                <a:lnTo>
                  <a:pt x="6259" y="14173"/>
                </a:lnTo>
                <a:lnTo>
                  <a:pt x="6259" y="14181"/>
                </a:lnTo>
                <a:lnTo>
                  <a:pt x="6259" y="14188"/>
                </a:lnTo>
                <a:lnTo>
                  <a:pt x="6261" y="14195"/>
                </a:lnTo>
                <a:lnTo>
                  <a:pt x="6262" y="14200"/>
                </a:lnTo>
                <a:lnTo>
                  <a:pt x="6265" y="14205"/>
                </a:lnTo>
                <a:lnTo>
                  <a:pt x="6268" y="14210"/>
                </a:lnTo>
                <a:lnTo>
                  <a:pt x="6272" y="14213"/>
                </a:lnTo>
                <a:lnTo>
                  <a:pt x="6276" y="14216"/>
                </a:lnTo>
                <a:lnTo>
                  <a:pt x="6282" y="14217"/>
                </a:lnTo>
                <a:lnTo>
                  <a:pt x="6288" y="14218"/>
                </a:lnTo>
                <a:lnTo>
                  <a:pt x="6289" y="14230"/>
                </a:lnTo>
                <a:lnTo>
                  <a:pt x="6290" y="14242"/>
                </a:lnTo>
                <a:lnTo>
                  <a:pt x="6293" y="14254"/>
                </a:lnTo>
                <a:lnTo>
                  <a:pt x="6296" y="14265"/>
                </a:lnTo>
                <a:lnTo>
                  <a:pt x="6300" y="14276"/>
                </a:lnTo>
                <a:lnTo>
                  <a:pt x="6305" y="14287"/>
                </a:lnTo>
                <a:lnTo>
                  <a:pt x="6311" y="14297"/>
                </a:lnTo>
                <a:lnTo>
                  <a:pt x="6317" y="14308"/>
                </a:lnTo>
                <a:lnTo>
                  <a:pt x="6253" y="14289"/>
                </a:lnTo>
                <a:lnTo>
                  <a:pt x="6188" y="14270"/>
                </a:lnTo>
                <a:lnTo>
                  <a:pt x="6124" y="14251"/>
                </a:lnTo>
                <a:lnTo>
                  <a:pt x="6060" y="14231"/>
                </a:lnTo>
                <a:lnTo>
                  <a:pt x="5997" y="14210"/>
                </a:lnTo>
                <a:lnTo>
                  <a:pt x="5934" y="14189"/>
                </a:lnTo>
                <a:lnTo>
                  <a:pt x="5871" y="14166"/>
                </a:lnTo>
                <a:lnTo>
                  <a:pt x="5808" y="14143"/>
                </a:lnTo>
                <a:lnTo>
                  <a:pt x="5806" y="14058"/>
                </a:lnTo>
                <a:lnTo>
                  <a:pt x="5806" y="13953"/>
                </a:lnTo>
                <a:lnTo>
                  <a:pt x="5807" y="13895"/>
                </a:lnTo>
                <a:lnTo>
                  <a:pt x="5808" y="13837"/>
                </a:lnTo>
                <a:lnTo>
                  <a:pt x="5810" y="13778"/>
                </a:lnTo>
                <a:lnTo>
                  <a:pt x="5813" y="13722"/>
                </a:lnTo>
                <a:lnTo>
                  <a:pt x="5817" y="13666"/>
                </a:lnTo>
                <a:lnTo>
                  <a:pt x="5822" y="13615"/>
                </a:lnTo>
                <a:lnTo>
                  <a:pt x="5828" y="13568"/>
                </a:lnTo>
                <a:lnTo>
                  <a:pt x="5834" y="13527"/>
                </a:lnTo>
                <a:lnTo>
                  <a:pt x="5838" y="13509"/>
                </a:lnTo>
                <a:lnTo>
                  <a:pt x="5843" y="13493"/>
                </a:lnTo>
                <a:lnTo>
                  <a:pt x="5847" y="13479"/>
                </a:lnTo>
                <a:lnTo>
                  <a:pt x="5852" y="13467"/>
                </a:lnTo>
                <a:lnTo>
                  <a:pt x="5857" y="13458"/>
                </a:lnTo>
                <a:lnTo>
                  <a:pt x="5864" y="13451"/>
                </a:lnTo>
                <a:lnTo>
                  <a:pt x="5869" y="13447"/>
                </a:lnTo>
                <a:lnTo>
                  <a:pt x="5876" y="13445"/>
                </a:lnTo>
                <a:lnTo>
                  <a:pt x="5877" y="13429"/>
                </a:lnTo>
                <a:lnTo>
                  <a:pt x="5880" y="13404"/>
                </a:lnTo>
                <a:lnTo>
                  <a:pt x="5886" y="13377"/>
                </a:lnTo>
                <a:lnTo>
                  <a:pt x="5893" y="13348"/>
                </a:lnTo>
                <a:lnTo>
                  <a:pt x="5896" y="13334"/>
                </a:lnTo>
                <a:lnTo>
                  <a:pt x="5901" y="13321"/>
                </a:lnTo>
                <a:lnTo>
                  <a:pt x="5905" y="13309"/>
                </a:lnTo>
                <a:lnTo>
                  <a:pt x="5909" y="13298"/>
                </a:lnTo>
                <a:lnTo>
                  <a:pt x="5914" y="13288"/>
                </a:lnTo>
                <a:lnTo>
                  <a:pt x="5919" y="13281"/>
                </a:lnTo>
                <a:lnTo>
                  <a:pt x="5921" y="13279"/>
                </a:lnTo>
                <a:lnTo>
                  <a:pt x="5923" y="13277"/>
                </a:lnTo>
                <a:lnTo>
                  <a:pt x="5926" y="13276"/>
                </a:lnTo>
                <a:lnTo>
                  <a:pt x="5928" y="13275"/>
                </a:lnTo>
                <a:lnTo>
                  <a:pt x="5929" y="13243"/>
                </a:lnTo>
                <a:lnTo>
                  <a:pt x="5930" y="13210"/>
                </a:lnTo>
                <a:lnTo>
                  <a:pt x="5931" y="13175"/>
                </a:lnTo>
                <a:lnTo>
                  <a:pt x="5932" y="13139"/>
                </a:lnTo>
                <a:lnTo>
                  <a:pt x="5933" y="13103"/>
                </a:lnTo>
                <a:lnTo>
                  <a:pt x="5932" y="13066"/>
                </a:lnTo>
                <a:lnTo>
                  <a:pt x="5931" y="13027"/>
                </a:lnTo>
                <a:lnTo>
                  <a:pt x="5928" y="12990"/>
                </a:lnTo>
                <a:lnTo>
                  <a:pt x="5925" y="12984"/>
                </a:lnTo>
                <a:lnTo>
                  <a:pt x="5923" y="12978"/>
                </a:lnTo>
                <a:lnTo>
                  <a:pt x="5922" y="12972"/>
                </a:lnTo>
                <a:lnTo>
                  <a:pt x="5921" y="12966"/>
                </a:lnTo>
                <a:lnTo>
                  <a:pt x="5920" y="12953"/>
                </a:lnTo>
                <a:lnTo>
                  <a:pt x="5922" y="12940"/>
                </a:lnTo>
                <a:lnTo>
                  <a:pt x="5924" y="12926"/>
                </a:lnTo>
                <a:lnTo>
                  <a:pt x="5928" y="12911"/>
                </a:lnTo>
                <a:lnTo>
                  <a:pt x="5934" y="12896"/>
                </a:lnTo>
                <a:lnTo>
                  <a:pt x="5940" y="12882"/>
                </a:lnTo>
                <a:lnTo>
                  <a:pt x="5953" y="12851"/>
                </a:lnTo>
                <a:lnTo>
                  <a:pt x="5968" y="12818"/>
                </a:lnTo>
                <a:lnTo>
                  <a:pt x="5974" y="12801"/>
                </a:lnTo>
                <a:lnTo>
                  <a:pt x="5981" y="12783"/>
                </a:lnTo>
                <a:lnTo>
                  <a:pt x="5987" y="12765"/>
                </a:lnTo>
                <a:lnTo>
                  <a:pt x="5992" y="12747"/>
                </a:lnTo>
                <a:lnTo>
                  <a:pt x="6003" y="12739"/>
                </a:lnTo>
                <a:lnTo>
                  <a:pt x="6012" y="12729"/>
                </a:lnTo>
                <a:lnTo>
                  <a:pt x="6021" y="12716"/>
                </a:lnTo>
                <a:lnTo>
                  <a:pt x="6028" y="12700"/>
                </a:lnTo>
                <a:lnTo>
                  <a:pt x="6035" y="12682"/>
                </a:lnTo>
                <a:lnTo>
                  <a:pt x="6041" y="12661"/>
                </a:lnTo>
                <a:lnTo>
                  <a:pt x="6046" y="12639"/>
                </a:lnTo>
                <a:lnTo>
                  <a:pt x="6050" y="12615"/>
                </a:lnTo>
                <a:lnTo>
                  <a:pt x="6054" y="12589"/>
                </a:lnTo>
                <a:lnTo>
                  <a:pt x="6057" y="12563"/>
                </a:lnTo>
                <a:lnTo>
                  <a:pt x="6059" y="12534"/>
                </a:lnTo>
                <a:lnTo>
                  <a:pt x="6061" y="12505"/>
                </a:lnTo>
                <a:lnTo>
                  <a:pt x="6064" y="12446"/>
                </a:lnTo>
                <a:lnTo>
                  <a:pt x="6066" y="12385"/>
                </a:lnTo>
                <a:lnTo>
                  <a:pt x="6068" y="12325"/>
                </a:lnTo>
                <a:lnTo>
                  <a:pt x="6070" y="12267"/>
                </a:lnTo>
                <a:lnTo>
                  <a:pt x="6073" y="12214"/>
                </a:lnTo>
                <a:lnTo>
                  <a:pt x="6077" y="12167"/>
                </a:lnTo>
                <a:lnTo>
                  <a:pt x="6080" y="12145"/>
                </a:lnTo>
                <a:lnTo>
                  <a:pt x="6083" y="12126"/>
                </a:lnTo>
                <a:lnTo>
                  <a:pt x="6087" y="12110"/>
                </a:lnTo>
                <a:lnTo>
                  <a:pt x="6092" y="12096"/>
                </a:lnTo>
                <a:lnTo>
                  <a:pt x="6097" y="12085"/>
                </a:lnTo>
                <a:lnTo>
                  <a:pt x="6103" y="12076"/>
                </a:lnTo>
                <a:lnTo>
                  <a:pt x="6110" y="12071"/>
                </a:lnTo>
                <a:lnTo>
                  <a:pt x="6119" y="12070"/>
                </a:lnTo>
                <a:lnTo>
                  <a:pt x="6120" y="12013"/>
                </a:lnTo>
                <a:lnTo>
                  <a:pt x="6122" y="11959"/>
                </a:lnTo>
                <a:lnTo>
                  <a:pt x="6125" y="11909"/>
                </a:lnTo>
                <a:lnTo>
                  <a:pt x="6129" y="11859"/>
                </a:lnTo>
                <a:lnTo>
                  <a:pt x="6134" y="11811"/>
                </a:lnTo>
                <a:lnTo>
                  <a:pt x="6138" y="11764"/>
                </a:lnTo>
                <a:lnTo>
                  <a:pt x="6143" y="11719"/>
                </a:lnTo>
                <a:lnTo>
                  <a:pt x="6147" y="11675"/>
                </a:lnTo>
                <a:lnTo>
                  <a:pt x="6151" y="11630"/>
                </a:lnTo>
                <a:lnTo>
                  <a:pt x="6154" y="11586"/>
                </a:lnTo>
                <a:lnTo>
                  <a:pt x="6156" y="11541"/>
                </a:lnTo>
                <a:lnTo>
                  <a:pt x="6157" y="11494"/>
                </a:lnTo>
                <a:lnTo>
                  <a:pt x="6156" y="11448"/>
                </a:lnTo>
                <a:lnTo>
                  <a:pt x="6153" y="11399"/>
                </a:lnTo>
                <a:lnTo>
                  <a:pt x="6150" y="11374"/>
                </a:lnTo>
                <a:lnTo>
                  <a:pt x="6148" y="11349"/>
                </a:lnTo>
                <a:lnTo>
                  <a:pt x="6144" y="11323"/>
                </a:lnTo>
                <a:lnTo>
                  <a:pt x="6140" y="11297"/>
                </a:lnTo>
                <a:lnTo>
                  <a:pt x="6142" y="11296"/>
                </a:lnTo>
                <a:lnTo>
                  <a:pt x="6142" y="11295"/>
                </a:lnTo>
                <a:lnTo>
                  <a:pt x="6142" y="11293"/>
                </a:lnTo>
                <a:lnTo>
                  <a:pt x="6141" y="11290"/>
                </a:lnTo>
                <a:lnTo>
                  <a:pt x="6136" y="11281"/>
                </a:lnTo>
                <a:lnTo>
                  <a:pt x="6128" y="11269"/>
                </a:lnTo>
                <a:lnTo>
                  <a:pt x="6106" y="11242"/>
                </a:lnTo>
                <a:lnTo>
                  <a:pt x="6079" y="11211"/>
                </a:lnTo>
                <a:lnTo>
                  <a:pt x="6051" y="11180"/>
                </a:lnTo>
                <a:lnTo>
                  <a:pt x="6026" y="11153"/>
                </a:lnTo>
                <a:lnTo>
                  <a:pt x="6009" y="11133"/>
                </a:lnTo>
                <a:lnTo>
                  <a:pt x="6002" y="11127"/>
                </a:lnTo>
                <a:lnTo>
                  <a:pt x="5988" y="11126"/>
                </a:lnTo>
                <a:lnTo>
                  <a:pt x="5973" y="11124"/>
                </a:lnTo>
                <a:lnTo>
                  <a:pt x="5959" y="11121"/>
                </a:lnTo>
                <a:lnTo>
                  <a:pt x="5946" y="11116"/>
                </a:lnTo>
                <a:lnTo>
                  <a:pt x="5933" y="11110"/>
                </a:lnTo>
                <a:lnTo>
                  <a:pt x="5920" y="11103"/>
                </a:lnTo>
                <a:lnTo>
                  <a:pt x="5907" y="11095"/>
                </a:lnTo>
                <a:lnTo>
                  <a:pt x="5895" y="11087"/>
                </a:lnTo>
                <a:lnTo>
                  <a:pt x="5884" y="11077"/>
                </a:lnTo>
                <a:lnTo>
                  <a:pt x="5872" y="11066"/>
                </a:lnTo>
                <a:lnTo>
                  <a:pt x="5861" y="11055"/>
                </a:lnTo>
                <a:lnTo>
                  <a:pt x="5850" y="11043"/>
                </a:lnTo>
                <a:lnTo>
                  <a:pt x="5840" y="11030"/>
                </a:lnTo>
                <a:lnTo>
                  <a:pt x="5830" y="11016"/>
                </a:lnTo>
                <a:lnTo>
                  <a:pt x="5820" y="11002"/>
                </a:lnTo>
                <a:lnTo>
                  <a:pt x="5812" y="10988"/>
                </a:lnTo>
                <a:lnTo>
                  <a:pt x="5795" y="10959"/>
                </a:lnTo>
                <a:lnTo>
                  <a:pt x="5781" y="10930"/>
                </a:lnTo>
                <a:lnTo>
                  <a:pt x="5768" y="10900"/>
                </a:lnTo>
                <a:lnTo>
                  <a:pt x="5758" y="10870"/>
                </a:lnTo>
                <a:lnTo>
                  <a:pt x="5749" y="10841"/>
                </a:lnTo>
                <a:lnTo>
                  <a:pt x="5743" y="10815"/>
                </a:lnTo>
                <a:lnTo>
                  <a:pt x="5741" y="10802"/>
                </a:lnTo>
                <a:lnTo>
                  <a:pt x="5740" y="10790"/>
                </a:lnTo>
                <a:lnTo>
                  <a:pt x="5739" y="10779"/>
                </a:lnTo>
                <a:lnTo>
                  <a:pt x="5738" y="10767"/>
                </a:lnTo>
                <a:lnTo>
                  <a:pt x="5731" y="10748"/>
                </a:lnTo>
                <a:lnTo>
                  <a:pt x="5723" y="10727"/>
                </a:lnTo>
                <a:lnTo>
                  <a:pt x="5714" y="10705"/>
                </a:lnTo>
                <a:lnTo>
                  <a:pt x="5705" y="10682"/>
                </a:lnTo>
                <a:lnTo>
                  <a:pt x="5697" y="10658"/>
                </a:lnTo>
                <a:lnTo>
                  <a:pt x="5691" y="10634"/>
                </a:lnTo>
                <a:lnTo>
                  <a:pt x="5688" y="10622"/>
                </a:lnTo>
                <a:lnTo>
                  <a:pt x="5686" y="10610"/>
                </a:lnTo>
                <a:lnTo>
                  <a:pt x="5685" y="10599"/>
                </a:lnTo>
                <a:lnTo>
                  <a:pt x="5685" y="10587"/>
                </a:lnTo>
                <a:lnTo>
                  <a:pt x="5687" y="10586"/>
                </a:lnTo>
                <a:lnTo>
                  <a:pt x="5688" y="10583"/>
                </a:lnTo>
                <a:lnTo>
                  <a:pt x="5687" y="10578"/>
                </a:lnTo>
                <a:lnTo>
                  <a:pt x="5685" y="10571"/>
                </a:lnTo>
                <a:lnTo>
                  <a:pt x="5677" y="10553"/>
                </a:lnTo>
                <a:lnTo>
                  <a:pt x="5665" y="10529"/>
                </a:lnTo>
                <a:lnTo>
                  <a:pt x="5649" y="10500"/>
                </a:lnTo>
                <a:lnTo>
                  <a:pt x="5630" y="10468"/>
                </a:lnTo>
                <a:lnTo>
                  <a:pt x="5610" y="10434"/>
                </a:lnTo>
                <a:lnTo>
                  <a:pt x="5587" y="10400"/>
                </a:lnTo>
                <a:lnTo>
                  <a:pt x="5542" y="10331"/>
                </a:lnTo>
                <a:lnTo>
                  <a:pt x="5503" y="10272"/>
                </a:lnTo>
                <a:lnTo>
                  <a:pt x="5473" y="10230"/>
                </a:lnTo>
                <a:lnTo>
                  <a:pt x="5462" y="10217"/>
                </a:lnTo>
                <a:lnTo>
                  <a:pt x="5450" y="10210"/>
                </a:lnTo>
                <a:lnTo>
                  <a:pt x="5440" y="10203"/>
                </a:lnTo>
                <a:lnTo>
                  <a:pt x="5431" y="10195"/>
                </a:lnTo>
                <a:lnTo>
                  <a:pt x="5424" y="10187"/>
                </a:lnTo>
                <a:lnTo>
                  <a:pt x="5418" y="10180"/>
                </a:lnTo>
                <a:lnTo>
                  <a:pt x="5413" y="10172"/>
                </a:lnTo>
                <a:lnTo>
                  <a:pt x="5409" y="10163"/>
                </a:lnTo>
                <a:lnTo>
                  <a:pt x="5406" y="10155"/>
                </a:lnTo>
                <a:lnTo>
                  <a:pt x="5405" y="10147"/>
                </a:lnTo>
                <a:lnTo>
                  <a:pt x="5404" y="10137"/>
                </a:lnTo>
                <a:lnTo>
                  <a:pt x="5405" y="10128"/>
                </a:lnTo>
                <a:lnTo>
                  <a:pt x="5406" y="10119"/>
                </a:lnTo>
                <a:lnTo>
                  <a:pt x="5408" y="10110"/>
                </a:lnTo>
                <a:lnTo>
                  <a:pt x="5410" y="10101"/>
                </a:lnTo>
                <a:lnTo>
                  <a:pt x="5413" y="10092"/>
                </a:lnTo>
                <a:lnTo>
                  <a:pt x="5417" y="10082"/>
                </a:lnTo>
                <a:lnTo>
                  <a:pt x="5435" y="10042"/>
                </a:lnTo>
                <a:lnTo>
                  <a:pt x="5455" y="10000"/>
                </a:lnTo>
                <a:lnTo>
                  <a:pt x="5465" y="9978"/>
                </a:lnTo>
                <a:lnTo>
                  <a:pt x="5473" y="9956"/>
                </a:lnTo>
                <a:lnTo>
                  <a:pt x="5476" y="9945"/>
                </a:lnTo>
                <a:lnTo>
                  <a:pt x="5479" y="9934"/>
                </a:lnTo>
                <a:lnTo>
                  <a:pt x="5483" y="9922"/>
                </a:lnTo>
                <a:lnTo>
                  <a:pt x="5484" y="9911"/>
                </a:lnTo>
                <a:lnTo>
                  <a:pt x="5473" y="9906"/>
                </a:lnTo>
                <a:lnTo>
                  <a:pt x="5464" y="9900"/>
                </a:lnTo>
                <a:lnTo>
                  <a:pt x="5456" y="9893"/>
                </a:lnTo>
                <a:lnTo>
                  <a:pt x="5450" y="9883"/>
                </a:lnTo>
                <a:lnTo>
                  <a:pt x="5444" y="9873"/>
                </a:lnTo>
                <a:lnTo>
                  <a:pt x="5440" y="9862"/>
                </a:lnTo>
                <a:lnTo>
                  <a:pt x="5437" y="9850"/>
                </a:lnTo>
                <a:lnTo>
                  <a:pt x="5435" y="9837"/>
                </a:lnTo>
                <a:lnTo>
                  <a:pt x="5434" y="9824"/>
                </a:lnTo>
                <a:lnTo>
                  <a:pt x="5433" y="9809"/>
                </a:lnTo>
                <a:lnTo>
                  <a:pt x="5434" y="9795"/>
                </a:lnTo>
                <a:lnTo>
                  <a:pt x="5435" y="9779"/>
                </a:lnTo>
                <a:lnTo>
                  <a:pt x="5437" y="9763"/>
                </a:lnTo>
                <a:lnTo>
                  <a:pt x="5439" y="9747"/>
                </a:lnTo>
                <a:lnTo>
                  <a:pt x="5443" y="9731"/>
                </a:lnTo>
                <a:lnTo>
                  <a:pt x="5446" y="9715"/>
                </a:lnTo>
                <a:lnTo>
                  <a:pt x="5455" y="9684"/>
                </a:lnTo>
                <a:lnTo>
                  <a:pt x="5466" y="9654"/>
                </a:lnTo>
                <a:lnTo>
                  <a:pt x="5477" y="9625"/>
                </a:lnTo>
                <a:lnTo>
                  <a:pt x="5490" y="9601"/>
                </a:lnTo>
                <a:lnTo>
                  <a:pt x="5497" y="9590"/>
                </a:lnTo>
                <a:lnTo>
                  <a:pt x="5503" y="9580"/>
                </a:lnTo>
                <a:lnTo>
                  <a:pt x="5509" y="9572"/>
                </a:lnTo>
                <a:lnTo>
                  <a:pt x="5515" y="9564"/>
                </a:lnTo>
                <a:lnTo>
                  <a:pt x="5521" y="9558"/>
                </a:lnTo>
                <a:lnTo>
                  <a:pt x="5526" y="9554"/>
                </a:lnTo>
                <a:lnTo>
                  <a:pt x="5532" y="9551"/>
                </a:lnTo>
                <a:lnTo>
                  <a:pt x="5537" y="9551"/>
                </a:lnTo>
                <a:lnTo>
                  <a:pt x="5539" y="9536"/>
                </a:lnTo>
                <a:lnTo>
                  <a:pt x="5544" y="9523"/>
                </a:lnTo>
                <a:lnTo>
                  <a:pt x="5549" y="9510"/>
                </a:lnTo>
                <a:lnTo>
                  <a:pt x="5556" y="9499"/>
                </a:lnTo>
                <a:lnTo>
                  <a:pt x="5565" y="9489"/>
                </a:lnTo>
                <a:lnTo>
                  <a:pt x="5575" y="9480"/>
                </a:lnTo>
                <a:lnTo>
                  <a:pt x="5587" y="9472"/>
                </a:lnTo>
                <a:lnTo>
                  <a:pt x="5600" y="9466"/>
                </a:lnTo>
                <a:lnTo>
                  <a:pt x="5603" y="9475"/>
                </a:lnTo>
                <a:lnTo>
                  <a:pt x="5606" y="9482"/>
                </a:lnTo>
                <a:lnTo>
                  <a:pt x="5610" y="9489"/>
                </a:lnTo>
                <a:lnTo>
                  <a:pt x="5614" y="9494"/>
                </a:lnTo>
                <a:lnTo>
                  <a:pt x="5619" y="9497"/>
                </a:lnTo>
                <a:lnTo>
                  <a:pt x="5623" y="9500"/>
                </a:lnTo>
                <a:lnTo>
                  <a:pt x="5628" y="9501"/>
                </a:lnTo>
                <a:lnTo>
                  <a:pt x="5633" y="9502"/>
                </a:lnTo>
                <a:lnTo>
                  <a:pt x="5639" y="9501"/>
                </a:lnTo>
                <a:lnTo>
                  <a:pt x="5644" y="9500"/>
                </a:lnTo>
                <a:lnTo>
                  <a:pt x="5649" y="9498"/>
                </a:lnTo>
                <a:lnTo>
                  <a:pt x="5654" y="9495"/>
                </a:lnTo>
                <a:lnTo>
                  <a:pt x="5659" y="9492"/>
                </a:lnTo>
                <a:lnTo>
                  <a:pt x="5664" y="9488"/>
                </a:lnTo>
                <a:lnTo>
                  <a:pt x="5668" y="9484"/>
                </a:lnTo>
                <a:lnTo>
                  <a:pt x="5673" y="9479"/>
                </a:lnTo>
                <a:lnTo>
                  <a:pt x="5680" y="9468"/>
                </a:lnTo>
                <a:lnTo>
                  <a:pt x="5686" y="9457"/>
                </a:lnTo>
                <a:lnTo>
                  <a:pt x="5687" y="9452"/>
                </a:lnTo>
                <a:lnTo>
                  <a:pt x="5689" y="9447"/>
                </a:lnTo>
                <a:lnTo>
                  <a:pt x="5689" y="9441"/>
                </a:lnTo>
                <a:lnTo>
                  <a:pt x="5689" y="9436"/>
                </a:lnTo>
                <a:lnTo>
                  <a:pt x="5688" y="9431"/>
                </a:lnTo>
                <a:lnTo>
                  <a:pt x="5686" y="9427"/>
                </a:lnTo>
                <a:lnTo>
                  <a:pt x="5683" y="9423"/>
                </a:lnTo>
                <a:lnTo>
                  <a:pt x="5679" y="9420"/>
                </a:lnTo>
                <a:lnTo>
                  <a:pt x="5675" y="9417"/>
                </a:lnTo>
                <a:lnTo>
                  <a:pt x="5669" y="9415"/>
                </a:lnTo>
                <a:lnTo>
                  <a:pt x="5661" y="9414"/>
                </a:lnTo>
                <a:lnTo>
                  <a:pt x="5653" y="9413"/>
                </a:lnTo>
                <a:lnTo>
                  <a:pt x="5653" y="9383"/>
                </a:lnTo>
                <a:lnTo>
                  <a:pt x="5652" y="9348"/>
                </a:lnTo>
                <a:lnTo>
                  <a:pt x="5651" y="9311"/>
                </a:lnTo>
                <a:lnTo>
                  <a:pt x="5650" y="9273"/>
                </a:lnTo>
                <a:lnTo>
                  <a:pt x="5650" y="9236"/>
                </a:lnTo>
                <a:lnTo>
                  <a:pt x="5650" y="9203"/>
                </a:lnTo>
                <a:lnTo>
                  <a:pt x="5651" y="9177"/>
                </a:lnTo>
                <a:lnTo>
                  <a:pt x="5653" y="9159"/>
                </a:lnTo>
                <a:lnTo>
                  <a:pt x="5652" y="9138"/>
                </a:lnTo>
                <a:lnTo>
                  <a:pt x="5649" y="9114"/>
                </a:lnTo>
                <a:lnTo>
                  <a:pt x="5644" y="9091"/>
                </a:lnTo>
                <a:lnTo>
                  <a:pt x="5637" y="9067"/>
                </a:lnTo>
                <a:lnTo>
                  <a:pt x="5629" y="9044"/>
                </a:lnTo>
                <a:lnTo>
                  <a:pt x="5619" y="9023"/>
                </a:lnTo>
                <a:lnTo>
                  <a:pt x="5614" y="9013"/>
                </a:lnTo>
                <a:lnTo>
                  <a:pt x="5609" y="9003"/>
                </a:lnTo>
                <a:lnTo>
                  <a:pt x="5602" y="8994"/>
                </a:lnTo>
                <a:lnTo>
                  <a:pt x="5596" y="8987"/>
                </a:lnTo>
                <a:lnTo>
                  <a:pt x="5590" y="8980"/>
                </a:lnTo>
                <a:lnTo>
                  <a:pt x="5583" y="8975"/>
                </a:lnTo>
                <a:lnTo>
                  <a:pt x="5576" y="8970"/>
                </a:lnTo>
                <a:lnTo>
                  <a:pt x="5570" y="8967"/>
                </a:lnTo>
                <a:lnTo>
                  <a:pt x="5563" y="8965"/>
                </a:lnTo>
                <a:lnTo>
                  <a:pt x="5556" y="8965"/>
                </a:lnTo>
                <a:lnTo>
                  <a:pt x="5549" y="8966"/>
                </a:lnTo>
                <a:lnTo>
                  <a:pt x="5542" y="8969"/>
                </a:lnTo>
                <a:lnTo>
                  <a:pt x="5534" y="8974"/>
                </a:lnTo>
                <a:lnTo>
                  <a:pt x="5527" y="8980"/>
                </a:lnTo>
                <a:lnTo>
                  <a:pt x="5520" y="8988"/>
                </a:lnTo>
                <a:lnTo>
                  <a:pt x="5513" y="8999"/>
                </a:lnTo>
                <a:lnTo>
                  <a:pt x="5506" y="9012"/>
                </a:lnTo>
                <a:lnTo>
                  <a:pt x="5498" y="9027"/>
                </a:lnTo>
                <a:lnTo>
                  <a:pt x="5491" y="9044"/>
                </a:lnTo>
                <a:lnTo>
                  <a:pt x="5484" y="9064"/>
                </a:lnTo>
                <a:lnTo>
                  <a:pt x="5467" y="9057"/>
                </a:lnTo>
                <a:lnTo>
                  <a:pt x="5449" y="9051"/>
                </a:lnTo>
                <a:lnTo>
                  <a:pt x="5428" y="9045"/>
                </a:lnTo>
                <a:lnTo>
                  <a:pt x="5407" y="9040"/>
                </a:lnTo>
                <a:lnTo>
                  <a:pt x="5360" y="9030"/>
                </a:lnTo>
                <a:lnTo>
                  <a:pt x="5312" y="9017"/>
                </a:lnTo>
                <a:lnTo>
                  <a:pt x="5289" y="9010"/>
                </a:lnTo>
                <a:lnTo>
                  <a:pt x="5268" y="9000"/>
                </a:lnTo>
                <a:lnTo>
                  <a:pt x="5258" y="8995"/>
                </a:lnTo>
                <a:lnTo>
                  <a:pt x="5248" y="8989"/>
                </a:lnTo>
                <a:lnTo>
                  <a:pt x="5239" y="8984"/>
                </a:lnTo>
                <a:lnTo>
                  <a:pt x="5230" y="8977"/>
                </a:lnTo>
                <a:lnTo>
                  <a:pt x="5221" y="8970"/>
                </a:lnTo>
                <a:lnTo>
                  <a:pt x="5214" y="8963"/>
                </a:lnTo>
                <a:lnTo>
                  <a:pt x="5207" y="8955"/>
                </a:lnTo>
                <a:lnTo>
                  <a:pt x="5201" y="8946"/>
                </a:lnTo>
                <a:lnTo>
                  <a:pt x="5196" y="8937"/>
                </a:lnTo>
                <a:lnTo>
                  <a:pt x="5192" y="8927"/>
                </a:lnTo>
                <a:lnTo>
                  <a:pt x="5189" y="8917"/>
                </a:lnTo>
                <a:lnTo>
                  <a:pt x="5187" y="8905"/>
                </a:lnTo>
                <a:lnTo>
                  <a:pt x="5188" y="8899"/>
                </a:lnTo>
                <a:lnTo>
                  <a:pt x="5188" y="8893"/>
                </a:lnTo>
                <a:lnTo>
                  <a:pt x="5187" y="8886"/>
                </a:lnTo>
                <a:lnTo>
                  <a:pt x="5186" y="8878"/>
                </a:lnTo>
                <a:lnTo>
                  <a:pt x="5181" y="8864"/>
                </a:lnTo>
                <a:lnTo>
                  <a:pt x="5174" y="8849"/>
                </a:lnTo>
                <a:lnTo>
                  <a:pt x="5165" y="8833"/>
                </a:lnTo>
                <a:lnTo>
                  <a:pt x="5154" y="8817"/>
                </a:lnTo>
                <a:lnTo>
                  <a:pt x="5143" y="8800"/>
                </a:lnTo>
                <a:lnTo>
                  <a:pt x="5130" y="8784"/>
                </a:lnTo>
                <a:lnTo>
                  <a:pt x="5116" y="8769"/>
                </a:lnTo>
                <a:lnTo>
                  <a:pt x="5101" y="8753"/>
                </a:lnTo>
                <a:lnTo>
                  <a:pt x="5087" y="8739"/>
                </a:lnTo>
                <a:lnTo>
                  <a:pt x="5074" y="8727"/>
                </a:lnTo>
                <a:lnTo>
                  <a:pt x="5061" y="8715"/>
                </a:lnTo>
                <a:lnTo>
                  <a:pt x="5049" y="8706"/>
                </a:lnTo>
                <a:lnTo>
                  <a:pt x="5038" y="8698"/>
                </a:lnTo>
                <a:lnTo>
                  <a:pt x="5029" y="8693"/>
                </a:lnTo>
                <a:lnTo>
                  <a:pt x="5032" y="8683"/>
                </a:lnTo>
                <a:lnTo>
                  <a:pt x="5033" y="8672"/>
                </a:lnTo>
                <a:lnTo>
                  <a:pt x="5033" y="8662"/>
                </a:lnTo>
                <a:lnTo>
                  <a:pt x="5031" y="8651"/>
                </a:lnTo>
                <a:lnTo>
                  <a:pt x="5028" y="8641"/>
                </a:lnTo>
                <a:lnTo>
                  <a:pt x="5024" y="8629"/>
                </a:lnTo>
                <a:lnTo>
                  <a:pt x="5018" y="8618"/>
                </a:lnTo>
                <a:lnTo>
                  <a:pt x="5011" y="8607"/>
                </a:lnTo>
                <a:lnTo>
                  <a:pt x="5004" y="8597"/>
                </a:lnTo>
                <a:lnTo>
                  <a:pt x="4995" y="8586"/>
                </a:lnTo>
                <a:lnTo>
                  <a:pt x="4985" y="8575"/>
                </a:lnTo>
                <a:lnTo>
                  <a:pt x="4974" y="8565"/>
                </a:lnTo>
                <a:lnTo>
                  <a:pt x="4962" y="8555"/>
                </a:lnTo>
                <a:lnTo>
                  <a:pt x="4951" y="8545"/>
                </a:lnTo>
                <a:lnTo>
                  <a:pt x="4938" y="8535"/>
                </a:lnTo>
                <a:lnTo>
                  <a:pt x="4925" y="8526"/>
                </a:lnTo>
                <a:lnTo>
                  <a:pt x="4898" y="8508"/>
                </a:lnTo>
                <a:lnTo>
                  <a:pt x="4871" y="8490"/>
                </a:lnTo>
                <a:lnTo>
                  <a:pt x="4842" y="8476"/>
                </a:lnTo>
                <a:lnTo>
                  <a:pt x="4814" y="8463"/>
                </a:lnTo>
                <a:lnTo>
                  <a:pt x="4788" y="8453"/>
                </a:lnTo>
                <a:lnTo>
                  <a:pt x="4763" y="8446"/>
                </a:lnTo>
                <a:lnTo>
                  <a:pt x="4752" y="8443"/>
                </a:lnTo>
                <a:lnTo>
                  <a:pt x="4741" y="8441"/>
                </a:lnTo>
                <a:lnTo>
                  <a:pt x="4731" y="8440"/>
                </a:lnTo>
                <a:lnTo>
                  <a:pt x="4721" y="8439"/>
                </a:lnTo>
                <a:lnTo>
                  <a:pt x="4721" y="8435"/>
                </a:lnTo>
                <a:lnTo>
                  <a:pt x="4719" y="8432"/>
                </a:lnTo>
                <a:lnTo>
                  <a:pt x="4717" y="8429"/>
                </a:lnTo>
                <a:lnTo>
                  <a:pt x="4713" y="8427"/>
                </a:lnTo>
                <a:lnTo>
                  <a:pt x="4705" y="8423"/>
                </a:lnTo>
                <a:lnTo>
                  <a:pt x="4695" y="8420"/>
                </a:lnTo>
                <a:lnTo>
                  <a:pt x="4685" y="8417"/>
                </a:lnTo>
                <a:lnTo>
                  <a:pt x="4674" y="8413"/>
                </a:lnTo>
                <a:lnTo>
                  <a:pt x="4670" y="8410"/>
                </a:lnTo>
                <a:lnTo>
                  <a:pt x="4665" y="8406"/>
                </a:lnTo>
                <a:lnTo>
                  <a:pt x="4661" y="8402"/>
                </a:lnTo>
                <a:lnTo>
                  <a:pt x="4658" y="8397"/>
                </a:lnTo>
                <a:lnTo>
                  <a:pt x="4650" y="8397"/>
                </a:lnTo>
                <a:lnTo>
                  <a:pt x="4642" y="8396"/>
                </a:lnTo>
                <a:lnTo>
                  <a:pt x="4634" y="8394"/>
                </a:lnTo>
                <a:lnTo>
                  <a:pt x="4626" y="8392"/>
                </a:lnTo>
                <a:lnTo>
                  <a:pt x="4619" y="8389"/>
                </a:lnTo>
                <a:lnTo>
                  <a:pt x="4612" y="8386"/>
                </a:lnTo>
                <a:lnTo>
                  <a:pt x="4606" y="8382"/>
                </a:lnTo>
                <a:lnTo>
                  <a:pt x="4598" y="8376"/>
                </a:lnTo>
                <a:lnTo>
                  <a:pt x="4586" y="8367"/>
                </a:lnTo>
                <a:lnTo>
                  <a:pt x="4574" y="8356"/>
                </a:lnTo>
                <a:lnTo>
                  <a:pt x="4563" y="8345"/>
                </a:lnTo>
                <a:lnTo>
                  <a:pt x="4552" y="8333"/>
                </a:lnTo>
                <a:lnTo>
                  <a:pt x="4540" y="8321"/>
                </a:lnTo>
                <a:lnTo>
                  <a:pt x="4528" y="8310"/>
                </a:lnTo>
                <a:lnTo>
                  <a:pt x="4516" y="8299"/>
                </a:lnTo>
                <a:lnTo>
                  <a:pt x="4503" y="8290"/>
                </a:lnTo>
                <a:lnTo>
                  <a:pt x="4496" y="8286"/>
                </a:lnTo>
                <a:lnTo>
                  <a:pt x="4488" y="8282"/>
                </a:lnTo>
                <a:lnTo>
                  <a:pt x="4481" y="8278"/>
                </a:lnTo>
                <a:lnTo>
                  <a:pt x="4472" y="8276"/>
                </a:lnTo>
                <a:lnTo>
                  <a:pt x="4463" y="8273"/>
                </a:lnTo>
                <a:lnTo>
                  <a:pt x="4455" y="8272"/>
                </a:lnTo>
                <a:lnTo>
                  <a:pt x="4445" y="8271"/>
                </a:lnTo>
                <a:lnTo>
                  <a:pt x="4436" y="8270"/>
                </a:lnTo>
                <a:lnTo>
                  <a:pt x="4413" y="8269"/>
                </a:lnTo>
                <a:lnTo>
                  <a:pt x="4390" y="8267"/>
                </a:lnTo>
                <a:lnTo>
                  <a:pt x="4367" y="8262"/>
                </a:lnTo>
                <a:lnTo>
                  <a:pt x="4343" y="8257"/>
                </a:lnTo>
                <a:lnTo>
                  <a:pt x="4298" y="8243"/>
                </a:lnTo>
                <a:lnTo>
                  <a:pt x="4253" y="8227"/>
                </a:lnTo>
                <a:lnTo>
                  <a:pt x="4207" y="8212"/>
                </a:lnTo>
                <a:lnTo>
                  <a:pt x="4163" y="8198"/>
                </a:lnTo>
                <a:lnTo>
                  <a:pt x="4141" y="8193"/>
                </a:lnTo>
                <a:lnTo>
                  <a:pt x="4119" y="8189"/>
                </a:lnTo>
                <a:lnTo>
                  <a:pt x="4098" y="8186"/>
                </a:lnTo>
                <a:lnTo>
                  <a:pt x="4076" y="8185"/>
                </a:lnTo>
                <a:lnTo>
                  <a:pt x="4072" y="8179"/>
                </a:lnTo>
                <a:lnTo>
                  <a:pt x="4067" y="8172"/>
                </a:lnTo>
                <a:lnTo>
                  <a:pt x="4062" y="8167"/>
                </a:lnTo>
                <a:lnTo>
                  <a:pt x="4056" y="8162"/>
                </a:lnTo>
                <a:lnTo>
                  <a:pt x="4049" y="8157"/>
                </a:lnTo>
                <a:lnTo>
                  <a:pt x="4042" y="8153"/>
                </a:lnTo>
                <a:lnTo>
                  <a:pt x="4034" y="8149"/>
                </a:lnTo>
                <a:lnTo>
                  <a:pt x="4026" y="8145"/>
                </a:lnTo>
                <a:lnTo>
                  <a:pt x="4009" y="8139"/>
                </a:lnTo>
                <a:lnTo>
                  <a:pt x="3990" y="8134"/>
                </a:lnTo>
                <a:lnTo>
                  <a:pt x="3971" y="8129"/>
                </a:lnTo>
                <a:lnTo>
                  <a:pt x="3950" y="8123"/>
                </a:lnTo>
                <a:lnTo>
                  <a:pt x="3930" y="8119"/>
                </a:lnTo>
                <a:lnTo>
                  <a:pt x="3910" y="8114"/>
                </a:lnTo>
                <a:lnTo>
                  <a:pt x="3892" y="8108"/>
                </a:lnTo>
                <a:lnTo>
                  <a:pt x="3874" y="8101"/>
                </a:lnTo>
                <a:lnTo>
                  <a:pt x="3866" y="8097"/>
                </a:lnTo>
                <a:lnTo>
                  <a:pt x="3858" y="8093"/>
                </a:lnTo>
                <a:lnTo>
                  <a:pt x="3850" y="8089"/>
                </a:lnTo>
                <a:lnTo>
                  <a:pt x="3844" y="8084"/>
                </a:lnTo>
                <a:lnTo>
                  <a:pt x="3837" y="8078"/>
                </a:lnTo>
                <a:lnTo>
                  <a:pt x="3831" y="8072"/>
                </a:lnTo>
                <a:lnTo>
                  <a:pt x="3826" y="8065"/>
                </a:lnTo>
                <a:lnTo>
                  <a:pt x="3822" y="8058"/>
                </a:lnTo>
                <a:lnTo>
                  <a:pt x="3814" y="8058"/>
                </a:lnTo>
                <a:lnTo>
                  <a:pt x="3805" y="8056"/>
                </a:lnTo>
                <a:lnTo>
                  <a:pt x="3798" y="8054"/>
                </a:lnTo>
                <a:lnTo>
                  <a:pt x="3790" y="8051"/>
                </a:lnTo>
                <a:lnTo>
                  <a:pt x="3783" y="8047"/>
                </a:lnTo>
                <a:lnTo>
                  <a:pt x="3776" y="8042"/>
                </a:lnTo>
                <a:lnTo>
                  <a:pt x="3770" y="8036"/>
                </a:lnTo>
                <a:lnTo>
                  <a:pt x="3763" y="8030"/>
                </a:lnTo>
                <a:lnTo>
                  <a:pt x="3758" y="8023"/>
                </a:lnTo>
                <a:lnTo>
                  <a:pt x="3752" y="8016"/>
                </a:lnTo>
                <a:lnTo>
                  <a:pt x="3747" y="8008"/>
                </a:lnTo>
                <a:lnTo>
                  <a:pt x="3741" y="7999"/>
                </a:lnTo>
                <a:lnTo>
                  <a:pt x="3732" y="7981"/>
                </a:lnTo>
                <a:lnTo>
                  <a:pt x="3724" y="7962"/>
                </a:lnTo>
                <a:lnTo>
                  <a:pt x="3716" y="7943"/>
                </a:lnTo>
                <a:lnTo>
                  <a:pt x="3709" y="7923"/>
                </a:lnTo>
                <a:lnTo>
                  <a:pt x="3704" y="7903"/>
                </a:lnTo>
                <a:lnTo>
                  <a:pt x="3700" y="7884"/>
                </a:lnTo>
                <a:lnTo>
                  <a:pt x="3696" y="7864"/>
                </a:lnTo>
                <a:lnTo>
                  <a:pt x="3694" y="7847"/>
                </a:lnTo>
                <a:lnTo>
                  <a:pt x="3692" y="7832"/>
                </a:lnTo>
                <a:lnTo>
                  <a:pt x="3691" y="7818"/>
                </a:lnTo>
                <a:lnTo>
                  <a:pt x="3690" y="7802"/>
                </a:lnTo>
                <a:lnTo>
                  <a:pt x="3687" y="7781"/>
                </a:lnTo>
                <a:lnTo>
                  <a:pt x="3683" y="7757"/>
                </a:lnTo>
                <a:lnTo>
                  <a:pt x="3678" y="7730"/>
                </a:lnTo>
                <a:lnTo>
                  <a:pt x="3671" y="7702"/>
                </a:lnTo>
                <a:lnTo>
                  <a:pt x="3663" y="7673"/>
                </a:lnTo>
                <a:lnTo>
                  <a:pt x="3654" y="7643"/>
                </a:lnTo>
                <a:lnTo>
                  <a:pt x="3643" y="7612"/>
                </a:lnTo>
                <a:lnTo>
                  <a:pt x="3632" y="7584"/>
                </a:lnTo>
                <a:lnTo>
                  <a:pt x="3619" y="7557"/>
                </a:lnTo>
                <a:lnTo>
                  <a:pt x="3612" y="7544"/>
                </a:lnTo>
                <a:lnTo>
                  <a:pt x="3605" y="7532"/>
                </a:lnTo>
                <a:lnTo>
                  <a:pt x="3597" y="7521"/>
                </a:lnTo>
                <a:lnTo>
                  <a:pt x="3588" y="7510"/>
                </a:lnTo>
                <a:lnTo>
                  <a:pt x="3580" y="7501"/>
                </a:lnTo>
                <a:lnTo>
                  <a:pt x="3572" y="7491"/>
                </a:lnTo>
                <a:lnTo>
                  <a:pt x="3563" y="7484"/>
                </a:lnTo>
                <a:lnTo>
                  <a:pt x="3554" y="7477"/>
                </a:lnTo>
                <a:lnTo>
                  <a:pt x="3545" y="7472"/>
                </a:lnTo>
                <a:lnTo>
                  <a:pt x="3535" y="7469"/>
                </a:lnTo>
                <a:lnTo>
                  <a:pt x="3526" y="7466"/>
                </a:lnTo>
                <a:lnTo>
                  <a:pt x="3515" y="7466"/>
                </a:lnTo>
                <a:lnTo>
                  <a:pt x="3515" y="7459"/>
                </a:lnTo>
                <a:lnTo>
                  <a:pt x="3514" y="7453"/>
                </a:lnTo>
                <a:lnTo>
                  <a:pt x="3512" y="7446"/>
                </a:lnTo>
                <a:lnTo>
                  <a:pt x="3509" y="7439"/>
                </a:lnTo>
                <a:lnTo>
                  <a:pt x="3501" y="7424"/>
                </a:lnTo>
                <a:lnTo>
                  <a:pt x="3491" y="7410"/>
                </a:lnTo>
                <a:lnTo>
                  <a:pt x="3479" y="7395"/>
                </a:lnTo>
                <a:lnTo>
                  <a:pt x="3466" y="7380"/>
                </a:lnTo>
                <a:lnTo>
                  <a:pt x="3450" y="7364"/>
                </a:lnTo>
                <a:lnTo>
                  <a:pt x="3434" y="7350"/>
                </a:lnTo>
                <a:lnTo>
                  <a:pt x="3418" y="7337"/>
                </a:lnTo>
                <a:lnTo>
                  <a:pt x="3402" y="7325"/>
                </a:lnTo>
                <a:lnTo>
                  <a:pt x="3386" y="7314"/>
                </a:lnTo>
                <a:lnTo>
                  <a:pt x="3371" y="7304"/>
                </a:lnTo>
                <a:lnTo>
                  <a:pt x="3357" y="7297"/>
                </a:lnTo>
                <a:lnTo>
                  <a:pt x="3345" y="7291"/>
                </a:lnTo>
                <a:lnTo>
                  <a:pt x="3333" y="7287"/>
                </a:lnTo>
                <a:lnTo>
                  <a:pt x="3324" y="7286"/>
                </a:lnTo>
                <a:lnTo>
                  <a:pt x="3322" y="7276"/>
                </a:lnTo>
                <a:lnTo>
                  <a:pt x="3315" y="7258"/>
                </a:lnTo>
                <a:lnTo>
                  <a:pt x="3304" y="7233"/>
                </a:lnTo>
                <a:lnTo>
                  <a:pt x="3291" y="7207"/>
                </a:lnTo>
                <a:lnTo>
                  <a:pt x="3277" y="7181"/>
                </a:lnTo>
                <a:lnTo>
                  <a:pt x="3263" y="7159"/>
                </a:lnTo>
                <a:lnTo>
                  <a:pt x="3257" y="7150"/>
                </a:lnTo>
                <a:lnTo>
                  <a:pt x="3250" y="7144"/>
                </a:lnTo>
                <a:lnTo>
                  <a:pt x="3248" y="7141"/>
                </a:lnTo>
                <a:lnTo>
                  <a:pt x="3245" y="7139"/>
                </a:lnTo>
                <a:lnTo>
                  <a:pt x="3242" y="7138"/>
                </a:lnTo>
                <a:lnTo>
                  <a:pt x="3240" y="7138"/>
                </a:lnTo>
                <a:lnTo>
                  <a:pt x="3240" y="7133"/>
                </a:lnTo>
                <a:lnTo>
                  <a:pt x="3238" y="7128"/>
                </a:lnTo>
                <a:lnTo>
                  <a:pt x="3236" y="7121"/>
                </a:lnTo>
                <a:lnTo>
                  <a:pt x="3233" y="7113"/>
                </a:lnTo>
                <a:lnTo>
                  <a:pt x="3225" y="7098"/>
                </a:lnTo>
                <a:lnTo>
                  <a:pt x="3215" y="7080"/>
                </a:lnTo>
                <a:lnTo>
                  <a:pt x="3201" y="7061"/>
                </a:lnTo>
                <a:lnTo>
                  <a:pt x="3187" y="7043"/>
                </a:lnTo>
                <a:lnTo>
                  <a:pt x="3172" y="7024"/>
                </a:lnTo>
                <a:lnTo>
                  <a:pt x="3156" y="7006"/>
                </a:lnTo>
                <a:lnTo>
                  <a:pt x="3140" y="6989"/>
                </a:lnTo>
                <a:lnTo>
                  <a:pt x="3124" y="6975"/>
                </a:lnTo>
                <a:lnTo>
                  <a:pt x="3116" y="6969"/>
                </a:lnTo>
                <a:lnTo>
                  <a:pt x="3109" y="6964"/>
                </a:lnTo>
                <a:lnTo>
                  <a:pt x="3101" y="6959"/>
                </a:lnTo>
                <a:lnTo>
                  <a:pt x="3094" y="6956"/>
                </a:lnTo>
                <a:lnTo>
                  <a:pt x="3086" y="6954"/>
                </a:lnTo>
                <a:lnTo>
                  <a:pt x="3080" y="6953"/>
                </a:lnTo>
                <a:lnTo>
                  <a:pt x="3074" y="6953"/>
                </a:lnTo>
                <a:lnTo>
                  <a:pt x="3069" y="6955"/>
                </a:lnTo>
                <a:lnTo>
                  <a:pt x="3064" y="6957"/>
                </a:lnTo>
                <a:lnTo>
                  <a:pt x="3060" y="6962"/>
                </a:lnTo>
                <a:lnTo>
                  <a:pt x="3056" y="6968"/>
                </a:lnTo>
                <a:lnTo>
                  <a:pt x="3053" y="6975"/>
                </a:lnTo>
                <a:lnTo>
                  <a:pt x="3052" y="6981"/>
                </a:lnTo>
                <a:lnTo>
                  <a:pt x="3052" y="6986"/>
                </a:lnTo>
                <a:lnTo>
                  <a:pt x="3052" y="6992"/>
                </a:lnTo>
                <a:lnTo>
                  <a:pt x="3054" y="6999"/>
                </a:lnTo>
                <a:lnTo>
                  <a:pt x="3058" y="7011"/>
                </a:lnTo>
                <a:lnTo>
                  <a:pt x="3065" y="7023"/>
                </a:lnTo>
                <a:lnTo>
                  <a:pt x="3074" y="7035"/>
                </a:lnTo>
                <a:lnTo>
                  <a:pt x="3085" y="7048"/>
                </a:lnTo>
                <a:lnTo>
                  <a:pt x="3097" y="7061"/>
                </a:lnTo>
                <a:lnTo>
                  <a:pt x="3109" y="7074"/>
                </a:lnTo>
                <a:lnTo>
                  <a:pt x="3121" y="7087"/>
                </a:lnTo>
                <a:lnTo>
                  <a:pt x="3133" y="7101"/>
                </a:lnTo>
                <a:lnTo>
                  <a:pt x="3145" y="7114"/>
                </a:lnTo>
                <a:lnTo>
                  <a:pt x="3155" y="7128"/>
                </a:lnTo>
                <a:lnTo>
                  <a:pt x="3164" y="7141"/>
                </a:lnTo>
                <a:lnTo>
                  <a:pt x="3170" y="7154"/>
                </a:lnTo>
                <a:lnTo>
                  <a:pt x="3173" y="7161"/>
                </a:lnTo>
                <a:lnTo>
                  <a:pt x="3175" y="7167"/>
                </a:lnTo>
                <a:lnTo>
                  <a:pt x="3176" y="7174"/>
                </a:lnTo>
                <a:lnTo>
                  <a:pt x="3176" y="7180"/>
                </a:lnTo>
                <a:lnTo>
                  <a:pt x="3179" y="7181"/>
                </a:lnTo>
                <a:lnTo>
                  <a:pt x="3182" y="7182"/>
                </a:lnTo>
                <a:lnTo>
                  <a:pt x="3186" y="7185"/>
                </a:lnTo>
                <a:lnTo>
                  <a:pt x="3189" y="7189"/>
                </a:lnTo>
                <a:lnTo>
                  <a:pt x="3198" y="7199"/>
                </a:lnTo>
                <a:lnTo>
                  <a:pt x="3208" y="7213"/>
                </a:lnTo>
                <a:lnTo>
                  <a:pt x="3232" y="7248"/>
                </a:lnTo>
                <a:lnTo>
                  <a:pt x="3257" y="7288"/>
                </a:lnTo>
                <a:lnTo>
                  <a:pt x="3281" y="7331"/>
                </a:lnTo>
                <a:lnTo>
                  <a:pt x="3303" y="7370"/>
                </a:lnTo>
                <a:lnTo>
                  <a:pt x="3321" y="7403"/>
                </a:lnTo>
                <a:lnTo>
                  <a:pt x="3333" y="7424"/>
                </a:lnTo>
                <a:lnTo>
                  <a:pt x="3354" y="7460"/>
                </a:lnTo>
                <a:lnTo>
                  <a:pt x="3371" y="7492"/>
                </a:lnTo>
                <a:lnTo>
                  <a:pt x="3384" y="7521"/>
                </a:lnTo>
                <a:lnTo>
                  <a:pt x="3394" y="7545"/>
                </a:lnTo>
                <a:lnTo>
                  <a:pt x="3401" y="7567"/>
                </a:lnTo>
                <a:lnTo>
                  <a:pt x="3406" y="7585"/>
                </a:lnTo>
                <a:lnTo>
                  <a:pt x="3407" y="7600"/>
                </a:lnTo>
                <a:lnTo>
                  <a:pt x="3406" y="7611"/>
                </a:lnTo>
                <a:lnTo>
                  <a:pt x="3403" y="7621"/>
                </a:lnTo>
                <a:lnTo>
                  <a:pt x="3398" y="7628"/>
                </a:lnTo>
                <a:lnTo>
                  <a:pt x="3391" y="7632"/>
                </a:lnTo>
                <a:lnTo>
                  <a:pt x="3382" y="7634"/>
                </a:lnTo>
                <a:lnTo>
                  <a:pt x="3372" y="7633"/>
                </a:lnTo>
                <a:lnTo>
                  <a:pt x="3360" y="7630"/>
                </a:lnTo>
                <a:lnTo>
                  <a:pt x="3348" y="7625"/>
                </a:lnTo>
                <a:lnTo>
                  <a:pt x="3333" y="7618"/>
                </a:lnTo>
                <a:lnTo>
                  <a:pt x="3319" y="7610"/>
                </a:lnTo>
                <a:lnTo>
                  <a:pt x="3305" y="7600"/>
                </a:lnTo>
                <a:lnTo>
                  <a:pt x="3290" y="7589"/>
                </a:lnTo>
                <a:lnTo>
                  <a:pt x="3275" y="7576"/>
                </a:lnTo>
                <a:lnTo>
                  <a:pt x="3260" y="7563"/>
                </a:lnTo>
                <a:lnTo>
                  <a:pt x="3245" y="7548"/>
                </a:lnTo>
                <a:lnTo>
                  <a:pt x="3231" y="7533"/>
                </a:lnTo>
                <a:lnTo>
                  <a:pt x="3217" y="7517"/>
                </a:lnTo>
                <a:lnTo>
                  <a:pt x="3203" y="7501"/>
                </a:lnTo>
                <a:lnTo>
                  <a:pt x="3192" y="7483"/>
                </a:lnTo>
                <a:lnTo>
                  <a:pt x="3181" y="7466"/>
                </a:lnTo>
                <a:lnTo>
                  <a:pt x="3173" y="7448"/>
                </a:lnTo>
                <a:lnTo>
                  <a:pt x="3165" y="7431"/>
                </a:lnTo>
                <a:lnTo>
                  <a:pt x="3160" y="7414"/>
                </a:lnTo>
                <a:lnTo>
                  <a:pt x="3156" y="7398"/>
                </a:lnTo>
                <a:lnTo>
                  <a:pt x="3155" y="7381"/>
                </a:lnTo>
                <a:lnTo>
                  <a:pt x="3150" y="7378"/>
                </a:lnTo>
                <a:lnTo>
                  <a:pt x="3145" y="7374"/>
                </a:lnTo>
                <a:lnTo>
                  <a:pt x="3140" y="7369"/>
                </a:lnTo>
                <a:lnTo>
                  <a:pt x="3134" y="7363"/>
                </a:lnTo>
                <a:lnTo>
                  <a:pt x="3123" y="7349"/>
                </a:lnTo>
                <a:lnTo>
                  <a:pt x="3112" y="7333"/>
                </a:lnTo>
                <a:lnTo>
                  <a:pt x="3100" y="7314"/>
                </a:lnTo>
                <a:lnTo>
                  <a:pt x="3089" y="7294"/>
                </a:lnTo>
                <a:lnTo>
                  <a:pt x="3077" y="7272"/>
                </a:lnTo>
                <a:lnTo>
                  <a:pt x="3066" y="7249"/>
                </a:lnTo>
                <a:lnTo>
                  <a:pt x="3056" y="7226"/>
                </a:lnTo>
                <a:lnTo>
                  <a:pt x="3047" y="7203"/>
                </a:lnTo>
                <a:lnTo>
                  <a:pt x="3039" y="7181"/>
                </a:lnTo>
                <a:lnTo>
                  <a:pt x="3032" y="7160"/>
                </a:lnTo>
                <a:lnTo>
                  <a:pt x="3026" y="7140"/>
                </a:lnTo>
                <a:lnTo>
                  <a:pt x="3021" y="7123"/>
                </a:lnTo>
                <a:lnTo>
                  <a:pt x="3019" y="7107"/>
                </a:lnTo>
                <a:lnTo>
                  <a:pt x="3018" y="7095"/>
                </a:lnTo>
                <a:lnTo>
                  <a:pt x="3011" y="7088"/>
                </a:lnTo>
                <a:lnTo>
                  <a:pt x="3004" y="7078"/>
                </a:lnTo>
                <a:lnTo>
                  <a:pt x="2995" y="7065"/>
                </a:lnTo>
                <a:lnTo>
                  <a:pt x="2986" y="7050"/>
                </a:lnTo>
                <a:lnTo>
                  <a:pt x="2966" y="7014"/>
                </a:lnTo>
                <a:lnTo>
                  <a:pt x="2945" y="6974"/>
                </a:lnTo>
                <a:lnTo>
                  <a:pt x="2926" y="6937"/>
                </a:lnTo>
                <a:lnTo>
                  <a:pt x="2912" y="6905"/>
                </a:lnTo>
                <a:lnTo>
                  <a:pt x="2907" y="6892"/>
                </a:lnTo>
                <a:lnTo>
                  <a:pt x="2903" y="6882"/>
                </a:lnTo>
                <a:lnTo>
                  <a:pt x="2901" y="6876"/>
                </a:lnTo>
                <a:lnTo>
                  <a:pt x="2901" y="6874"/>
                </a:lnTo>
                <a:lnTo>
                  <a:pt x="2901" y="6849"/>
                </a:lnTo>
                <a:lnTo>
                  <a:pt x="2898" y="6828"/>
                </a:lnTo>
                <a:lnTo>
                  <a:pt x="2894" y="6808"/>
                </a:lnTo>
                <a:lnTo>
                  <a:pt x="2888" y="6789"/>
                </a:lnTo>
                <a:lnTo>
                  <a:pt x="2885" y="6780"/>
                </a:lnTo>
                <a:lnTo>
                  <a:pt x="2881" y="6772"/>
                </a:lnTo>
                <a:lnTo>
                  <a:pt x="2877" y="6764"/>
                </a:lnTo>
                <a:lnTo>
                  <a:pt x="2872" y="6756"/>
                </a:lnTo>
                <a:lnTo>
                  <a:pt x="2867" y="6749"/>
                </a:lnTo>
                <a:lnTo>
                  <a:pt x="2861" y="6742"/>
                </a:lnTo>
                <a:lnTo>
                  <a:pt x="2855" y="6735"/>
                </a:lnTo>
                <a:lnTo>
                  <a:pt x="2849" y="6729"/>
                </a:lnTo>
                <a:lnTo>
                  <a:pt x="2842" y="6723"/>
                </a:lnTo>
                <a:lnTo>
                  <a:pt x="2834" y="6718"/>
                </a:lnTo>
                <a:lnTo>
                  <a:pt x="2826" y="6713"/>
                </a:lnTo>
                <a:lnTo>
                  <a:pt x="2818" y="6708"/>
                </a:lnTo>
                <a:lnTo>
                  <a:pt x="2801" y="6700"/>
                </a:lnTo>
                <a:lnTo>
                  <a:pt x="2782" y="6694"/>
                </a:lnTo>
                <a:lnTo>
                  <a:pt x="2762" y="6689"/>
                </a:lnTo>
                <a:lnTo>
                  <a:pt x="2740" y="6685"/>
                </a:lnTo>
                <a:lnTo>
                  <a:pt x="2716" y="6683"/>
                </a:lnTo>
                <a:lnTo>
                  <a:pt x="2689" y="6682"/>
                </a:lnTo>
                <a:lnTo>
                  <a:pt x="2682" y="6671"/>
                </a:lnTo>
                <a:lnTo>
                  <a:pt x="2667" y="6649"/>
                </a:lnTo>
                <a:lnTo>
                  <a:pt x="2647" y="6620"/>
                </a:lnTo>
                <a:lnTo>
                  <a:pt x="2625" y="6587"/>
                </a:lnTo>
                <a:lnTo>
                  <a:pt x="2602" y="6556"/>
                </a:lnTo>
                <a:lnTo>
                  <a:pt x="2582" y="6529"/>
                </a:lnTo>
                <a:lnTo>
                  <a:pt x="2568" y="6510"/>
                </a:lnTo>
                <a:lnTo>
                  <a:pt x="2562" y="6503"/>
                </a:lnTo>
                <a:lnTo>
                  <a:pt x="2561" y="6492"/>
                </a:lnTo>
                <a:lnTo>
                  <a:pt x="2558" y="6478"/>
                </a:lnTo>
                <a:lnTo>
                  <a:pt x="2553" y="6462"/>
                </a:lnTo>
                <a:lnTo>
                  <a:pt x="2547" y="6446"/>
                </a:lnTo>
                <a:lnTo>
                  <a:pt x="2539" y="6428"/>
                </a:lnTo>
                <a:lnTo>
                  <a:pt x="2529" y="6409"/>
                </a:lnTo>
                <a:lnTo>
                  <a:pt x="2519" y="6390"/>
                </a:lnTo>
                <a:lnTo>
                  <a:pt x="2508" y="6371"/>
                </a:lnTo>
                <a:lnTo>
                  <a:pt x="2497" y="6352"/>
                </a:lnTo>
                <a:lnTo>
                  <a:pt x="2485" y="6333"/>
                </a:lnTo>
                <a:lnTo>
                  <a:pt x="2473" y="6316"/>
                </a:lnTo>
                <a:lnTo>
                  <a:pt x="2460" y="6301"/>
                </a:lnTo>
                <a:lnTo>
                  <a:pt x="2447" y="6287"/>
                </a:lnTo>
                <a:lnTo>
                  <a:pt x="2436" y="6275"/>
                </a:lnTo>
                <a:lnTo>
                  <a:pt x="2425" y="6266"/>
                </a:lnTo>
                <a:lnTo>
                  <a:pt x="2414" y="6259"/>
                </a:lnTo>
                <a:lnTo>
                  <a:pt x="2414" y="6239"/>
                </a:lnTo>
                <a:lnTo>
                  <a:pt x="2412" y="6216"/>
                </a:lnTo>
                <a:lnTo>
                  <a:pt x="2409" y="6195"/>
                </a:lnTo>
                <a:lnTo>
                  <a:pt x="2406" y="6173"/>
                </a:lnTo>
                <a:lnTo>
                  <a:pt x="2398" y="6128"/>
                </a:lnTo>
                <a:lnTo>
                  <a:pt x="2389" y="6081"/>
                </a:lnTo>
                <a:lnTo>
                  <a:pt x="2385" y="6058"/>
                </a:lnTo>
                <a:lnTo>
                  <a:pt x="2382" y="6035"/>
                </a:lnTo>
                <a:lnTo>
                  <a:pt x="2379" y="6012"/>
                </a:lnTo>
                <a:lnTo>
                  <a:pt x="2377" y="5989"/>
                </a:lnTo>
                <a:lnTo>
                  <a:pt x="2377" y="5965"/>
                </a:lnTo>
                <a:lnTo>
                  <a:pt x="2377" y="5943"/>
                </a:lnTo>
                <a:lnTo>
                  <a:pt x="2379" y="5921"/>
                </a:lnTo>
                <a:lnTo>
                  <a:pt x="2383" y="5899"/>
                </a:lnTo>
                <a:lnTo>
                  <a:pt x="2383" y="5862"/>
                </a:lnTo>
                <a:lnTo>
                  <a:pt x="2383" y="5822"/>
                </a:lnTo>
                <a:lnTo>
                  <a:pt x="2382" y="5783"/>
                </a:lnTo>
                <a:lnTo>
                  <a:pt x="2380" y="5744"/>
                </a:lnTo>
                <a:lnTo>
                  <a:pt x="2377" y="5703"/>
                </a:lnTo>
                <a:lnTo>
                  <a:pt x="2373" y="5663"/>
                </a:lnTo>
                <a:lnTo>
                  <a:pt x="2367" y="5623"/>
                </a:lnTo>
                <a:lnTo>
                  <a:pt x="2359" y="5582"/>
                </a:lnTo>
                <a:lnTo>
                  <a:pt x="2354" y="5563"/>
                </a:lnTo>
                <a:lnTo>
                  <a:pt x="2349" y="5543"/>
                </a:lnTo>
                <a:lnTo>
                  <a:pt x="2343" y="5524"/>
                </a:lnTo>
                <a:lnTo>
                  <a:pt x="2337" y="5505"/>
                </a:lnTo>
                <a:lnTo>
                  <a:pt x="2329" y="5486"/>
                </a:lnTo>
                <a:lnTo>
                  <a:pt x="2321" y="5467"/>
                </a:lnTo>
                <a:lnTo>
                  <a:pt x="2313" y="5449"/>
                </a:lnTo>
                <a:lnTo>
                  <a:pt x="2303" y="5431"/>
                </a:lnTo>
                <a:lnTo>
                  <a:pt x="2293" y="5413"/>
                </a:lnTo>
                <a:lnTo>
                  <a:pt x="2283" y="5396"/>
                </a:lnTo>
                <a:lnTo>
                  <a:pt x="2271" y="5379"/>
                </a:lnTo>
                <a:lnTo>
                  <a:pt x="2258" y="5363"/>
                </a:lnTo>
                <a:lnTo>
                  <a:pt x="2245" y="5346"/>
                </a:lnTo>
                <a:lnTo>
                  <a:pt x="2231" y="5331"/>
                </a:lnTo>
                <a:lnTo>
                  <a:pt x="2215" y="5316"/>
                </a:lnTo>
                <a:lnTo>
                  <a:pt x="2198" y="5302"/>
                </a:lnTo>
                <a:lnTo>
                  <a:pt x="2232" y="5232"/>
                </a:lnTo>
                <a:lnTo>
                  <a:pt x="2267" y="5162"/>
                </a:lnTo>
                <a:lnTo>
                  <a:pt x="2302" y="5092"/>
                </a:lnTo>
                <a:lnTo>
                  <a:pt x="2339" y="5024"/>
                </a:lnTo>
                <a:lnTo>
                  <a:pt x="2375" y="4955"/>
                </a:lnTo>
                <a:lnTo>
                  <a:pt x="2413" y="4888"/>
                </a:lnTo>
                <a:lnTo>
                  <a:pt x="2451" y="4820"/>
                </a:lnTo>
                <a:lnTo>
                  <a:pt x="2491" y="4754"/>
                </a:lnTo>
                <a:lnTo>
                  <a:pt x="2530" y="4688"/>
                </a:lnTo>
                <a:lnTo>
                  <a:pt x="2571" y="4622"/>
                </a:lnTo>
                <a:lnTo>
                  <a:pt x="2613" y="4557"/>
                </a:lnTo>
                <a:lnTo>
                  <a:pt x="2655" y="4492"/>
                </a:lnTo>
                <a:lnTo>
                  <a:pt x="2698" y="4428"/>
                </a:lnTo>
                <a:lnTo>
                  <a:pt x="2742" y="4365"/>
                </a:lnTo>
                <a:lnTo>
                  <a:pt x="2786" y="4301"/>
                </a:lnTo>
                <a:lnTo>
                  <a:pt x="2831" y="4239"/>
                </a:lnTo>
                <a:lnTo>
                  <a:pt x="2878" y="4177"/>
                </a:lnTo>
                <a:lnTo>
                  <a:pt x="2924" y="4116"/>
                </a:lnTo>
                <a:lnTo>
                  <a:pt x="2972" y="4055"/>
                </a:lnTo>
                <a:lnTo>
                  <a:pt x="3020" y="3995"/>
                </a:lnTo>
                <a:lnTo>
                  <a:pt x="3069" y="3935"/>
                </a:lnTo>
                <a:lnTo>
                  <a:pt x="3119" y="3876"/>
                </a:lnTo>
                <a:lnTo>
                  <a:pt x="3169" y="3817"/>
                </a:lnTo>
                <a:lnTo>
                  <a:pt x="3220" y="3760"/>
                </a:lnTo>
                <a:lnTo>
                  <a:pt x="3271" y="3702"/>
                </a:lnTo>
                <a:lnTo>
                  <a:pt x="3323" y="3646"/>
                </a:lnTo>
                <a:lnTo>
                  <a:pt x="3376" y="3589"/>
                </a:lnTo>
                <a:lnTo>
                  <a:pt x="3429" y="3534"/>
                </a:lnTo>
                <a:lnTo>
                  <a:pt x="3484" y="3480"/>
                </a:lnTo>
                <a:lnTo>
                  <a:pt x="3539" y="3425"/>
                </a:lnTo>
                <a:lnTo>
                  <a:pt x="3594" y="3372"/>
                </a:lnTo>
                <a:lnTo>
                  <a:pt x="3650" y="3319"/>
                </a:lnTo>
                <a:close/>
                <a:moveTo>
                  <a:pt x="6848" y="5635"/>
                </a:moveTo>
                <a:lnTo>
                  <a:pt x="6848" y="5645"/>
                </a:lnTo>
                <a:lnTo>
                  <a:pt x="6847" y="5654"/>
                </a:lnTo>
                <a:lnTo>
                  <a:pt x="6846" y="5662"/>
                </a:lnTo>
                <a:lnTo>
                  <a:pt x="6844" y="5669"/>
                </a:lnTo>
                <a:lnTo>
                  <a:pt x="6841" y="5676"/>
                </a:lnTo>
                <a:lnTo>
                  <a:pt x="6837" y="5682"/>
                </a:lnTo>
                <a:lnTo>
                  <a:pt x="6833" y="5687"/>
                </a:lnTo>
                <a:lnTo>
                  <a:pt x="6828" y="5691"/>
                </a:lnTo>
                <a:lnTo>
                  <a:pt x="6823" y="5695"/>
                </a:lnTo>
                <a:lnTo>
                  <a:pt x="6817" y="5698"/>
                </a:lnTo>
                <a:lnTo>
                  <a:pt x="6810" y="5701"/>
                </a:lnTo>
                <a:lnTo>
                  <a:pt x="6802" y="5703"/>
                </a:lnTo>
                <a:lnTo>
                  <a:pt x="6785" y="5707"/>
                </a:lnTo>
                <a:lnTo>
                  <a:pt x="6765" y="5709"/>
                </a:lnTo>
                <a:lnTo>
                  <a:pt x="6767" y="5700"/>
                </a:lnTo>
                <a:lnTo>
                  <a:pt x="6770" y="5692"/>
                </a:lnTo>
                <a:lnTo>
                  <a:pt x="6773" y="5685"/>
                </a:lnTo>
                <a:lnTo>
                  <a:pt x="6776" y="5680"/>
                </a:lnTo>
                <a:lnTo>
                  <a:pt x="6779" y="5675"/>
                </a:lnTo>
                <a:lnTo>
                  <a:pt x="6783" y="5671"/>
                </a:lnTo>
                <a:lnTo>
                  <a:pt x="6787" y="5667"/>
                </a:lnTo>
                <a:lnTo>
                  <a:pt x="6791" y="5664"/>
                </a:lnTo>
                <a:lnTo>
                  <a:pt x="6815" y="5653"/>
                </a:lnTo>
                <a:lnTo>
                  <a:pt x="6848" y="5635"/>
                </a:lnTo>
                <a:close/>
                <a:moveTo>
                  <a:pt x="6511" y="8090"/>
                </a:moveTo>
                <a:lnTo>
                  <a:pt x="6485" y="8093"/>
                </a:lnTo>
                <a:lnTo>
                  <a:pt x="6464" y="8097"/>
                </a:lnTo>
                <a:lnTo>
                  <a:pt x="6460" y="8097"/>
                </a:lnTo>
                <a:lnTo>
                  <a:pt x="6456" y="8095"/>
                </a:lnTo>
                <a:lnTo>
                  <a:pt x="6454" y="8093"/>
                </a:lnTo>
                <a:lnTo>
                  <a:pt x="6452" y="8089"/>
                </a:lnTo>
                <a:lnTo>
                  <a:pt x="6451" y="8084"/>
                </a:lnTo>
                <a:lnTo>
                  <a:pt x="6452" y="8077"/>
                </a:lnTo>
                <a:lnTo>
                  <a:pt x="6454" y="8069"/>
                </a:lnTo>
                <a:lnTo>
                  <a:pt x="6457" y="8058"/>
                </a:lnTo>
                <a:lnTo>
                  <a:pt x="6466" y="8059"/>
                </a:lnTo>
                <a:lnTo>
                  <a:pt x="6475" y="8060"/>
                </a:lnTo>
                <a:lnTo>
                  <a:pt x="6484" y="8062"/>
                </a:lnTo>
                <a:lnTo>
                  <a:pt x="6493" y="8066"/>
                </a:lnTo>
                <a:lnTo>
                  <a:pt x="6500" y="8070"/>
                </a:lnTo>
                <a:lnTo>
                  <a:pt x="6506" y="8075"/>
                </a:lnTo>
                <a:lnTo>
                  <a:pt x="6508" y="8079"/>
                </a:lnTo>
                <a:lnTo>
                  <a:pt x="6510" y="8082"/>
                </a:lnTo>
                <a:lnTo>
                  <a:pt x="6510" y="8086"/>
                </a:lnTo>
                <a:lnTo>
                  <a:pt x="6511" y="8090"/>
                </a:lnTo>
                <a:close/>
                <a:moveTo>
                  <a:pt x="6055" y="8080"/>
                </a:moveTo>
                <a:lnTo>
                  <a:pt x="6053" y="8083"/>
                </a:lnTo>
                <a:lnTo>
                  <a:pt x="6051" y="8085"/>
                </a:lnTo>
                <a:lnTo>
                  <a:pt x="6047" y="8088"/>
                </a:lnTo>
                <a:lnTo>
                  <a:pt x="6043" y="8090"/>
                </a:lnTo>
                <a:lnTo>
                  <a:pt x="6034" y="8094"/>
                </a:lnTo>
                <a:lnTo>
                  <a:pt x="6023" y="8097"/>
                </a:lnTo>
                <a:lnTo>
                  <a:pt x="6010" y="8100"/>
                </a:lnTo>
                <a:lnTo>
                  <a:pt x="5996" y="8101"/>
                </a:lnTo>
                <a:lnTo>
                  <a:pt x="5981" y="8101"/>
                </a:lnTo>
                <a:lnTo>
                  <a:pt x="5966" y="8101"/>
                </a:lnTo>
                <a:lnTo>
                  <a:pt x="5951" y="8100"/>
                </a:lnTo>
                <a:lnTo>
                  <a:pt x="5936" y="8098"/>
                </a:lnTo>
                <a:lnTo>
                  <a:pt x="5922" y="8095"/>
                </a:lnTo>
                <a:lnTo>
                  <a:pt x="5909" y="8091"/>
                </a:lnTo>
                <a:lnTo>
                  <a:pt x="5898" y="8087"/>
                </a:lnTo>
                <a:lnTo>
                  <a:pt x="5888" y="8082"/>
                </a:lnTo>
                <a:lnTo>
                  <a:pt x="5884" y="8079"/>
                </a:lnTo>
                <a:lnTo>
                  <a:pt x="5881" y="8075"/>
                </a:lnTo>
                <a:lnTo>
                  <a:pt x="5878" y="8072"/>
                </a:lnTo>
                <a:lnTo>
                  <a:pt x="5876" y="8069"/>
                </a:lnTo>
                <a:lnTo>
                  <a:pt x="5895" y="8069"/>
                </a:lnTo>
                <a:lnTo>
                  <a:pt x="5913" y="8072"/>
                </a:lnTo>
                <a:lnTo>
                  <a:pt x="5931" y="8074"/>
                </a:lnTo>
                <a:lnTo>
                  <a:pt x="5949" y="8077"/>
                </a:lnTo>
                <a:lnTo>
                  <a:pt x="5966" y="8078"/>
                </a:lnTo>
                <a:lnTo>
                  <a:pt x="5984" y="8078"/>
                </a:lnTo>
                <a:lnTo>
                  <a:pt x="5994" y="8077"/>
                </a:lnTo>
                <a:lnTo>
                  <a:pt x="6004" y="8075"/>
                </a:lnTo>
                <a:lnTo>
                  <a:pt x="6014" y="8072"/>
                </a:lnTo>
                <a:lnTo>
                  <a:pt x="6024" y="8069"/>
                </a:lnTo>
                <a:lnTo>
                  <a:pt x="6022" y="8058"/>
                </a:lnTo>
                <a:lnTo>
                  <a:pt x="6019" y="8048"/>
                </a:lnTo>
                <a:lnTo>
                  <a:pt x="6015" y="8038"/>
                </a:lnTo>
                <a:lnTo>
                  <a:pt x="6009" y="8028"/>
                </a:lnTo>
                <a:lnTo>
                  <a:pt x="5996" y="8007"/>
                </a:lnTo>
                <a:lnTo>
                  <a:pt x="5981" y="7984"/>
                </a:lnTo>
                <a:lnTo>
                  <a:pt x="5992" y="7984"/>
                </a:lnTo>
                <a:lnTo>
                  <a:pt x="6003" y="7986"/>
                </a:lnTo>
                <a:lnTo>
                  <a:pt x="6015" y="7988"/>
                </a:lnTo>
                <a:lnTo>
                  <a:pt x="6026" y="7991"/>
                </a:lnTo>
                <a:lnTo>
                  <a:pt x="6049" y="7998"/>
                </a:lnTo>
                <a:lnTo>
                  <a:pt x="6074" y="8006"/>
                </a:lnTo>
                <a:lnTo>
                  <a:pt x="6099" y="8014"/>
                </a:lnTo>
                <a:lnTo>
                  <a:pt x="6126" y="8021"/>
                </a:lnTo>
                <a:lnTo>
                  <a:pt x="6140" y="8024"/>
                </a:lnTo>
                <a:lnTo>
                  <a:pt x="6153" y="8026"/>
                </a:lnTo>
                <a:lnTo>
                  <a:pt x="6168" y="8027"/>
                </a:lnTo>
                <a:lnTo>
                  <a:pt x="6182" y="8027"/>
                </a:lnTo>
                <a:lnTo>
                  <a:pt x="6182" y="8019"/>
                </a:lnTo>
                <a:lnTo>
                  <a:pt x="6181" y="8013"/>
                </a:lnTo>
                <a:lnTo>
                  <a:pt x="6180" y="8009"/>
                </a:lnTo>
                <a:lnTo>
                  <a:pt x="6179" y="8007"/>
                </a:lnTo>
                <a:lnTo>
                  <a:pt x="6176" y="8006"/>
                </a:lnTo>
                <a:lnTo>
                  <a:pt x="6174" y="8006"/>
                </a:lnTo>
                <a:lnTo>
                  <a:pt x="6173" y="8006"/>
                </a:lnTo>
                <a:lnTo>
                  <a:pt x="6173" y="8005"/>
                </a:lnTo>
                <a:lnTo>
                  <a:pt x="6173" y="8002"/>
                </a:lnTo>
                <a:lnTo>
                  <a:pt x="6176" y="7992"/>
                </a:lnTo>
                <a:lnTo>
                  <a:pt x="6182" y="7973"/>
                </a:lnTo>
                <a:lnTo>
                  <a:pt x="6189" y="7976"/>
                </a:lnTo>
                <a:lnTo>
                  <a:pt x="6196" y="7979"/>
                </a:lnTo>
                <a:lnTo>
                  <a:pt x="6205" y="7984"/>
                </a:lnTo>
                <a:lnTo>
                  <a:pt x="6213" y="7990"/>
                </a:lnTo>
                <a:lnTo>
                  <a:pt x="6232" y="8006"/>
                </a:lnTo>
                <a:lnTo>
                  <a:pt x="6252" y="8023"/>
                </a:lnTo>
                <a:lnTo>
                  <a:pt x="6269" y="8041"/>
                </a:lnTo>
                <a:lnTo>
                  <a:pt x="6284" y="8059"/>
                </a:lnTo>
                <a:lnTo>
                  <a:pt x="6289" y="8068"/>
                </a:lnTo>
                <a:lnTo>
                  <a:pt x="6294" y="8076"/>
                </a:lnTo>
                <a:lnTo>
                  <a:pt x="6297" y="8083"/>
                </a:lnTo>
                <a:lnTo>
                  <a:pt x="6299" y="8090"/>
                </a:lnTo>
                <a:lnTo>
                  <a:pt x="6260" y="8086"/>
                </a:lnTo>
                <a:lnTo>
                  <a:pt x="6228" y="8083"/>
                </a:lnTo>
                <a:lnTo>
                  <a:pt x="6203" y="8081"/>
                </a:lnTo>
                <a:lnTo>
                  <a:pt x="6179" y="8080"/>
                </a:lnTo>
                <a:lnTo>
                  <a:pt x="6155" y="8080"/>
                </a:lnTo>
                <a:lnTo>
                  <a:pt x="6129" y="8079"/>
                </a:lnTo>
                <a:lnTo>
                  <a:pt x="6096" y="8080"/>
                </a:lnTo>
                <a:lnTo>
                  <a:pt x="6055" y="8080"/>
                </a:lnTo>
                <a:close/>
                <a:moveTo>
                  <a:pt x="6140" y="8577"/>
                </a:moveTo>
                <a:lnTo>
                  <a:pt x="6137" y="8586"/>
                </a:lnTo>
                <a:lnTo>
                  <a:pt x="6135" y="8594"/>
                </a:lnTo>
                <a:lnTo>
                  <a:pt x="6132" y="8600"/>
                </a:lnTo>
                <a:lnTo>
                  <a:pt x="6129" y="8603"/>
                </a:lnTo>
                <a:lnTo>
                  <a:pt x="6125" y="8606"/>
                </a:lnTo>
                <a:lnTo>
                  <a:pt x="6118" y="8607"/>
                </a:lnTo>
                <a:lnTo>
                  <a:pt x="6109" y="8608"/>
                </a:lnTo>
                <a:lnTo>
                  <a:pt x="6097" y="8608"/>
                </a:lnTo>
                <a:lnTo>
                  <a:pt x="6100" y="8598"/>
                </a:lnTo>
                <a:lnTo>
                  <a:pt x="6102" y="8587"/>
                </a:lnTo>
                <a:lnTo>
                  <a:pt x="6105" y="8577"/>
                </a:lnTo>
                <a:lnTo>
                  <a:pt x="6107" y="8566"/>
                </a:lnTo>
                <a:lnTo>
                  <a:pt x="6116" y="8569"/>
                </a:lnTo>
                <a:lnTo>
                  <a:pt x="6124" y="8571"/>
                </a:lnTo>
                <a:lnTo>
                  <a:pt x="6132" y="8574"/>
                </a:lnTo>
                <a:lnTo>
                  <a:pt x="6140" y="8577"/>
                </a:lnTo>
                <a:close/>
                <a:moveTo>
                  <a:pt x="5589" y="7826"/>
                </a:moveTo>
                <a:lnTo>
                  <a:pt x="5579" y="7825"/>
                </a:lnTo>
                <a:lnTo>
                  <a:pt x="5567" y="7823"/>
                </a:lnTo>
                <a:lnTo>
                  <a:pt x="5555" y="7821"/>
                </a:lnTo>
                <a:lnTo>
                  <a:pt x="5542" y="7817"/>
                </a:lnTo>
                <a:lnTo>
                  <a:pt x="5528" y="7813"/>
                </a:lnTo>
                <a:lnTo>
                  <a:pt x="5514" y="7808"/>
                </a:lnTo>
                <a:lnTo>
                  <a:pt x="5500" y="7802"/>
                </a:lnTo>
                <a:lnTo>
                  <a:pt x="5487" y="7796"/>
                </a:lnTo>
                <a:lnTo>
                  <a:pt x="5472" y="7789"/>
                </a:lnTo>
                <a:lnTo>
                  <a:pt x="5459" y="7782"/>
                </a:lnTo>
                <a:lnTo>
                  <a:pt x="5446" y="7774"/>
                </a:lnTo>
                <a:lnTo>
                  <a:pt x="5435" y="7766"/>
                </a:lnTo>
                <a:lnTo>
                  <a:pt x="5424" y="7757"/>
                </a:lnTo>
                <a:lnTo>
                  <a:pt x="5414" y="7748"/>
                </a:lnTo>
                <a:lnTo>
                  <a:pt x="5406" y="7739"/>
                </a:lnTo>
                <a:lnTo>
                  <a:pt x="5399" y="7730"/>
                </a:lnTo>
                <a:lnTo>
                  <a:pt x="5438" y="7734"/>
                </a:lnTo>
                <a:lnTo>
                  <a:pt x="5475" y="7736"/>
                </a:lnTo>
                <a:lnTo>
                  <a:pt x="5484" y="7735"/>
                </a:lnTo>
                <a:lnTo>
                  <a:pt x="5493" y="7733"/>
                </a:lnTo>
                <a:lnTo>
                  <a:pt x="5501" y="7731"/>
                </a:lnTo>
                <a:lnTo>
                  <a:pt x="5509" y="7727"/>
                </a:lnTo>
                <a:lnTo>
                  <a:pt x="5516" y="7722"/>
                </a:lnTo>
                <a:lnTo>
                  <a:pt x="5524" y="7716"/>
                </a:lnTo>
                <a:lnTo>
                  <a:pt x="5530" y="7708"/>
                </a:lnTo>
                <a:lnTo>
                  <a:pt x="5537" y="7698"/>
                </a:lnTo>
                <a:lnTo>
                  <a:pt x="5549" y="7700"/>
                </a:lnTo>
                <a:lnTo>
                  <a:pt x="5560" y="7702"/>
                </a:lnTo>
                <a:lnTo>
                  <a:pt x="5571" y="7704"/>
                </a:lnTo>
                <a:lnTo>
                  <a:pt x="5581" y="7707"/>
                </a:lnTo>
                <a:lnTo>
                  <a:pt x="5600" y="7713"/>
                </a:lnTo>
                <a:lnTo>
                  <a:pt x="5618" y="7720"/>
                </a:lnTo>
                <a:lnTo>
                  <a:pt x="5633" y="7729"/>
                </a:lnTo>
                <a:lnTo>
                  <a:pt x="5648" y="7738"/>
                </a:lnTo>
                <a:lnTo>
                  <a:pt x="5661" y="7747"/>
                </a:lnTo>
                <a:lnTo>
                  <a:pt x="5673" y="7757"/>
                </a:lnTo>
                <a:lnTo>
                  <a:pt x="5686" y="7766"/>
                </a:lnTo>
                <a:lnTo>
                  <a:pt x="5698" y="7775"/>
                </a:lnTo>
                <a:lnTo>
                  <a:pt x="5711" y="7783"/>
                </a:lnTo>
                <a:lnTo>
                  <a:pt x="5724" y="7790"/>
                </a:lnTo>
                <a:lnTo>
                  <a:pt x="5739" y="7796"/>
                </a:lnTo>
                <a:lnTo>
                  <a:pt x="5754" y="7801"/>
                </a:lnTo>
                <a:lnTo>
                  <a:pt x="5763" y="7802"/>
                </a:lnTo>
                <a:lnTo>
                  <a:pt x="5772" y="7804"/>
                </a:lnTo>
                <a:lnTo>
                  <a:pt x="5781" y="7804"/>
                </a:lnTo>
                <a:lnTo>
                  <a:pt x="5791" y="7805"/>
                </a:lnTo>
                <a:lnTo>
                  <a:pt x="5795" y="7812"/>
                </a:lnTo>
                <a:lnTo>
                  <a:pt x="5802" y="7820"/>
                </a:lnTo>
                <a:lnTo>
                  <a:pt x="5810" y="7829"/>
                </a:lnTo>
                <a:lnTo>
                  <a:pt x="5818" y="7838"/>
                </a:lnTo>
                <a:lnTo>
                  <a:pt x="5836" y="7858"/>
                </a:lnTo>
                <a:lnTo>
                  <a:pt x="5852" y="7879"/>
                </a:lnTo>
                <a:lnTo>
                  <a:pt x="5857" y="7888"/>
                </a:lnTo>
                <a:lnTo>
                  <a:pt x="5862" y="7898"/>
                </a:lnTo>
                <a:lnTo>
                  <a:pt x="5863" y="7902"/>
                </a:lnTo>
                <a:lnTo>
                  <a:pt x="5863" y="7906"/>
                </a:lnTo>
                <a:lnTo>
                  <a:pt x="5863" y="7910"/>
                </a:lnTo>
                <a:lnTo>
                  <a:pt x="5861" y="7914"/>
                </a:lnTo>
                <a:lnTo>
                  <a:pt x="5858" y="7917"/>
                </a:lnTo>
                <a:lnTo>
                  <a:pt x="5855" y="7921"/>
                </a:lnTo>
                <a:lnTo>
                  <a:pt x="5851" y="7924"/>
                </a:lnTo>
                <a:lnTo>
                  <a:pt x="5846" y="7926"/>
                </a:lnTo>
                <a:lnTo>
                  <a:pt x="5840" y="7929"/>
                </a:lnTo>
                <a:lnTo>
                  <a:pt x="5833" y="7930"/>
                </a:lnTo>
                <a:lnTo>
                  <a:pt x="5824" y="7932"/>
                </a:lnTo>
                <a:lnTo>
                  <a:pt x="5815" y="7933"/>
                </a:lnTo>
                <a:lnTo>
                  <a:pt x="5799" y="7934"/>
                </a:lnTo>
                <a:lnTo>
                  <a:pt x="5783" y="7934"/>
                </a:lnTo>
                <a:lnTo>
                  <a:pt x="5766" y="7932"/>
                </a:lnTo>
                <a:lnTo>
                  <a:pt x="5750" y="7930"/>
                </a:lnTo>
                <a:lnTo>
                  <a:pt x="5732" y="7926"/>
                </a:lnTo>
                <a:lnTo>
                  <a:pt x="5716" y="7921"/>
                </a:lnTo>
                <a:lnTo>
                  <a:pt x="5699" y="7916"/>
                </a:lnTo>
                <a:lnTo>
                  <a:pt x="5684" y="7909"/>
                </a:lnTo>
                <a:lnTo>
                  <a:pt x="5669" y="7901"/>
                </a:lnTo>
                <a:lnTo>
                  <a:pt x="5654" y="7893"/>
                </a:lnTo>
                <a:lnTo>
                  <a:pt x="5641" y="7884"/>
                </a:lnTo>
                <a:lnTo>
                  <a:pt x="5628" y="7873"/>
                </a:lnTo>
                <a:lnTo>
                  <a:pt x="5617" y="7862"/>
                </a:lnTo>
                <a:lnTo>
                  <a:pt x="5605" y="7850"/>
                </a:lnTo>
                <a:lnTo>
                  <a:pt x="5597" y="7838"/>
                </a:lnTo>
                <a:lnTo>
                  <a:pt x="5589" y="7826"/>
                </a:lnTo>
                <a:close/>
                <a:moveTo>
                  <a:pt x="5749" y="8111"/>
                </a:moveTo>
                <a:lnTo>
                  <a:pt x="5732" y="8114"/>
                </a:lnTo>
                <a:lnTo>
                  <a:pt x="5716" y="8116"/>
                </a:lnTo>
                <a:lnTo>
                  <a:pt x="5700" y="8119"/>
                </a:lnTo>
                <a:lnTo>
                  <a:pt x="5685" y="8121"/>
                </a:lnTo>
                <a:lnTo>
                  <a:pt x="5686" y="8112"/>
                </a:lnTo>
                <a:lnTo>
                  <a:pt x="5689" y="8103"/>
                </a:lnTo>
                <a:lnTo>
                  <a:pt x="5692" y="8094"/>
                </a:lnTo>
                <a:lnTo>
                  <a:pt x="5695" y="8086"/>
                </a:lnTo>
                <a:lnTo>
                  <a:pt x="5700" y="8079"/>
                </a:lnTo>
                <a:lnTo>
                  <a:pt x="5704" y="8072"/>
                </a:lnTo>
                <a:lnTo>
                  <a:pt x="5709" y="8067"/>
                </a:lnTo>
                <a:lnTo>
                  <a:pt x="5714" y="8063"/>
                </a:lnTo>
                <a:lnTo>
                  <a:pt x="5719" y="8061"/>
                </a:lnTo>
                <a:lnTo>
                  <a:pt x="5724" y="8061"/>
                </a:lnTo>
                <a:lnTo>
                  <a:pt x="5727" y="8062"/>
                </a:lnTo>
                <a:lnTo>
                  <a:pt x="5729" y="8063"/>
                </a:lnTo>
                <a:lnTo>
                  <a:pt x="5732" y="8065"/>
                </a:lnTo>
                <a:lnTo>
                  <a:pt x="5735" y="8067"/>
                </a:lnTo>
                <a:lnTo>
                  <a:pt x="5739" y="8074"/>
                </a:lnTo>
                <a:lnTo>
                  <a:pt x="5743" y="8083"/>
                </a:lnTo>
                <a:lnTo>
                  <a:pt x="5746" y="8095"/>
                </a:lnTo>
                <a:lnTo>
                  <a:pt x="5749" y="8111"/>
                </a:lnTo>
                <a:close/>
                <a:moveTo>
                  <a:pt x="5674" y="8121"/>
                </a:moveTo>
                <a:lnTo>
                  <a:pt x="5659" y="8122"/>
                </a:lnTo>
                <a:lnTo>
                  <a:pt x="5642" y="8123"/>
                </a:lnTo>
                <a:lnTo>
                  <a:pt x="5634" y="8123"/>
                </a:lnTo>
                <a:lnTo>
                  <a:pt x="5626" y="8122"/>
                </a:lnTo>
                <a:lnTo>
                  <a:pt x="5619" y="8122"/>
                </a:lnTo>
                <a:lnTo>
                  <a:pt x="5612" y="8120"/>
                </a:lnTo>
                <a:lnTo>
                  <a:pt x="5605" y="8117"/>
                </a:lnTo>
                <a:lnTo>
                  <a:pt x="5600" y="8113"/>
                </a:lnTo>
                <a:lnTo>
                  <a:pt x="5596" y="8108"/>
                </a:lnTo>
                <a:lnTo>
                  <a:pt x="5593" y="8102"/>
                </a:lnTo>
                <a:lnTo>
                  <a:pt x="5592" y="8094"/>
                </a:lnTo>
                <a:lnTo>
                  <a:pt x="5593" y="8084"/>
                </a:lnTo>
                <a:lnTo>
                  <a:pt x="5595" y="8072"/>
                </a:lnTo>
                <a:lnTo>
                  <a:pt x="5600" y="8058"/>
                </a:lnTo>
                <a:lnTo>
                  <a:pt x="5619" y="8061"/>
                </a:lnTo>
                <a:lnTo>
                  <a:pt x="5634" y="8066"/>
                </a:lnTo>
                <a:lnTo>
                  <a:pt x="5641" y="8069"/>
                </a:lnTo>
                <a:lnTo>
                  <a:pt x="5647" y="8072"/>
                </a:lnTo>
                <a:lnTo>
                  <a:pt x="5653" y="8075"/>
                </a:lnTo>
                <a:lnTo>
                  <a:pt x="5658" y="8079"/>
                </a:lnTo>
                <a:lnTo>
                  <a:pt x="5662" y="8083"/>
                </a:lnTo>
                <a:lnTo>
                  <a:pt x="5666" y="8088"/>
                </a:lnTo>
                <a:lnTo>
                  <a:pt x="5669" y="8093"/>
                </a:lnTo>
                <a:lnTo>
                  <a:pt x="5671" y="8098"/>
                </a:lnTo>
                <a:lnTo>
                  <a:pt x="5673" y="8103"/>
                </a:lnTo>
                <a:lnTo>
                  <a:pt x="5674" y="8109"/>
                </a:lnTo>
                <a:lnTo>
                  <a:pt x="5675" y="8115"/>
                </a:lnTo>
                <a:lnTo>
                  <a:pt x="5674" y="8121"/>
                </a:lnTo>
                <a:close/>
                <a:moveTo>
                  <a:pt x="5293" y="7719"/>
                </a:moveTo>
                <a:lnTo>
                  <a:pt x="5293" y="7725"/>
                </a:lnTo>
                <a:lnTo>
                  <a:pt x="5292" y="7730"/>
                </a:lnTo>
                <a:lnTo>
                  <a:pt x="5290" y="7735"/>
                </a:lnTo>
                <a:lnTo>
                  <a:pt x="5287" y="7740"/>
                </a:lnTo>
                <a:lnTo>
                  <a:pt x="5284" y="7744"/>
                </a:lnTo>
                <a:lnTo>
                  <a:pt x="5280" y="7750"/>
                </a:lnTo>
                <a:lnTo>
                  <a:pt x="5276" y="7753"/>
                </a:lnTo>
                <a:lnTo>
                  <a:pt x="5272" y="7757"/>
                </a:lnTo>
                <a:lnTo>
                  <a:pt x="5261" y="7762"/>
                </a:lnTo>
                <a:lnTo>
                  <a:pt x="5250" y="7767"/>
                </a:lnTo>
                <a:lnTo>
                  <a:pt x="5239" y="7769"/>
                </a:lnTo>
                <a:lnTo>
                  <a:pt x="5226" y="7770"/>
                </a:lnTo>
                <a:lnTo>
                  <a:pt x="5220" y="7770"/>
                </a:lnTo>
                <a:lnTo>
                  <a:pt x="5215" y="7769"/>
                </a:lnTo>
                <a:lnTo>
                  <a:pt x="5210" y="7768"/>
                </a:lnTo>
                <a:lnTo>
                  <a:pt x="5204" y="7766"/>
                </a:lnTo>
                <a:lnTo>
                  <a:pt x="5200" y="7763"/>
                </a:lnTo>
                <a:lnTo>
                  <a:pt x="5195" y="7760"/>
                </a:lnTo>
                <a:lnTo>
                  <a:pt x="5192" y="7757"/>
                </a:lnTo>
                <a:lnTo>
                  <a:pt x="5188" y="7753"/>
                </a:lnTo>
                <a:lnTo>
                  <a:pt x="5186" y="7747"/>
                </a:lnTo>
                <a:lnTo>
                  <a:pt x="5183" y="7742"/>
                </a:lnTo>
                <a:lnTo>
                  <a:pt x="5182" y="7737"/>
                </a:lnTo>
                <a:lnTo>
                  <a:pt x="5181" y="7730"/>
                </a:lnTo>
                <a:lnTo>
                  <a:pt x="5181" y="7723"/>
                </a:lnTo>
                <a:lnTo>
                  <a:pt x="5182" y="7716"/>
                </a:lnTo>
                <a:lnTo>
                  <a:pt x="5184" y="7707"/>
                </a:lnTo>
                <a:lnTo>
                  <a:pt x="5187" y="7698"/>
                </a:lnTo>
                <a:lnTo>
                  <a:pt x="5195" y="7701"/>
                </a:lnTo>
                <a:lnTo>
                  <a:pt x="5203" y="7704"/>
                </a:lnTo>
                <a:lnTo>
                  <a:pt x="5211" y="7706"/>
                </a:lnTo>
                <a:lnTo>
                  <a:pt x="5219" y="7709"/>
                </a:lnTo>
                <a:lnTo>
                  <a:pt x="5221" y="7718"/>
                </a:lnTo>
                <a:lnTo>
                  <a:pt x="5224" y="7725"/>
                </a:lnTo>
                <a:lnTo>
                  <a:pt x="5228" y="7730"/>
                </a:lnTo>
                <a:lnTo>
                  <a:pt x="5232" y="7735"/>
                </a:lnTo>
                <a:lnTo>
                  <a:pt x="5236" y="7737"/>
                </a:lnTo>
                <a:lnTo>
                  <a:pt x="5240" y="7739"/>
                </a:lnTo>
                <a:lnTo>
                  <a:pt x="5245" y="7740"/>
                </a:lnTo>
                <a:lnTo>
                  <a:pt x="5250" y="7739"/>
                </a:lnTo>
                <a:lnTo>
                  <a:pt x="5260" y="7737"/>
                </a:lnTo>
                <a:lnTo>
                  <a:pt x="5270" y="7732"/>
                </a:lnTo>
                <a:lnTo>
                  <a:pt x="5281" y="7726"/>
                </a:lnTo>
                <a:lnTo>
                  <a:pt x="5293" y="7719"/>
                </a:lnTo>
                <a:close/>
              </a:path>
            </a:pathLst>
          </a:custGeom>
          <a:solidFill>
            <a:srgbClr val="DA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7"/>
          <p:cNvSpPr>
            <a:spLocks/>
          </p:cNvSpPr>
          <p:nvPr userDrawn="1"/>
        </p:nvSpPr>
        <p:spPr bwMode="auto">
          <a:xfrm>
            <a:off x="2913063" y="6538913"/>
            <a:ext cx="355600" cy="292100"/>
          </a:xfrm>
          <a:custGeom>
            <a:avLst/>
            <a:gdLst>
              <a:gd name="T0" fmla="*/ 2147483646 w 3327"/>
              <a:gd name="T1" fmla="*/ 2147483646 h 2718"/>
              <a:gd name="T2" fmla="*/ 2147483646 w 3327"/>
              <a:gd name="T3" fmla="*/ 2147483646 h 2718"/>
              <a:gd name="T4" fmla="*/ 2147483646 w 3327"/>
              <a:gd name="T5" fmla="*/ 2147483646 h 2718"/>
              <a:gd name="T6" fmla="*/ 2147483646 w 3327"/>
              <a:gd name="T7" fmla="*/ 2147483646 h 2718"/>
              <a:gd name="T8" fmla="*/ 2147483646 w 3327"/>
              <a:gd name="T9" fmla="*/ 2147483646 h 2718"/>
              <a:gd name="T10" fmla="*/ 2147483646 w 3327"/>
              <a:gd name="T11" fmla="*/ 2147483646 h 2718"/>
              <a:gd name="T12" fmla="*/ 2147483646 w 3327"/>
              <a:gd name="T13" fmla="*/ 2147483646 h 2718"/>
              <a:gd name="T14" fmla="*/ 2147483646 w 3327"/>
              <a:gd name="T15" fmla="*/ 2147483646 h 2718"/>
              <a:gd name="T16" fmla="*/ 2147483646 w 3327"/>
              <a:gd name="T17" fmla="*/ 2147483646 h 2718"/>
              <a:gd name="T18" fmla="*/ 2147483646 w 3327"/>
              <a:gd name="T19" fmla="*/ 2147483646 h 2718"/>
              <a:gd name="T20" fmla="*/ 2147483646 w 3327"/>
              <a:gd name="T21" fmla="*/ 2147483646 h 2718"/>
              <a:gd name="T22" fmla="*/ 2147483646 w 3327"/>
              <a:gd name="T23" fmla="*/ 2147483646 h 2718"/>
              <a:gd name="T24" fmla="*/ 2147483646 w 3327"/>
              <a:gd name="T25" fmla="*/ 2147483646 h 2718"/>
              <a:gd name="T26" fmla="*/ 2147483646 w 3327"/>
              <a:gd name="T27" fmla="*/ 2147483646 h 2718"/>
              <a:gd name="T28" fmla="*/ 2147483646 w 3327"/>
              <a:gd name="T29" fmla="*/ 2147483646 h 2718"/>
              <a:gd name="T30" fmla="*/ 2147483646 w 3327"/>
              <a:gd name="T31" fmla="*/ 2147483646 h 2718"/>
              <a:gd name="T32" fmla="*/ 2147483646 w 3327"/>
              <a:gd name="T33" fmla="*/ 2147483646 h 2718"/>
              <a:gd name="T34" fmla="*/ 2147483646 w 3327"/>
              <a:gd name="T35" fmla="*/ 2147483646 h 2718"/>
              <a:gd name="T36" fmla="*/ 2147483646 w 3327"/>
              <a:gd name="T37" fmla="*/ 2147483646 h 2718"/>
              <a:gd name="T38" fmla="*/ 2147483646 w 3327"/>
              <a:gd name="T39" fmla="*/ 2147483646 h 2718"/>
              <a:gd name="T40" fmla="*/ 2147483646 w 3327"/>
              <a:gd name="T41" fmla="*/ 2147483646 h 2718"/>
              <a:gd name="T42" fmla="*/ 2147483646 w 3327"/>
              <a:gd name="T43" fmla="*/ 2147483646 h 2718"/>
              <a:gd name="T44" fmla="*/ 2147483646 w 3327"/>
              <a:gd name="T45" fmla="*/ 2147483646 h 2718"/>
              <a:gd name="T46" fmla="*/ 2147483646 w 3327"/>
              <a:gd name="T47" fmla="*/ 2147483646 h 2718"/>
              <a:gd name="T48" fmla="*/ 2147483646 w 3327"/>
              <a:gd name="T49" fmla="*/ 2147483646 h 2718"/>
              <a:gd name="T50" fmla="*/ 2147483646 w 3327"/>
              <a:gd name="T51" fmla="*/ 2147483646 h 2718"/>
              <a:gd name="T52" fmla="*/ 2147483646 w 3327"/>
              <a:gd name="T53" fmla="*/ 2147483646 h 2718"/>
              <a:gd name="T54" fmla="*/ 2147483646 w 3327"/>
              <a:gd name="T55" fmla="*/ 2147483646 h 2718"/>
              <a:gd name="T56" fmla="*/ 2147483646 w 3327"/>
              <a:gd name="T57" fmla="*/ 2147483646 h 2718"/>
              <a:gd name="T58" fmla="*/ 2147483646 w 3327"/>
              <a:gd name="T59" fmla="*/ 2147483646 h 2718"/>
              <a:gd name="T60" fmla="*/ 2147483646 w 3327"/>
              <a:gd name="T61" fmla="*/ 2147483646 h 2718"/>
              <a:gd name="T62" fmla="*/ 2147483646 w 3327"/>
              <a:gd name="T63" fmla="*/ 2147483646 h 2718"/>
              <a:gd name="T64" fmla="*/ 2147483646 w 3327"/>
              <a:gd name="T65" fmla="*/ 0 h 2718"/>
              <a:gd name="T66" fmla="*/ 2147483646 w 3327"/>
              <a:gd name="T67" fmla="*/ 2147483646 h 2718"/>
              <a:gd name="T68" fmla="*/ 2147483646 w 3327"/>
              <a:gd name="T69" fmla="*/ 2147483646 h 2718"/>
              <a:gd name="T70" fmla="*/ 2147483646 w 3327"/>
              <a:gd name="T71" fmla="*/ 2147483646 h 2718"/>
              <a:gd name="T72" fmla="*/ 2147483646 w 3327"/>
              <a:gd name="T73" fmla="*/ 2147483646 h 2718"/>
              <a:gd name="T74" fmla="*/ 2147483646 w 3327"/>
              <a:gd name="T75" fmla="*/ 2147483646 h 2718"/>
              <a:gd name="T76" fmla="*/ 2147483646 w 3327"/>
              <a:gd name="T77" fmla="*/ 2147483646 h 2718"/>
              <a:gd name="T78" fmla="*/ 2147483646 w 3327"/>
              <a:gd name="T79" fmla="*/ 2147483646 h 2718"/>
              <a:gd name="T80" fmla="*/ 2147483646 w 3327"/>
              <a:gd name="T81" fmla="*/ 2147483646 h 2718"/>
              <a:gd name="T82" fmla="*/ 2147483646 w 3327"/>
              <a:gd name="T83" fmla="*/ 2147483646 h 2718"/>
              <a:gd name="T84" fmla="*/ 2147483646 w 3327"/>
              <a:gd name="T85" fmla="*/ 2147483646 h 2718"/>
              <a:gd name="T86" fmla="*/ 2147483646 w 3327"/>
              <a:gd name="T87" fmla="*/ 2147483646 h 2718"/>
              <a:gd name="T88" fmla="*/ 2147483646 w 3327"/>
              <a:gd name="T89" fmla="*/ 2147483646 h 2718"/>
              <a:gd name="T90" fmla="*/ 2147483646 w 3327"/>
              <a:gd name="T91" fmla="*/ 2147483646 h 2718"/>
              <a:gd name="T92" fmla="*/ 2147483646 w 3327"/>
              <a:gd name="T93" fmla="*/ 2147483646 h 2718"/>
              <a:gd name="T94" fmla="*/ 2147483646 w 3327"/>
              <a:gd name="T95" fmla="*/ 2147483646 h 2718"/>
              <a:gd name="T96" fmla="*/ 2147483646 w 3327"/>
              <a:gd name="T97" fmla="*/ 2147483646 h 2718"/>
              <a:gd name="T98" fmla="*/ 2147483646 w 3327"/>
              <a:gd name="T99" fmla="*/ 2147483646 h 2718"/>
              <a:gd name="T100" fmla="*/ 2147483646 w 3327"/>
              <a:gd name="T101" fmla="*/ 2147483646 h 2718"/>
              <a:gd name="T102" fmla="*/ 2147483646 w 3327"/>
              <a:gd name="T103" fmla="*/ 2147483646 h 2718"/>
              <a:gd name="T104" fmla="*/ 2147483646 w 3327"/>
              <a:gd name="T105" fmla="*/ 2147483646 h 2718"/>
              <a:gd name="T106" fmla="*/ 2147483646 w 3327"/>
              <a:gd name="T107" fmla="*/ 2147483646 h 2718"/>
              <a:gd name="T108" fmla="*/ 2147483646 w 3327"/>
              <a:gd name="T109" fmla="*/ 2147483646 h 2718"/>
              <a:gd name="T110" fmla="*/ 2147483646 w 3327"/>
              <a:gd name="T111" fmla="*/ 2147483646 h 2718"/>
              <a:gd name="T112" fmla="*/ 2147483646 w 3327"/>
              <a:gd name="T113" fmla="*/ 2147483646 h 2718"/>
              <a:gd name="T114" fmla="*/ 2147483646 w 3327"/>
              <a:gd name="T115" fmla="*/ 2147483646 h 2718"/>
              <a:gd name="T116" fmla="*/ 2147483646 w 3327"/>
              <a:gd name="T117" fmla="*/ 2147483646 h 2718"/>
              <a:gd name="T118" fmla="*/ 0 w 3327"/>
              <a:gd name="T119" fmla="*/ 2147483646 h 27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327" h="2718">
                <a:moveTo>
                  <a:pt x="3" y="2411"/>
                </a:moveTo>
                <a:lnTo>
                  <a:pt x="3" y="2411"/>
                </a:lnTo>
                <a:lnTo>
                  <a:pt x="71" y="2416"/>
                </a:lnTo>
                <a:lnTo>
                  <a:pt x="139" y="2418"/>
                </a:lnTo>
                <a:lnTo>
                  <a:pt x="206" y="2418"/>
                </a:lnTo>
                <a:lnTo>
                  <a:pt x="271" y="2413"/>
                </a:lnTo>
                <a:lnTo>
                  <a:pt x="337" y="2406"/>
                </a:lnTo>
                <a:lnTo>
                  <a:pt x="401" y="2397"/>
                </a:lnTo>
                <a:lnTo>
                  <a:pt x="465" y="2383"/>
                </a:lnTo>
                <a:lnTo>
                  <a:pt x="528" y="2367"/>
                </a:lnTo>
                <a:lnTo>
                  <a:pt x="589" y="2348"/>
                </a:lnTo>
                <a:lnTo>
                  <a:pt x="650" y="2326"/>
                </a:lnTo>
                <a:lnTo>
                  <a:pt x="710" y="2301"/>
                </a:lnTo>
                <a:lnTo>
                  <a:pt x="770" y="2271"/>
                </a:lnTo>
                <a:lnTo>
                  <a:pt x="828" y="2241"/>
                </a:lnTo>
                <a:lnTo>
                  <a:pt x="887" y="2206"/>
                </a:lnTo>
                <a:lnTo>
                  <a:pt x="945" y="2168"/>
                </a:lnTo>
                <a:lnTo>
                  <a:pt x="1001" y="2128"/>
                </a:lnTo>
                <a:lnTo>
                  <a:pt x="944" y="2121"/>
                </a:lnTo>
                <a:lnTo>
                  <a:pt x="916" y="2117"/>
                </a:lnTo>
                <a:lnTo>
                  <a:pt x="888" y="2111"/>
                </a:lnTo>
                <a:lnTo>
                  <a:pt x="862" y="2106"/>
                </a:lnTo>
                <a:lnTo>
                  <a:pt x="835" y="2099"/>
                </a:lnTo>
                <a:lnTo>
                  <a:pt x="809" y="2090"/>
                </a:lnTo>
                <a:lnTo>
                  <a:pt x="784" y="2082"/>
                </a:lnTo>
                <a:lnTo>
                  <a:pt x="760" y="2074"/>
                </a:lnTo>
                <a:lnTo>
                  <a:pt x="736" y="2064"/>
                </a:lnTo>
                <a:lnTo>
                  <a:pt x="713" y="2053"/>
                </a:lnTo>
                <a:lnTo>
                  <a:pt x="690" y="2041"/>
                </a:lnTo>
                <a:lnTo>
                  <a:pt x="668" y="2029"/>
                </a:lnTo>
                <a:lnTo>
                  <a:pt x="647" y="2016"/>
                </a:lnTo>
                <a:lnTo>
                  <a:pt x="626" y="2002"/>
                </a:lnTo>
                <a:lnTo>
                  <a:pt x="606" y="1987"/>
                </a:lnTo>
                <a:lnTo>
                  <a:pt x="586" y="1972"/>
                </a:lnTo>
                <a:lnTo>
                  <a:pt x="568" y="1957"/>
                </a:lnTo>
                <a:lnTo>
                  <a:pt x="548" y="1940"/>
                </a:lnTo>
                <a:lnTo>
                  <a:pt x="530" y="1922"/>
                </a:lnTo>
                <a:lnTo>
                  <a:pt x="514" y="1904"/>
                </a:lnTo>
                <a:lnTo>
                  <a:pt x="497" y="1884"/>
                </a:lnTo>
                <a:lnTo>
                  <a:pt x="480" y="1865"/>
                </a:lnTo>
                <a:lnTo>
                  <a:pt x="465" y="1844"/>
                </a:lnTo>
                <a:lnTo>
                  <a:pt x="451" y="1821"/>
                </a:lnTo>
                <a:lnTo>
                  <a:pt x="436" y="1799"/>
                </a:lnTo>
                <a:lnTo>
                  <a:pt x="422" y="1777"/>
                </a:lnTo>
                <a:lnTo>
                  <a:pt x="409" y="1752"/>
                </a:lnTo>
                <a:lnTo>
                  <a:pt x="397" y="1728"/>
                </a:lnTo>
                <a:lnTo>
                  <a:pt x="384" y="1702"/>
                </a:lnTo>
                <a:lnTo>
                  <a:pt x="362" y="1649"/>
                </a:lnTo>
                <a:lnTo>
                  <a:pt x="400" y="1654"/>
                </a:lnTo>
                <a:lnTo>
                  <a:pt x="439" y="1657"/>
                </a:lnTo>
                <a:lnTo>
                  <a:pt x="476" y="1660"/>
                </a:lnTo>
                <a:lnTo>
                  <a:pt x="512" y="1660"/>
                </a:lnTo>
                <a:lnTo>
                  <a:pt x="550" y="1657"/>
                </a:lnTo>
                <a:lnTo>
                  <a:pt x="587" y="1653"/>
                </a:lnTo>
                <a:lnTo>
                  <a:pt x="625" y="1647"/>
                </a:lnTo>
                <a:lnTo>
                  <a:pt x="663" y="1639"/>
                </a:lnTo>
                <a:lnTo>
                  <a:pt x="632" y="1628"/>
                </a:lnTo>
                <a:lnTo>
                  <a:pt x="601" y="1618"/>
                </a:lnTo>
                <a:lnTo>
                  <a:pt x="572" y="1606"/>
                </a:lnTo>
                <a:lnTo>
                  <a:pt x="543" y="1594"/>
                </a:lnTo>
                <a:lnTo>
                  <a:pt x="515" y="1580"/>
                </a:lnTo>
                <a:lnTo>
                  <a:pt x="489" y="1567"/>
                </a:lnTo>
                <a:lnTo>
                  <a:pt x="462" y="1553"/>
                </a:lnTo>
                <a:lnTo>
                  <a:pt x="437" y="1537"/>
                </a:lnTo>
                <a:lnTo>
                  <a:pt x="413" y="1522"/>
                </a:lnTo>
                <a:lnTo>
                  <a:pt x="391" y="1505"/>
                </a:lnTo>
                <a:lnTo>
                  <a:pt x="369" y="1489"/>
                </a:lnTo>
                <a:lnTo>
                  <a:pt x="348" y="1470"/>
                </a:lnTo>
                <a:lnTo>
                  <a:pt x="327" y="1451"/>
                </a:lnTo>
                <a:lnTo>
                  <a:pt x="308" y="1431"/>
                </a:lnTo>
                <a:lnTo>
                  <a:pt x="290" y="1412"/>
                </a:lnTo>
                <a:lnTo>
                  <a:pt x="273" y="1391"/>
                </a:lnTo>
                <a:lnTo>
                  <a:pt x="256" y="1369"/>
                </a:lnTo>
                <a:lnTo>
                  <a:pt x="241" y="1346"/>
                </a:lnTo>
                <a:lnTo>
                  <a:pt x="226" y="1324"/>
                </a:lnTo>
                <a:lnTo>
                  <a:pt x="212" y="1299"/>
                </a:lnTo>
                <a:lnTo>
                  <a:pt x="199" y="1275"/>
                </a:lnTo>
                <a:lnTo>
                  <a:pt x="188" y="1249"/>
                </a:lnTo>
                <a:lnTo>
                  <a:pt x="177" y="1224"/>
                </a:lnTo>
                <a:lnTo>
                  <a:pt x="167" y="1196"/>
                </a:lnTo>
                <a:lnTo>
                  <a:pt x="157" y="1168"/>
                </a:lnTo>
                <a:lnTo>
                  <a:pt x="149" y="1140"/>
                </a:lnTo>
                <a:lnTo>
                  <a:pt x="142" y="1111"/>
                </a:lnTo>
                <a:lnTo>
                  <a:pt x="135" y="1082"/>
                </a:lnTo>
                <a:lnTo>
                  <a:pt x="131" y="1051"/>
                </a:lnTo>
                <a:lnTo>
                  <a:pt x="125" y="1019"/>
                </a:lnTo>
                <a:lnTo>
                  <a:pt x="123" y="987"/>
                </a:lnTo>
                <a:lnTo>
                  <a:pt x="120" y="954"/>
                </a:lnTo>
                <a:lnTo>
                  <a:pt x="156" y="972"/>
                </a:lnTo>
                <a:lnTo>
                  <a:pt x="192" y="987"/>
                </a:lnTo>
                <a:lnTo>
                  <a:pt x="230" y="1001"/>
                </a:lnTo>
                <a:lnTo>
                  <a:pt x="266" y="1014"/>
                </a:lnTo>
                <a:lnTo>
                  <a:pt x="303" y="1023"/>
                </a:lnTo>
                <a:lnTo>
                  <a:pt x="341" y="1030"/>
                </a:lnTo>
                <a:lnTo>
                  <a:pt x="380" y="1034"/>
                </a:lnTo>
                <a:lnTo>
                  <a:pt x="419" y="1036"/>
                </a:lnTo>
                <a:lnTo>
                  <a:pt x="381" y="1005"/>
                </a:lnTo>
                <a:lnTo>
                  <a:pt x="348" y="975"/>
                </a:lnTo>
                <a:lnTo>
                  <a:pt x="316" y="941"/>
                </a:lnTo>
                <a:lnTo>
                  <a:pt x="287" y="908"/>
                </a:lnTo>
                <a:lnTo>
                  <a:pt x="259" y="873"/>
                </a:lnTo>
                <a:lnTo>
                  <a:pt x="234" y="837"/>
                </a:lnTo>
                <a:lnTo>
                  <a:pt x="213" y="799"/>
                </a:lnTo>
                <a:lnTo>
                  <a:pt x="194" y="761"/>
                </a:lnTo>
                <a:lnTo>
                  <a:pt x="175" y="721"/>
                </a:lnTo>
                <a:lnTo>
                  <a:pt x="161" y="681"/>
                </a:lnTo>
                <a:lnTo>
                  <a:pt x="150" y="639"/>
                </a:lnTo>
                <a:lnTo>
                  <a:pt x="141" y="596"/>
                </a:lnTo>
                <a:lnTo>
                  <a:pt x="134" y="553"/>
                </a:lnTo>
                <a:lnTo>
                  <a:pt x="131" y="507"/>
                </a:lnTo>
                <a:lnTo>
                  <a:pt x="129" y="459"/>
                </a:lnTo>
                <a:lnTo>
                  <a:pt x="131" y="412"/>
                </a:lnTo>
                <a:lnTo>
                  <a:pt x="135" y="374"/>
                </a:lnTo>
                <a:lnTo>
                  <a:pt x="141" y="338"/>
                </a:lnTo>
                <a:lnTo>
                  <a:pt x="149" y="300"/>
                </a:lnTo>
                <a:lnTo>
                  <a:pt x="159" y="266"/>
                </a:lnTo>
                <a:lnTo>
                  <a:pt x="171" y="229"/>
                </a:lnTo>
                <a:lnTo>
                  <a:pt x="187" y="195"/>
                </a:lnTo>
                <a:lnTo>
                  <a:pt x="202" y="160"/>
                </a:lnTo>
                <a:lnTo>
                  <a:pt x="221" y="126"/>
                </a:lnTo>
                <a:lnTo>
                  <a:pt x="256" y="167"/>
                </a:lnTo>
                <a:lnTo>
                  <a:pt x="291" y="206"/>
                </a:lnTo>
                <a:lnTo>
                  <a:pt x="327" y="243"/>
                </a:lnTo>
                <a:lnTo>
                  <a:pt x="365" y="281"/>
                </a:lnTo>
                <a:lnTo>
                  <a:pt x="402" y="317"/>
                </a:lnTo>
                <a:lnTo>
                  <a:pt x="440" y="351"/>
                </a:lnTo>
                <a:lnTo>
                  <a:pt x="479" y="384"/>
                </a:lnTo>
                <a:lnTo>
                  <a:pt x="518" y="417"/>
                </a:lnTo>
                <a:lnTo>
                  <a:pt x="557" y="448"/>
                </a:lnTo>
                <a:lnTo>
                  <a:pt x="597" y="477"/>
                </a:lnTo>
                <a:lnTo>
                  <a:pt x="638" y="507"/>
                </a:lnTo>
                <a:lnTo>
                  <a:pt x="679" y="534"/>
                </a:lnTo>
                <a:lnTo>
                  <a:pt x="721" y="561"/>
                </a:lnTo>
                <a:lnTo>
                  <a:pt x="764" y="586"/>
                </a:lnTo>
                <a:lnTo>
                  <a:pt x="807" y="610"/>
                </a:lnTo>
                <a:lnTo>
                  <a:pt x="851" y="633"/>
                </a:lnTo>
                <a:lnTo>
                  <a:pt x="895" y="654"/>
                </a:lnTo>
                <a:lnTo>
                  <a:pt x="940" y="675"/>
                </a:lnTo>
                <a:lnTo>
                  <a:pt x="986" y="695"/>
                </a:lnTo>
                <a:lnTo>
                  <a:pt x="1032" y="713"/>
                </a:lnTo>
                <a:lnTo>
                  <a:pt x="1079" y="731"/>
                </a:lnTo>
                <a:lnTo>
                  <a:pt x="1126" y="746"/>
                </a:lnTo>
                <a:lnTo>
                  <a:pt x="1174" y="761"/>
                </a:lnTo>
                <a:lnTo>
                  <a:pt x="1222" y="775"/>
                </a:lnTo>
                <a:lnTo>
                  <a:pt x="1271" y="788"/>
                </a:lnTo>
                <a:lnTo>
                  <a:pt x="1321" y="799"/>
                </a:lnTo>
                <a:lnTo>
                  <a:pt x="1371" y="809"/>
                </a:lnTo>
                <a:lnTo>
                  <a:pt x="1421" y="819"/>
                </a:lnTo>
                <a:lnTo>
                  <a:pt x="1473" y="826"/>
                </a:lnTo>
                <a:lnTo>
                  <a:pt x="1526" y="832"/>
                </a:lnTo>
                <a:lnTo>
                  <a:pt x="1579" y="838"/>
                </a:lnTo>
                <a:lnTo>
                  <a:pt x="1632" y="842"/>
                </a:lnTo>
                <a:lnTo>
                  <a:pt x="1625" y="781"/>
                </a:lnTo>
                <a:lnTo>
                  <a:pt x="1618" y="724"/>
                </a:lnTo>
                <a:lnTo>
                  <a:pt x="1616" y="692"/>
                </a:lnTo>
                <a:lnTo>
                  <a:pt x="1616" y="661"/>
                </a:lnTo>
                <a:lnTo>
                  <a:pt x="1618" y="629"/>
                </a:lnTo>
                <a:lnTo>
                  <a:pt x="1620" y="598"/>
                </a:lnTo>
                <a:lnTo>
                  <a:pt x="1626" y="568"/>
                </a:lnTo>
                <a:lnTo>
                  <a:pt x="1632" y="537"/>
                </a:lnTo>
                <a:lnTo>
                  <a:pt x="1638" y="508"/>
                </a:lnTo>
                <a:lnTo>
                  <a:pt x="1648" y="477"/>
                </a:lnTo>
                <a:lnTo>
                  <a:pt x="1658" y="448"/>
                </a:lnTo>
                <a:lnTo>
                  <a:pt x="1669" y="420"/>
                </a:lnTo>
                <a:lnTo>
                  <a:pt x="1683" y="392"/>
                </a:lnTo>
                <a:lnTo>
                  <a:pt x="1697" y="364"/>
                </a:lnTo>
                <a:lnTo>
                  <a:pt x="1712" y="337"/>
                </a:lnTo>
                <a:lnTo>
                  <a:pt x="1728" y="312"/>
                </a:lnTo>
                <a:lnTo>
                  <a:pt x="1746" y="285"/>
                </a:lnTo>
                <a:lnTo>
                  <a:pt x="1764" y="261"/>
                </a:lnTo>
                <a:lnTo>
                  <a:pt x="1783" y="236"/>
                </a:lnTo>
                <a:lnTo>
                  <a:pt x="1804" y="214"/>
                </a:lnTo>
                <a:lnTo>
                  <a:pt x="1826" y="192"/>
                </a:lnTo>
                <a:lnTo>
                  <a:pt x="1849" y="171"/>
                </a:lnTo>
                <a:lnTo>
                  <a:pt x="1872" y="150"/>
                </a:lnTo>
                <a:lnTo>
                  <a:pt x="1896" y="132"/>
                </a:lnTo>
                <a:lnTo>
                  <a:pt x="1922" y="114"/>
                </a:lnTo>
                <a:lnTo>
                  <a:pt x="1948" y="97"/>
                </a:lnTo>
                <a:lnTo>
                  <a:pt x="1974" y="82"/>
                </a:lnTo>
                <a:lnTo>
                  <a:pt x="2002" y="66"/>
                </a:lnTo>
                <a:lnTo>
                  <a:pt x="2030" y="54"/>
                </a:lnTo>
                <a:lnTo>
                  <a:pt x="2059" y="41"/>
                </a:lnTo>
                <a:lnTo>
                  <a:pt x="2088" y="32"/>
                </a:lnTo>
                <a:lnTo>
                  <a:pt x="2119" y="23"/>
                </a:lnTo>
                <a:lnTo>
                  <a:pt x="2149" y="15"/>
                </a:lnTo>
                <a:lnTo>
                  <a:pt x="2180" y="9"/>
                </a:lnTo>
                <a:lnTo>
                  <a:pt x="2223" y="4"/>
                </a:lnTo>
                <a:lnTo>
                  <a:pt x="2266" y="0"/>
                </a:lnTo>
                <a:lnTo>
                  <a:pt x="2308" y="0"/>
                </a:lnTo>
                <a:lnTo>
                  <a:pt x="2350" y="1"/>
                </a:lnTo>
                <a:lnTo>
                  <a:pt x="2390" y="4"/>
                </a:lnTo>
                <a:lnTo>
                  <a:pt x="2431" y="11"/>
                </a:lnTo>
                <a:lnTo>
                  <a:pt x="2470" y="19"/>
                </a:lnTo>
                <a:lnTo>
                  <a:pt x="2509" y="29"/>
                </a:lnTo>
                <a:lnTo>
                  <a:pt x="2546" y="43"/>
                </a:lnTo>
                <a:lnTo>
                  <a:pt x="2582" y="58"/>
                </a:lnTo>
                <a:lnTo>
                  <a:pt x="2618" y="76"/>
                </a:lnTo>
                <a:lnTo>
                  <a:pt x="2655" y="97"/>
                </a:lnTo>
                <a:lnTo>
                  <a:pt x="2689" y="119"/>
                </a:lnTo>
                <a:lnTo>
                  <a:pt x="2723" y="144"/>
                </a:lnTo>
                <a:lnTo>
                  <a:pt x="2756" y="172"/>
                </a:lnTo>
                <a:lnTo>
                  <a:pt x="2788" y="202"/>
                </a:lnTo>
                <a:lnTo>
                  <a:pt x="2794" y="207"/>
                </a:lnTo>
                <a:lnTo>
                  <a:pt x="2799" y="210"/>
                </a:lnTo>
                <a:lnTo>
                  <a:pt x="2805" y="211"/>
                </a:lnTo>
                <a:lnTo>
                  <a:pt x="2809" y="213"/>
                </a:lnTo>
                <a:lnTo>
                  <a:pt x="2820" y="211"/>
                </a:lnTo>
                <a:lnTo>
                  <a:pt x="2831" y="210"/>
                </a:lnTo>
                <a:lnTo>
                  <a:pt x="2882" y="197"/>
                </a:lnTo>
                <a:lnTo>
                  <a:pt x="2930" y="183"/>
                </a:lnTo>
                <a:lnTo>
                  <a:pt x="2979" y="168"/>
                </a:lnTo>
                <a:lnTo>
                  <a:pt x="3026" y="150"/>
                </a:lnTo>
                <a:lnTo>
                  <a:pt x="3074" y="132"/>
                </a:lnTo>
                <a:lnTo>
                  <a:pt x="3121" y="111"/>
                </a:lnTo>
                <a:lnTo>
                  <a:pt x="3167" y="89"/>
                </a:lnTo>
                <a:lnTo>
                  <a:pt x="3212" y="64"/>
                </a:lnTo>
                <a:lnTo>
                  <a:pt x="3237" y="52"/>
                </a:lnTo>
                <a:lnTo>
                  <a:pt x="3225" y="82"/>
                </a:lnTo>
                <a:lnTo>
                  <a:pt x="3214" y="110"/>
                </a:lnTo>
                <a:lnTo>
                  <a:pt x="3202" y="137"/>
                </a:lnTo>
                <a:lnTo>
                  <a:pt x="3188" y="164"/>
                </a:lnTo>
                <a:lnTo>
                  <a:pt x="3174" y="189"/>
                </a:lnTo>
                <a:lnTo>
                  <a:pt x="3159" y="214"/>
                </a:lnTo>
                <a:lnTo>
                  <a:pt x="3142" y="239"/>
                </a:lnTo>
                <a:lnTo>
                  <a:pt x="3124" y="261"/>
                </a:lnTo>
                <a:lnTo>
                  <a:pt x="3106" y="284"/>
                </a:lnTo>
                <a:lnTo>
                  <a:pt x="3086" y="306"/>
                </a:lnTo>
                <a:lnTo>
                  <a:pt x="3067" y="327"/>
                </a:lnTo>
                <a:lnTo>
                  <a:pt x="3046" y="348"/>
                </a:lnTo>
                <a:lnTo>
                  <a:pt x="3024" y="367"/>
                </a:lnTo>
                <a:lnTo>
                  <a:pt x="3001" y="385"/>
                </a:lnTo>
                <a:lnTo>
                  <a:pt x="2978" y="405"/>
                </a:lnTo>
                <a:lnTo>
                  <a:pt x="2953" y="422"/>
                </a:lnTo>
                <a:lnTo>
                  <a:pt x="2978" y="420"/>
                </a:lnTo>
                <a:lnTo>
                  <a:pt x="3001" y="417"/>
                </a:lnTo>
                <a:lnTo>
                  <a:pt x="3049" y="410"/>
                </a:lnTo>
                <a:lnTo>
                  <a:pt x="3095" y="401"/>
                </a:lnTo>
                <a:lnTo>
                  <a:pt x="3141" y="388"/>
                </a:lnTo>
                <a:lnTo>
                  <a:pt x="3232" y="359"/>
                </a:lnTo>
                <a:lnTo>
                  <a:pt x="3278" y="344"/>
                </a:lnTo>
                <a:lnTo>
                  <a:pt x="3327" y="331"/>
                </a:lnTo>
                <a:lnTo>
                  <a:pt x="3294" y="373"/>
                </a:lnTo>
                <a:lnTo>
                  <a:pt x="3260" y="415"/>
                </a:lnTo>
                <a:lnTo>
                  <a:pt x="3225" y="456"/>
                </a:lnTo>
                <a:lnTo>
                  <a:pt x="3207" y="476"/>
                </a:lnTo>
                <a:lnTo>
                  <a:pt x="3189" y="495"/>
                </a:lnTo>
                <a:lnTo>
                  <a:pt x="3143" y="540"/>
                </a:lnTo>
                <a:lnTo>
                  <a:pt x="3096" y="582"/>
                </a:lnTo>
                <a:lnTo>
                  <a:pt x="3049" y="624"/>
                </a:lnTo>
                <a:lnTo>
                  <a:pt x="3001" y="665"/>
                </a:lnTo>
                <a:lnTo>
                  <a:pt x="2997" y="671"/>
                </a:lnTo>
                <a:lnTo>
                  <a:pt x="2993" y="678"/>
                </a:lnTo>
                <a:lnTo>
                  <a:pt x="2990" y="685"/>
                </a:lnTo>
                <a:lnTo>
                  <a:pt x="2989" y="693"/>
                </a:lnTo>
                <a:lnTo>
                  <a:pt x="2990" y="760"/>
                </a:lnTo>
                <a:lnTo>
                  <a:pt x="2989" y="827"/>
                </a:lnTo>
                <a:lnTo>
                  <a:pt x="2986" y="892"/>
                </a:lnTo>
                <a:lnTo>
                  <a:pt x="2980" y="959"/>
                </a:lnTo>
                <a:lnTo>
                  <a:pt x="2972" y="1023"/>
                </a:lnTo>
                <a:lnTo>
                  <a:pt x="2962" y="1089"/>
                </a:lnTo>
                <a:lnTo>
                  <a:pt x="2950" y="1153"/>
                </a:lnTo>
                <a:lnTo>
                  <a:pt x="2936" y="1217"/>
                </a:lnTo>
                <a:lnTo>
                  <a:pt x="2919" y="1280"/>
                </a:lnTo>
                <a:lnTo>
                  <a:pt x="2901" y="1342"/>
                </a:lnTo>
                <a:lnTo>
                  <a:pt x="2880" y="1404"/>
                </a:lnTo>
                <a:lnTo>
                  <a:pt x="2858" y="1466"/>
                </a:lnTo>
                <a:lnTo>
                  <a:pt x="2833" y="1526"/>
                </a:lnTo>
                <a:lnTo>
                  <a:pt x="2806" y="1587"/>
                </a:lnTo>
                <a:lnTo>
                  <a:pt x="2777" y="1647"/>
                </a:lnTo>
                <a:lnTo>
                  <a:pt x="2747" y="1706"/>
                </a:lnTo>
                <a:lnTo>
                  <a:pt x="2720" y="1753"/>
                </a:lnTo>
                <a:lnTo>
                  <a:pt x="2692" y="1799"/>
                </a:lnTo>
                <a:lnTo>
                  <a:pt x="2664" y="1844"/>
                </a:lnTo>
                <a:lnTo>
                  <a:pt x="2635" y="1888"/>
                </a:lnTo>
                <a:lnTo>
                  <a:pt x="2606" y="1930"/>
                </a:lnTo>
                <a:lnTo>
                  <a:pt x="2575" y="1972"/>
                </a:lnTo>
                <a:lnTo>
                  <a:pt x="2545" y="2014"/>
                </a:lnTo>
                <a:lnTo>
                  <a:pt x="2513" y="2053"/>
                </a:lnTo>
                <a:lnTo>
                  <a:pt x="2479" y="2092"/>
                </a:lnTo>
                <a:lnTo>
                  <a:pt x="2446" y="2129"/>
                </a:lnTo>
                <a:lnTo>
                  <a:pt x="2411" y="2165"/>
                </a:lnTo>
                <a:lnTo>
                  <a:pt x="2375" y="2200"/>
                </a:lnTo>
                <a:lnTo>
                  <a:pt x="2339" y="2235"/>
                </a:lnTo>
                <a:lnTo>
                  <a:pt x="2301" y="2267"/>
                </a:lnTo>
                <a:lnTo>
                  <a:pt x="2264" y="2299"/>
                </a:lnTo>
                <a:lnTo>
                  <a:pt x="2225" y="2331"/>
                </a:lnTo>
                <a:lnTo>
                  <a:pt x="2186" y="2360"/>
                </a:lnTo>
                <a:lnTo>
                  <a:pt x="2145" y="2390"/>
                </a:lnTo>
                <a:lnTo>
                  <a:pt x="2103" y="2416"/>
                </a:lnTo>
                <a:lnTo>
                  <a:pt x="2060" y="2443"/>
                </a:lnTo>
                <a:lnTo>
                  <a:pt x="2017" y="2468"/>
                </a:lnTo>
                <a:lnTo>
                  <a:pt x="1974" y="2493"/>
                </a:lnTo>
                <a:lnTo>
                  <a:pt x="1929" y="2515"/>
                </a:lnTo>
                <a:lnTo>
                  <a:pt x="1883" y="2537"/>
                </a:lnTo>
                <a:lnTo>
                  <a:pt x="1836" y="2558"/>
                </a:lnTo>
                <a:lnTo>
                  <a:pt x="1789" y="2578"/>
                </a:lnTo>
                <a:lnTo>
                  <a:pt x="1740" y="2596"/>
                </a:lnTo>
                <a:lnTo>
                  <a:pt x="1691" y="2613"/>
                </a:lnTo>
                <a:lnTo>
                  <a:pt x="1641" y="2628"/>
                </a:lnTo>
                <a:lnTo>
                  <a:pt x="1590" y="2643"/>
                </a:lnTo>
                <a:lnTo>
                  <a:pt x="1538" y="2657"/>
                </a:lnTo>
                <a:lnTo>
                  <a:pt x="1485" y="2670"/>
                </a:lnTo>
                <a:lnTo>
                  <a:pt x="1444" y="2678"/>
                </a:lnTo>
                <a:lnTo>
                  <a:pt x="1400" y="2686"/>
                </a:lnTo>
                <a:lnTo>
                  <a:pt x="1359" y="2693"/>
                </a:lnTo>
                <a:lnTo>
                  <a:pt x="1317" y="2699"/>
                </a:lnTo>
                <a:lnTo>
                  <a:pt x="1275" y="2704"/>
                </a:lnTo>
                <a:lnTo>
                  <a:pt x="1232" y="2710"/>
                </a:lnTo>
                <a:lnTo>
                  <a:pt x="1190" y="2713"/>
                </a:lnTo>
                <a:lnTo>
                  <a:pt x="1148" y="2716"/>
                </a:lnTo>
                <a:lnTo>
                  <a:pt x="1107" y="2718"/>
                </a:lnTo>
                <a:lnTo>
                  <a:pt x="1065" y="2718"/>
                </a:lnTo>
                <a:lnTo>
                  <a:pt x="1023" y="2718"/>
                </a:lnTo>
                <a:lnTo>
                  <a:pt x="983" y="2718"/>
                </a:lnTo>
                <a:lnTo>
                  <a:pt x="941" y="2717"/>
                </a:lnTo>
                <a:lnTo>
                  <a:pt x="899" y="2714"/>
                </a:lnTo>
                <a:lnTo>
                  <a:pt x="859" y="2710"/>
                </a:lnTo>
                <a:lnTo>
                  <a:pt x="817" y="2706"/>
                </a:lnTo>
                <a:lnTo>
                  <a:pt x="777" y="2700"/>
                </a:lnTo>
                <a:lnTo>
                  <a:pt x="735" y="2695"/>
                </a:lnTo>
                <a:lnTo>
                  <a:pt x="695" y="2688"/>
                </a:lnTo>
                <a:lnTo>
                  <a:pt x="654" y="2679"/>
                </a:lnTo>
                <a:lnTo>
                  <a:pt x="614" y="2671"/>
                </a:lnTo>
                <a:lnTo>
                  <a:pt x="574" y="2661"/>
                </a:lnTo>
                <a:lnTo>
                  <a:pt x="533" y="2650"/>
                </a:lnTo>
                <a:lnTo>
                  <a:pt x="493" y="2639"/>
                </a:lnTo>
                <a:lnTo>
                  <a:pt x="452" y="2626"/>
                </a:lnTo>
                <a:lnTo>
                  <a:pt x="412" y="2613"/>
                </a:lnTo>
                <a:lnTo>
                  <a:pt x="373" y="2599"/>
                </a:lnTo>
                <a:lnTo>
                  <a:pt x="333" y="2583"/>
                </a:lnTo>
                <a:lnTo>
                  <a:pt x="294" y="2568"/>
                </a:lnTo>
                <a:lnTo>
                  <a:pt x="253" y="2550"/>
                </a:lnTo>
                <a:lnTo>
                  <a:pt x="214" y="2532"/>
                </a:lnTo>
                <a:lnTo>
                  <a:pt x="175" y="2514"/>
                </a:lnTo>
                <a:lnTo>
                  <a:pt x="131" y="2491"/>
                </a:lnTo>
                <a:lnTo>
                  <a:pt x="88" y="2466"/>
                </a:lnTo>
                <a:lnTo>
                  <a:pt x="0" y="2418"/>
                </a:lnTo>
                <a:lnTo>
                  <a:pt x="3" y="2411"/>
                </a:lnTo>
                <a:close/>
              </a:path>
            </a:pathLst>
          </a:custGeom>
          <a:solidFill>
            <a:srgbClr val="DA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87388" y="6519863"/>
            <a:ext cx="201612" cy="319087"/>
          </a:xfrm>
          <a:custGeom>
            <a:avLst/>
            <a:gdLst>
              <a:gd name="T0" fmla="*/ 2147483646 w 366"/>
              <a:gd name="T1" fmla="*/ 2147483646 h 774"/>
              <a:gd name="T2" fmla="*/ 2147483646 w 366"/>
              <a:gd name="T3" fmla="*/ 2147483646 h 774"/>
              <a:gd name="T4" fmla="*/ 2147483646 w 366"/>
              <a:gd name="T5" fmla="*/ 2147483646 h 774"/>
              <a:gd name="T6" fmla="*/ 2147483646 w 366"/>
              <a:gd name="T7" fmla="*/ 2147483646 h 774"/>
              <a:gd name="T8" fmla="*/ 2147483646 w 366"/>
              <a:gd name="T9" fmla="*/ 2147483646 h 774"/>
              <a:gd name="T10" fmla="*/ 2147483646 w 366"/>
              <a:gd name="T11" fmla="*/ 2147483646 h 774"/>
              <a:gd name="T12" fmla="*/ 2147483646 w 366"/>
              <a:gd name="T13" fmla="*/ 2147483646 h 774"/>
              <a:gd name="T14" fmla="*/ 2147483646 w 366"/>
              <a:gd name="T15" fmla="*/ 2147483646 h 774"/>
              <a:gd name="T16" fmla="*/ 2147483646 w 366"/>
              <a:gd name="T17" fmla="*/ 2147483646 h 774"/>
              <a:gd name="T18" fmla="*/ 2147483646 w 366"/>
              <a:gd name="T19" fmla="*/ 2147483646 h 774"/>
              <a:gd name="T20" fmla="*/ 2147483646 w 366"/>
              <a:gd name="T21" fmla="*/ 2147483646 h 774"/>
              <a:gd name="T22" fmla="*/ 2147483646 w 366"/>
              <a:gd name="T23" fmla="*/ 2147483646 h 774"/>
              <a:gd name="T24" fmla="*/ 2147483646 w 366"/>
              <a:gd name="T25" fmla="*/ 2147483646 h 774"/>
              <a:gd name="T26" fmla="*/ 2147483646 w 366"/>
              <a:gd name="T27" fmla="*/ 2147483646 h 774"/>
              <a:gd name="T28" fmla="*/ 2147483646 w 366"/>
              <a:gd name="T29" fmla="*/ 2147483646 h 774"/>
              <a:gd name="T30" fmla="*/ 2147483646 w 366"/>
              <a:gd name="T31" fmla="*/ 2147483646 h 774"/>
              <a:gd name="T32" fmla="*/ 2147483646 w 366"/>
              <a:gd name="T33" fmla="*/ 2147483646 h 774"/>
              <a:gd name="T34" fmla="*/ 0 w 366"/>
              <a:gd name="T35" fmla="*/ 2147483646 h 774"/>
              <a:gd name="T36" fmla="*/ 0 w 366"/>
              <a:gd name="T37" fmla="*/ 2147483646 h 774"/>
              <a:gd name="T38" fmla="*/ 2147483646 w 366"/>
              <a:gd name="T39" fmla="*/ 2147483646 h 774"/>
              <a:gd name="T40" fmla="*/ 2147483646 w 366"/>
              <a:gd name="T41" fmla="*/ 2147483646 h 774"/>
              <a:gd name="T42" fmla="*/ 2147483646 w 366"/>
              <a:gd name="T43" fmla="*/ 2147483646 h 774"/>
              <a:gd name="T44" fmla="*/ 2147483646 w 366"/>
              <a:gd name="T45" fmla="*/ 2147483646 h 774"/>
              <a:gd name="T46" fmla="*/ 2147483646 w 366"/>
              <a:gd name="T47" fmla="*/ 2147483646 h 774"/>
              <a:gd name="T48" fmla="*/ 2147483646 w 366"/>
              <a:gd name="T49" fmla="*/ 2147483646 h 774"/>
              <a:gd name="T50" fmla="*/ 2147483646 w 366"/>
              <a:gd name="T51" fmla="*/ 2147483646 h 774"/>
              <a:gd name="T52" fmla="*/ 2147483646 w 366"/>
              <a:gd name="T53" fmla="*/ 2147483646 h 774"/>
              <a:gd name="T54" fmla="*/ 2147483646 w 366"/>
              <a:gd name="T55" fmla="*/ 2147483646 h 774"/>
              <a:gd name="T56" fmla="*/ 2147483646 w 366"/>
              <a:gd name="T57" fmla="*/ 2147483646 h 774"/>
              <a:gd name="T58" fmla="*/ 2147483646 w 366"/>
              <a:gd name="T59" fmla="*/ 2147483646 h 774"/>
              <a:gd name="T60" fmla="*/ 2147483646 w 366"/>
              <a:gd name="T61" fmla="*/ 2147483646 h 774"/>
              <a:gd name="T62" fmla="*/ 2147483646 w 366"/>
              <a:gd name="T63" fmla="*/ 2147483646 h 774"/>
              <a:gd name="T64" fmla="*/ 2147483646 w 366"/>
              <a:gd name="T65" fmla="*/ 2147483646 h 774"/>
              <a:gd name="T66" fmla="*/ 2147483646 w 366"/>
              <a:gd name="T67" fmla="*/ 2147483646 h 774"/>
              <a:gd name="T68" fmla="*/ 2147483646 w 366"/>
              <a:gd name="T69" fmla="*/ 2147483646 h 774"/>
              <a:gd name="T70" fmla="*/ 2147483646 w 366"/>
              <a:gd name="T71" fmla="*/ 0 h 774"/>
              <a:gd name="T72" fmla="*/ 2147483646 w 366"/>
              <a:gd name="T73" fmla="*/ 0 h 774"/>
              <a:gd name="T74" fmla="*/ 2147483646 w 366"/>
              <a:gd name="T75" fmla="*/ 2147483646 h 77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66" h="774">
                <a:moveTo>
                  <a:pt x="366" y="132"/>
                </a:moveTo>
                <a:lnTo>
                  <a:pt x="284" y="132"/>
                </a:lnTo>
                <a:lnTo>
                  <a:pt x="274" y="132"/>
                </a:lnTo>
                <a:lnTo>
                  <a:pt x="266" y="134"/>
                </a:lnTo>
                <a:lnTo>
                  <a:pt x="258" y="138"/>
                </a:lnTo>
                <a:lnTo>
                  <a:pt x="254" y="144"/>
                </a:lnTo>
                <a:lnTo>
                  <a:pt x="250" y="148"/>
                </a:lnTo>
                <a:lnTo>
                  <a:pt x="246" y="156"/>
                </a:lnTo>
                <a:lnTo>
                  <a:pt x="244" y="172"/>
                </a:lnTo>
                <a:lnTo>
                  <a:pt x="244" y="250"/>
                </a:lnTo>
                <a:lnTo>
                  <a:pt x="366" y="250"/>
                </a:lnTo>
                <a:lnTo>
                  <a:pt x="352" y="388"/>
                </a:lnTo>
                <a:lnTo>
                  <a:pt x="244" y="388"/>
                </a:lnTo>
                <a:lnTo>
                  <a:pt x="244" y="774"/>
                </a:lnTo>
                <a:lnTo>
                  <a:pt x="82" y="774"/>
                </a:lnTo>
                <a:lnTo>
                  <a:pt x="82" y="388"/>
                </a:lnTo>
                <a:lnTo>
                  <a:pt x="0" y="388"/>
                </a:lnTo>
                <a:lnTo>
                  <a:pt x="0" y="250"/>
                </a:lnTo>
                <a:lnTo>
                  <a:pt x="82" y="250"/>
                </a:lnTo>
                <a:lnTo>
                  <a:pt x="82" y="172"/>
                </a:lnTo>
                <a:lnTo>
                  <a:pt x="84" y="138"/>
                </a:lnTo>
                <a:lnTo>
                  <a:pt x="88" y="106"/>
                </a:lnTo>
                <a:lnTo>
                  <a:pt x="94" y="92"/>
                </a:lnTo>
                <a:lnTo>
                  <a:pt x="98" y="78"/>
                </a:lnTo>
                <a:lnTo>
                  <a:pt x="106" y="64"/>
                </a:lnTo>
                <a:lnTo>
                  <a:pt x="114" y="52"/>
                </a:lnTo>
                <a:lnTo>
                  <a:pt x="124" y="42"/>
                </a:lnTo>
                <a:lnTo>
                  <a:pt x="136" y="32"/>
                </a:lnTo>
                <a:lnTo>
                  <a:pt x="148" y="22"/>
                </a:lnTo>
                <a:lnTo>
                  <a:pt x="164" y="16"/>
                </a:lnTo>
                <a:lnTo>
                  <a:pt x="180" y="10"/>
                </a:lnTo>
                <a:lnTo>
                  <a:pt x="200" y="4"/>
                </a:lnTo>
                <a:lnTo>
                  <a:pt x="222" y="2"/>
                </a:lnTo>
                <a:lnTo>
                  <a:pt x="244" y="0"/>
                </a:lnTo>
                <a:lnTo>
                  <a:pt x="366" y="0"/>
                </a:lnTo>
                <a:lnTo>
                  <a:pt x="366" y="132"/>
                </a:lnTo>
                <a:close/>
              </a:path>
            </a:pathLst>
          </a:custGeom>
          <a:solidFill>
            <a:srgbClr val="DA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476355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106488" y="715963"/>
            <a:ext cx="749300" cy="46037"/>
          </a:xfrm>
          <a:prstGeom prst="rect">
            <a:avLst/>
          </a:prstGeom>
          <a:solidFill>
            <a:srgbClr val="F20000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82" tIns="51942" rIns="103882" bIns="51942" anchor="ctr"/>
          <a:lstStyle/>
          <a:p>
            <a:pPr algn="ctr"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93888" y="715963"/>
            <a:ext cx="94345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82" tIns="51942" rIns="103882" bIns="51942" anchor="ctr"/>
          <a:lstStyle/>
          <a:p>
            <a:pPr algn="ctr"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8" name="TextBox 10"/>
          <p:cNvSpPr txBox="1">
            <a:spLocks noChangeArrowheads="1"/>
          </p:cNvSpPr>
          <p:nvPr userDrawn="1"/>
        </p:nvSpPr>
        <p:spPr bwMode="auto">
          <a:xfrm>
            <a:off x="11791950" y="6618288"/>
            <a:ext cx="401638" cy="2889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03882" tIns="51942" rIns="103882" bIns="51942">
            <a:spAutoFit/>
          </a:bodyPr>
          <a:lstStyle>
            <a:lvl1pPr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defTabSz="1038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defTabSz="1038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defTabSz="1038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defTabSz="1038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fld id="{9215C48C-0D6D-40A7-95BF-49AC4E717C41}" type="slidenum">
              <a:rPr lang="en-US" altLang="en-US" sz="1200" smtClean="0">
                <a:solidFill>
                  <a:srgbClr val="000000"/>
                </a:solidFill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en-US" sz="12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1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4650" y="33338"/>
            <a:ext cx="1633538" cy="84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00" y="0"/>
            <a:ext cx="822325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Placeholder 21"/>
          <p:cNvSpPr>
            <a:spLocks noGrp="1"/>
          </p:cNvSpPr>
          <p:nvPr>
            <p:ph type="title"/>
          </p:nvPr>
        </p:nvSpPr>
        <p:spPr bwMode="auto">
          <a:xfrm>
            <a:off x="1091040" y="154959"/>
            <a:ext cx="10087219" cy="5319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vert="horz" wrap="square" lIns="103882" tIns="51942" rIns="103882" bIns="51942" numCol="1" anchor="ctr" anchorCtr="0" compatLnSpc="1">
            <a:prstTxWarp prst="textNoShape">
              <a:avLst/>
            </a:prstTxWarp>
          </a:bodyPr>
          <a:lstStyle>
            <a:lvl1pPr algn="l">
              <a:defRPr sz="2700" b="1" i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69371" y="838200"/>
            <a:ext cx="11584047" cy="457200"/>
          </a:xfrm>
          <a:prstGeom prst="rect">
            <a:avLst/>
          </a:prstGeom>
        </p:spPr>
        <p:txBody>
          <a:bodyPr lIns="103882" tIns="51942" rIns="103882" bIns="51942"/>
          <a:lstStyle>
            <a:lvl1pPr marL="0" indent="0">
              <a:buFont typeface="Arial" pitchFamily="34" charset="0"/>
              <a:buNone/>
              <a:defRPr sz="200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519410" indent="0">
              <a:buFont typeface="Arial" pitchFamily="34" charset="0"/>
              <a:buNone/>
              <a:defRPr sz="1900"/>
            </a:lvl2pPr>
            <a:lvl3pPr marL="1038821" indent="0">
              <a:buFont typeface="Arial" pitchFamily="34" charset="0"/>
              <a:buNone/>
              <a:defRPr sz="1600"/>
            </a:lvl3pPr>
            <a:lvl4pPr marL="1558231" indent="0">
              <a:buFont typeface="Arial" pitchFamily="34" charset="0"/>
              <a:buNone/>
              <a:defRPr sz="1300"/>
            </a:lvl4pPr>
            <a:lvl5pPr marL="2077640" indent="0">
              <a:buFont typeface="Arial" pitchFamily="34" charset="0"/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750281" y="6584776"/>
            <a:ext cx="10972801" cy="228600"/>
          </a:xfrm>
          <a:prstGeom prst="rect">
            <a:avLst/>
          </a:prstGeom>
        </p:spPr>
        <p:txBody>
          <a:bodyPr lIns="103882" tIns="51942" rIns="103882" bIns="51942" anchor="ctr"/>
          <a:lstStyle>
            <a:lvl1pPr marL="0" indent="0">
              <a:buFont typeface="Arial" pitchFamily="34" charset="0"/>
              <a:buNone/>
              <a:defRPr sz="1200" b="0" baseline="0">
                <a:latin typeface="+mj-lt"/>
                <a:cs typeface="Arial" pitchFamily="34" charset="0"/>
              </a:defRPr>
            </a:lvl1pPr>
            <a:lvl2pPr marL="519410" indent="0">
              <a:buFont typeface="Arial" pitchFamily="34" charset="0"/>
              <a:buNone/>
              <a:defRPr sz="1900"/>
            </a:lvl2pPr>
            <a:lvl3pPr marL="1038821" indent="0">
              <a:buFont typeface="Arial" pitchFamily="34" charset="0"/>
              <a:buNone/>
              <a:defRPr sz="1600"/>
            </a:lvl3pPr>
            <a:lvl4pPr marL="1558231" indent="0">
              <a:buFont typeface="Arial" pitchFamily="34" charset="0"/>
              <a:buNone/>
              <a:defRPr sz="1300"/>
            </a:lvl4pPr>
            <a:lvl5pPr marL="2077640" indent="0">
              <a:buFont typeface="Arial" pitchFamily="34" charset="0"/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541386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0" y="1500288"/>
            <a:ext cx="5830818" cy="52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User\Pictures\kawung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-31750"/>
            <a:ext cx="3028951" cy="688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1625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/>
          <p:cNvCxnSpPr/>
          <p:nvPr userDrawn="1"/>
        </p:nvCxnSpPr>
        <p:spPr>
          <a:xfrm>
            <a:off x="5064125" y="4267200"/>
            <a:ext cx="6896100" cy="476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438" y="142875"/>
            <a:ext cx="873125" cy="87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720863" y="2663833"/>
            <a:ext cx="5556739" cy="1470025"/>
          </a:xfrm>
          <a:prstGeom prst="rect">
            <a:avLst/>
          </a:prstGeom>
        </p:spPr>
        <p:txBody>
          <a:bodyPr lIns="103882" tIns="51942" rIns="103882" bIns="51942">
            <a:normAutofit/>
          </a:bodyPr>
          <a:lstStyle>
            <a:lvl1pPr algn="l">
              <a:defRPr sz="41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720862" y="4419600"/>
            <a:ext cx="5627077" cy="1752600"/>
          </a:xfrm>
          <a:prstGeom prst="rect">
            <a:avLst/>
          </a:prstGeom>
        </p:spPr>
        <p:txBody>
          <a:bodyPr lIns="103882" tIns="51942" rIns="103882" bIns="51942">
            <a:normAutofit/>
          </a:bodyPr>
          <a:lstStyle>
            <a:lvl1pPr marL="0" indent="0" algn="l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19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8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6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5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3957346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3050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1625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00" y="0"/>
            <a:ext cx="822325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720863" y="2663833"/>
            <a:ext cx="5556739" cy="1470025"/>
          </a:xfrm>
          <a:prstGeom prst="rect">
            <a:avLst/>
          </a:prstGeom>
        </p:spPr>
        <p:txBody>
          <a:bodyPr lIns="103882" tIns="51942" rIns="103882" bIns="51942">
            <a:normAutofit/>
          </a:bodyPr>
          <a:lstStyle>
            <a:lvl1pPr algn="l">
              <a:defRPr sz="41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720862" y="4419600"/>
            <a:ext cx="5627077" cy="1752600"/>
          </a:xfrm>
          <a:prstGeom prst="rect">
            <a:avLst/>
          </a:prstGeom>
        </p:spPr>
        <p:txBody>
          <a:bodyPr lIns="103882" tIns="51942" rIns="103882" bIns="51942">
            <a:normAutofit/>
          </a:bodyPr>
          <a:lstStyle>
            <a:lvl1pPr marL="0" indent="0" algn="l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19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8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6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5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4215015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4864100"/>
            <a:ext cx="12192000" cy="1993900"/>
          </a:xfrm>
          <a:prstGeom prst="rect">
            <a:avLst/>
          </a:prstGeom>
          <a:solidFill>
            <a:srgbClr val="49A3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3703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52488" y="715963"/>
            <a:ext cx="91043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62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8400" y="73025"/>
            <a:ext cx="2032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852488" y="715963"/>
            <a:ext cx="91043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10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8400" y="73025"/>
            <a:ext cx="2032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63" y="133350"/>
            <a:ext cx="1020762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6526213"/>
            <a:ext cx="3397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>
            <a:spLocks noChangeArrowheads="1"/>
          </p:cNvSpPr>
          <p:nvPr userDrawn="1"/>
        </p:nvSpPr>
        <p:spPr bwMode="auto">
          <a:xfrm>
            <a:off x="930275" y="6526213"/>
            <a:ext cx="17653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 sz="2000">
                <a:solidFill>
                  <a:srgbClr val="FFFFFF"/>
                </a:solidFill>
                <a:latin typeface="Calibri" panose="020F0502020204030204" pitchFamily="34" charset="0"/>
              </a:rPr>
              <a:t>ddbaccelerator</a:t>
            </a:r>
          </a:p>
        </p:txBody>
      </p:sp>
      <p:pic>
        <p:nvPicPr>
          <p:cNvPr id="16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8588" y="6538913"/>
            <a:ext cx="338137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3097213" y="6538913"/>
            <a:ext cx="18780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 sz="2000">
                <a:solidFill>
                  <a:srgbClr val="FFFFFF"/>
                </a:solidFill>
                <a:latin typeface="Calibri" panose="020F0502020204030204" pitchFamily="34" charset="0"/>
              </a:rPr>
              <a:t>@ddbccelerator</a:t>
            </a: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4833938" y="6521450"/>
            <a:ext cx="383063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 sz="2000">
                <a:solidFill>
                  <a:srgbClr val="FFFFFF"/>
                </a:solidFill>
                <a:latin typeface="Calibri" panose="020F0502020204030204" pitchFamily="34" charset="0"/>
              </a:rPr>
              <a:t>Email : ddbaccelerator@gmail.com</a:t>
            </a: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0875" y="6503988"/>
            <a:ext cx="28940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 sz="2000">
                <a:solidFill>
                  <a:srgbClr val="FFFFFF"/>
                </a:solidFill>
                <a:latin typeface="Calibri" panose="020F0502020204030204" pitchFamily="34" charset="0"/>
              </a:rPr>
              <a:t>www.ddbaccelerator.com</a:t>
            </a:r>
          </a:p>
        </p:txBody>
      </p:sp>
      <p:sp>
        <p:nvSpPr>
          <p:cNvPr id="9" name="Title Placeholder 21"/>
          <p:cNvSpPr>
            <a:spLocks noGrp="1"/>
          </p:cNvSpPr>
          <p:nvPr>
            <p:ph type="title"/>
          </p:nvPr>
        </p:nvSpPr>
        <p:spPr bwMode="auto">
          <a:xfrm>
            <a:off x="1432562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l">
              <a:defRPr sz="24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812801" y="6584776"/>
            <a:ext cx="10566400" cy="273224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itchFamily="34" charset="0"/>
              <a:buNone/>
              <a:defRPr sz="969" b="0" baseline="0">
                <a:latin typeface="+mj-lt"/>
                <a:cs typeface="Arial" pitchFamily="34" charset="0"/>
              </a:defRPr>
            </a:lvl1pPr>
            <a:lvl2pPr marL="422041" indent="0">
              <a:buFont typeface="Arial" pitchFamily="34" charset="0"/>
              <a:buNone/>
              <a:defRPr sz="1477"/>
            </a:lvl2pPr>
            <a:lvl3pPr marL="844083" indent="0">
              <a:buFont typeface="Arial" pitchFamily="34" charset="0"/>
              <a:buNone/>
              <a:defRPr sz="1292"/>
            </a:lvl3pPr>
            <a:lvl4pPr marL="1266124" indent="0">
              <a:buFont typeface="Arial" pitchFamily="34" charset="0"/>
              <a:buNone/>
              <a:defRPr sz="1108"/>
            </a:lvl4pPr>
            <a:lvl5pPr marL="1688165" indent="0">
              <a:buFont typeface="Arial" pitchFamily="34" charset="0"/>
              <a:buNone/>
              <a:defRPr sz="110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279525" y="1450595"/>
            <a:ext cx="9794875" cy="4297362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Trebuchet MS" panose="020B0603020202020204" pitchFamily="34" charset="0"/>
              </a:defRPr>
            </a:lvl1pPr>
            <a:lvl2pPr>
              <a:defRPr sz="2400">
                <a:latin typeface="Trebuchet MS" panose="020B0603020202020204" pitchFamily="34" charset="0"/>
              </a:defRPr>
            </a:lvl2pPr>
            <a:lvl3pPr>
              <a:defRPr sz="1800">
                <a:latin typeface="Trebuchet MS" panose="020B0603020202020204" pitchFamily="34" charset="0"/>
              </a:defRPr>
            </a:lvl3pPr>
            <a:lvl4pPr>
              <a:defRPr sz="1600">
                <a:latin typeface="Trebuchet MS" panose="020B0603020202020204" pitchFamily="34" charset="0"/>
              </a:defRPr>
            </a:lvl4pPr>
            <a:lvl5pPr>
              <a:defRPr sz="160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24390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3288" y="0"/>
            <a:ext cx="1128712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entagon 3"/>
          <p:cNvSpPr/>
          <p:nvPr userDrawn="1"/>
        </p:nvSpPr>
        <p:spPr>
          <a:xfrm>
            <a:off x="0" y="134938"/>
            <a:ext cx="10077450" cy="469900"/>
          </a:xfrm>
          <a:prstGeom prst="homePlate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100000">
                <a:srgbClr val="FF0000"/>
              </a:gs>
              <a:gs pos="65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5" name="Chevron 4"/>
          <p:cNvSpPr/>
          <p:nvPr userDrawn="1"/>
        </p:nvSpPr>
        <p:spPr>
          <a:xfrm>
            <a:off x="9831388" y="134938"/>
            <a:ext cx="541337" cy="469900"/>
          </a:xfrm>
          <a:prstGeom prst="chevron">
            <a:avLst>
              <a:gd name="adj" fmla="val 56060"/>
            </a:avLst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>
              <a:solidFill>
                <a:prstClr val="black"/>
              </a:solidFill>
            </a:endParaRP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11525250" y="6489700"/>
            <a:ext cx="6429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000">
                <a:solidFill>
                  <a:srgbClr val="000000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2911C8FF-FB88-4764-B171-0325AF10F4E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450505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"/>
          <p:cNvGrpSpPr>
            <a:grpSpLocks/>
          </p:cNvGrpSpPr>
          <p:nvPr userDrawn="1"/>
        </p:nvGrpSpPr>
        <p:grpSpPr bwMode="auto">
          <a:xfrm>
            <a:off x="0" y="6732588"/>
            <a:ext cx="12192000" cy="125412"/>
            <a:chOff x="0" y="2573904"/>
            <a:chExt cx="8767278" cy="44695"/>
          </a:xfrm>
        </p:grpSpPr>
        <p:grpSp>
          <p:nvGrpSpPr>
            <p:cNvPr id="5" name="Group 43"/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579" y="2573904"/>
                <a:ext cx="1262579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70" y="2573904"/>
                <a:ext cx="1262579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6" name="Group 44"/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14" y="2573904"/>
                <a:ext cx="1262579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1262594" y="2573904"/>
                <a:ext cx="1262579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2489784" y="2573904"/>
                <a:ext cx="1262579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3752364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68806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 Text 1 Column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3355975" y="6070600"/>
            <a:ext cx="54800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99" tIns="60949" rIns="121899" bIns="60949">
            <a:spAutoFit/>
          </a:bodyPr>
          <a:lstStyle>
            <a:lvl1pPr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defTabSz="1038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 eaLnBrk="1" hangingPunct="1">
              <a:defRPr/>
            </a:pPr>
            <a:r>
              <a:rPr lang="id-ID" altLang="en-US" sz="1400">
                <a:solidFill>
                  <a:srgbClr val="000000"/>
                </a:solidFill>
                <a:latin typeface="Candara" panose="020E0502030303020204" pitchFamily="34" charset="0"/>
              </a:rPr>
              <a:t>DIVISI DIGITAL BUSINESS</a:t>
            </a:r>
            <a:endParaRPr lang="en-US" altLang="en-US" sz="1400">
              <a:solidFill>
                <a:srgbClr val="000000"/>
              </a:solidFill>
              <a:latin typeface="Candara" panose="020E0502030303020204" pitchFamily="34" charset="0"/>
            </a:endParaRPr>
          </a:p>
          <a:p>
            <a:pPr algn="ctr" eaLnBrk="1" hangingPunct="1">
              <a:defRPr/>
            </a:pPr>
            <a:r>
              <a:rPr lang="id-ID" altLang="en-US" sz="1200">
                <a:solidFill>
                  <a:srgbClr val="000000"/>
                </a:solidFill>
                <a:latin typeface="Calibri Light" panose="020F0302020204030204" pitchFamily="34" charset="0"/>
              </a:rPr>
              <a:t>ddbaccelerator.com</a:t>
            </a:r>
            <a:r>
              <a:rPr lang="en-US" altLang="en-US" sz="1200">
                <a:solidFill>
                  <a:srgbClr val="000000"/>
                </a:solidFill>
                <a:latin typeface="Calibri Light" panose="020F0302020204030204" pitchFamily="34" charset="0"/>
              </a:rPr>
              <a:t> | e</a:t>
            </a:r>
            <a:r>
              <a:rPr lang="ru-RU" altLang="en-US" sz="1200">
                <a:solidFill>
                  <a:srgbClr val="000000"/>
                </a:solidFill>
                <a:latin typeface="Calibri Light" panose="020F0302020204030204" pitchFamily="34" charset="0"/>
              </a:rPr>
              <a:t>:</a:t>
            </a:r>
            <a:r>
              <a:rPr lang="en-US" altLang="en-US" sz="1200">
                <a:solidFill>
                  <a:srgbClr val="000000"/>
                </a:solidFill>
                <a:latin typeface="Calibri Light" panose="020F0302020204030204" pitchFamily="34" charset="0"/>
              </a:rPr>
              <a:t> </a:t>
            </a:r>
            <a:r>
              <a:rPr lang="id-ID" altLang="en-US" sz="1200">
                <a:solidFill>
                  <a:srgbClr val="000000"/>
                </a:solidFill>
                <a:latin typeface="Calibri Light" panose="020F0302020204030204" pitchFamily="34" charset="0"/>
              </a:rPr>
              <a:t>ddb@telkom.co.id | t: @ddbaccelerator | f: ddbaccelerator</a:t>
            </a:r>
            <a:endParaRPr lang="en-US" altLang="en-US" sz="1200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6" name="Group 20"/>
          <p:cNvGrpSpPr>
            <a:grpSpLocks/>
          </p:cNvGrpSpPr>
          <p:nvPr userDrawn="1"/>
        </p:nvGrpSpPr>
        <p:grpSpPr bwMode="auto">
          <a:xfrm>
            <a:off x="11210925" y="6130925"/>
            <a:ext cx="427038" cy="425450"/>
            <a:chOff x="8434574" y="6185274"/>
            <a:chExt cx="396000" cy="396000"/>
          </a:xfrm>
        </p:grpSpPr>
        <p:sp>
          <p:nvSpPr>
            <p:cNvPr id="7" name="Oval 6">
              <a:hlinkClick r:id="" action="ppaction://hlinkshowjump?jump=nextslide"/>
            </p:cNvPr>
            <p:cNvSpPr/>
            <p:nvPr userDrawn="1"/>
          </p:nvSpPr>
          <p:spPr>
            <a:xfrm>
              <a:off x="8434574" y="6185274"/>
              <a:ext cx="396000" cy="39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388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>
                <a:solidFill>
                  <a:prstClr val="white"/>
                </a:solidFill>
              </a:endParaRPr>
            </a:p>
          </p:txBody>
        </p:sp>
        <p:sp>
          <p:nvSpPr>
            <p:cNvPr id="8" name="L-Shape 7">
              <a:hlinkClick r:id="" action="ppaction://hlinkshowjump?jump=nextslide"/>
            </p:cNvPr>
            <p:cNvSpPr/>
            <p:nvPr userDrawn="1"/>
          </p:nvSpPr>
          <p:spPr>
            <a:xfrm rot="13500000">
              <a:off x="8546186" y="6311141"/>
              <a:ext cx="144806" cy="144267"/>
            </a:xfrm>
            <a:prstGeom prst="corner">
              <a:avLst>
                <a:gd name="adj1" fmla="val 26188"/>
                <a:gd name="adj2" fmla="val 2883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388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>
                <a:solidFill>
                  <a:prstClr val="black"/>
                </a:solidFill>
              </a:endParaRPr>
            </a:p>
          </p:txBody>
        </p:sp>
      </p:grpSp>
      <p:grpSp>
        <p:nvGrpSpPr>
          <p:cNvPr id="9" name="Group 23"/>
          <p:cNvGrpSpPr>
            <a:grpSpLocks/>
          </p:cNvGrpSpPr>
          <p:nvPr userDrawn="1"/>
        </p:nvGrpSpPr>
        <p:grpSpPr bwMode="auto">
          <a:xfrm>
            <a:off x="10668000" y="6130925"/>
            <a:ext cx="425450" cy="425450"/>
            <a:chOff x="7909800" y="6172200"/>
            <a:chExt cx="396000" cy="396000"/>
          </a:xfrm>
        </p:grpSpPr>
        <p:sp>
          <p:nvSpPr>
            <p:cNvPr id="11" name="Oval 10">
              <a:hlinkClick r:id="" action="ppaction://hlinkshowjump?jump=previousslide"/>
            </p:cNvPr>
            <p:cNvSpPr/>
            <p:nvPr userDrawn="1"/>
          </p:nvSpPr>
          <p:spPr>
            <a:xfrm>
              <a:off x="7909800" y="6172200"/>
              <a:ext cx="396000" cy="39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388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>
                <a:solidFill>
                  <a:prstClr val="white"/>
                </a:solidFill>
              </a:endParaRPr>
            </a:p>
          </p:txBody>
        </p:sp>
        <p:sp>
          <p:nvSpPr>
            <p:cNvPr id="12" name="L-Shape 11">
              <a:hlinkClick r:id="" action="ppaction://hlinkshowjump?jump=previousslide"/>
            </p:cNvPr>
            <p:cNvSpPr/>
            <p:nvPr userDrawn="1"/>
          </p:nvSpPr>
          <p:spPr>
            <a:xfrm rot="2700000">
              <a:off x="8042785" y="6297797"/>
              <a:ext cx="144806" cy="144806"/>
            </a:xfrm>
            <a:prstGeom prst="corner">
              <a:avLst>
                <a:gd name="adj1" fmla="val 26188"/>
                <a:gd name="adj2" fmla="val 2883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388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>
                <a:solidFill>
                  <a:prstClr val="black"/>
                </a:solidFill>
              </a:endParaRPr>
            </a:p>
          </p:txBody>
        </p:sp>
      </p:grpSp>
      <p:pic>
        <p:nvPicPr>
          <p:cNvPr id="13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0700" y="6015038"/>
            <a:ext cx="604838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663" y="6016625"/>
            <a:ext cx="1136650" cy="61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09600" y="2149419"/>
            <a:ext cx="10972801" cy="3489383"/>
          </a:xfrm>
          <a:prstGeom prst="rect">
            <a:avLst/>
          </a:prstGeom>
        </p:spPr>
        <p:txBody>
          <a:bodyPr wrap="square" lIns="121899" tIns="0" rIns="121899" bIns="0" numCol="1" spcCol="479916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None/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609600"/>
          </a:xfrm>
          <a:prstGeom prst="rect">
            <a:avLst/>
          </a:prstGeom>
        </p:spPr>
        <p:txBody>
          <a:bodyPr lIns="121899" tIns="60949" rIns="121899" bIns="60949">
            <a:noAutofit/>
          </a:bodyPr>
          <a:lstStyle>
            <a:lvl1pPr algn="ctr">
              <a:lnSpc>
                <a:spcPct val="100000"/>
              </a:lnSpc>
              <a:defRPr sz="4300" b="0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0" y="916715"/>
            <a:ext cx="10972801" cy="466725"/>
          </a:xfrm>
          <a:prstGeom prst="rect">
            <a:avLst/>
          </a:prstGeom>
        </p:spPr>
        <p:txBody>
          <a:bodyPr lIns="121899" tIns="60949" rIns="121899" bIns="60949">
            <a:noAutofit/>
          </a:bodyPr>
          <a:lstStyle>
            <a:lvl1pPr marL="0" indent="0" algn="ctr">
              <a:spcBef>
                <a:spcPts val="0"/>
              </a:spcBef>
              <a:buNone/>
              <a:defRPr sz="2700" b="0" spc="0">
                <a:solidFill>
                  <a:schemeClr val="tx1"/>
                </a:solidFill>
                <a:latin typeface="Calibri Light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9429984"/>
      </p:ext>
    </p:extLst>
  </p:cSld>
  <p:clrMapOvr>
    <a:masterClrMapping/>
  </p:clrMapOvr>
  <p:transition spd="med"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0088" y="73025"/>
            <a:ext cx="132238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808038" y="684213"/>
            <a:ext cx="10139362" cy="50800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91419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75" y="4763"/>
            <a:ext cx="692150" cy="69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8851900" y="6548438"/>
            <a:ext cx="2894013" cy="4000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1420" tIns="45711" rIns="91420" bIns="45711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195" eaLnBrk="1" hangingPunct="1">
              <a:defRPr/>
            </a:pPr>
            <a:r>
              <a:rPr lang="en-US" altLang="id-ID" sz="2000" dirty="0">
                <a:solidFill>
                  <a:prstClr val="white"/>
                </a:solidFill>
                <a:ea typeface="+mn-ea"/>
                <a:cs typeface="+mn-cs"/>
              </a:rPr>
              <a:t>www.ddbaccelerator.com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279525" y="1450594"/>
            <a:ext cx="9794875" cy="4297363"/>
          </a:xfrm>
          <a:prstGeom prst="rect">
            <a:avLst/>
          </a:prstGeom>
        </p:spPr>
        <p:txBody>
          <a:bodyPr lIns="121899" tIns="60949" rIns="121899" bIns="60949"/>
          <a:lstStyle>
            <a:lvl1pPr>
              <a:defRPr sz="2400">
                <a:latin typeface="Trebuchet MS" panose="020B0603020202020204" pitchFamily="34" charset="0"/>
              </a:defRPr>
            </a:lvl1pPr>
            <a:lvl2pPr>
              <a:defRPr sz="2400">
                <a:latin typeface="Trebuchet MS" panose="020B0603020202020204" pitchFamily="34" charset="0"/>
              </a:defRPr>
            </a:lvl2pPr>
            <a:lvl3pPr>
              <a:defRPr sz="1900">
                <a:latin typeface="Trebuchet MS" panose="020B0603020202020204" pitchFamily="34" charset="0"/>
              </a:defRPr>
            </a:lvl3pPr>
            <a:lvl4pPr>
              <a:defRPr sz="1600">
                <a:latin typeface="Trebuchet MS" panose="020B0603020202020204" pitchFamily="34" charset="0"/>
              </a:defRPr>
            </a:lvl4pPr>
            <a:lvl5pPr>
              <a:defRPr sz="160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21"/>
          <p:cNvSpPr>
            <a:spLocks noGrp="1"/>
          </p:cNvSpPr>
          <p:nvPr>
            <p:ph type="title"/>
          </p:nvPr>
        </p:nvSpPr>
        <p:spPr bwMode="auto">
          <a:xfrm>
            <a:off x="1345477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 lIns="121899" tIns="60949" rIns="121899" bIns="60949"/>
          <a:lstStyle>
            <a:lvl1pPr algn="l">
              <a:defRPr sz="24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6738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862013" y="715963"/>
            <a:ext cx="94726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21899" tIns="60949" rIns="121899" bIns="60949" anchor="ctr"/>
          <a:lstStyle/>
          <a:p>
            <a:pPr algn="ctr"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20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1850" y="141288"/>
            <a:ext cx="1193800" cy="642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1462088" y="715963"/>
            <a:ext cx="96123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21899" tIns="60949" rIns="121899" bIns="60949" anchor="ctr"/>
          <a:lstStyle/>
          <a:p>
            <a:pPr algn="ctr"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75" y="73025"/>
            <a:ext cx="690563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6526213"/>
            <a:ext cx="3397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930275" y="6526213"/>
            <a:ext cx="1827213" cy="43021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21899" tIns="60949" rIns="121899" bIns="6094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id-ID" sz="2000">
                <a:solidFill>
                  <a:prstClr val="white"/>
                </a:solidFill>
                <a:ea typeface="+mn-ea"/>
                <a:cs typeface="+mn-cs"/>
              </a:rPr>
              <a:t>ddbaccelerator</a:t>
            </a: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3097213" y="6538913"/>
            <a:ext cx="2057400" cy="43021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21899" tIns="60949" rIns="121899" bIns="6094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id-ID" sz="2000">
                <a:solidFill>
                  <a:prstClr val="white"/>
                </a:solidFill>
                <a:ea typeface="+mn-ea"/>
                <a:cs typeface="+mn-cs"/>
              </a:rPr>
              <a:t>@ddbaccelerator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5399088" y="6550025"/>
            <a:ext cx="3386137" cy="43021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21899" tIns="60949" rIns="121899" bIns="6094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id-ID" sz="2000" dirty="0">
                <a:solidFill>
                  <a:prstClr val="white"/>
                </a:solidFill>
                <a:ea typeface="+mn-ea"/>
                <a:cs typeface="+mn-cs"/>
              </a:rPr>
              <a:t>support@ddbaccelerator.com</a:t>
            </a: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auto">
          <a:xfrm>
            <a:off x="8851900" y="6548438"/>
            <a:ext cx="2955925" cy="43021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21899" tIns="60949" rIns="121899" bIns="6094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id-ID" sz="2000">
                <a:solidFill>
                  <a:prstClr val="white"/>
                </a:solidFill>
                <a:ea typeface="+mn-ea"/>
                <a:cs typeface="+mn-cs"/>
              </a:rPr>
              <a:t>www.ddbaccelerator.com</a:t>
            </a:r>
          </a:p>
        </p:txBody>
      </p:sp>
      <p:pic>
        <p:nvPicPr>
          <p:cNvPr id="16" name="Picture 10" descr="https://g.twimg.com/Twitter_logo_blue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5588" y="6534150"/>
            <a:ext cx="382587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39"/>
          <p:cNvSpPr>
            <a:spLocks noEditPoints="1"/>
          </p:cNvSpPr>
          <p:nvPr userDrawn="1"/>
        </p:nvSpPr>
        <p:spPr bwMode="auto">
          <a:xfrm>
            <a:off x="8532813" y="6534150"/>
            <a:ext cx="347662" cy="323850"/>
          </a:xfrm>
          <a:custGeom>
            <a:avLst/>
            <a:gdLst>
              <a:gd name="T0" fmla="*/ 2147483646 w 16128"/>
              <a:gd name="T1" fmla="*/ 2147483646 h 16128"/>
              <a:gd name="T2" fmla="*/ 2147483646 w 16128"/>
              <a:gd name="T3" fmla="*/ 2147483646 h 16128"/>
              <a:gd name="T4" fmla="*/ 2147483646 w 16128"/>
              <a:gd name="T5" fmla="*/ 2147483646 h 16128"/>
              <a:gd name="T6" fmla="*/ 2147483646 w 16128"/>
              <a:gd name="T7" fmla="*/ 2147483646 h 16128"/>
              <a:gd name="T8" fmla="*/ 2147483646 w 16128"/>
              <a:gd name="T9" fmla="*/ 2147483646 h 16128"/>
              <a:gd name="T10" fmla="*/ 2147483646 w 16128"/>
              <a:gd name="T11" fmla="*/ 2147483646 h 16128"/>
              <a:gd name="T12" fmla="*/ 2147483646 w 16128"/>
              <a:gd name="T13" fmla="*/ 2147483646 h 16128"/>
              <a:gd name="T14" fmla="*/ 2147483646 w 16128"/>
              <a:gd name="T15" fmla="*/ 2147483646 h 16128"/>
              <a:gd name="T16" fmla="*/ 2147483646 w 16128"/>
              <a:gd name="T17" fmla="*/ 2147483646 h 16128"/>
              <a:gd name="T18" fmla="*/ 2147483646 w 16128"/>
              <a:gd name="T19" fmla="*/ 2147483646 h 16128"/>
              <a:gd name="T20" fmla="*/ 2147483646 w 16128"/>
              <a:gd name="T21" fmla="*/ 2147483646 h 16128"/>
              <a:gd name="T22" fmla="*/ 2147483646 w 16128"/>
              <a:gd name="T23" fmla="*/ 2147483646 h 16128"/>
              <a:gd name="T24" fmla="*/ 2147483646 w 16128"/>
              <a:gd name="T25" fmla="*/ 2147483646 h 16128"/>
              <a:gd name="T26" fmla="*/ 2147483646 w 16128"/>
              <a:gd name="T27" fmla="*/ 2147483646 h 16128"/>
              <a:gd name="T28" fmla="*/ 2147483646 w 16128"/>
              <a:gd name="T29" fmla="*/ 2147483646 h 16128"/>
              <a:gd name="T30" fmla="*/ 2147483646 w 16128"/>
              <a:gd name="T31" fmla="*/ 2147483646 h 16128"/>
              <a:gd name="T32" fmla="*/ 2147483646 w 16128"/>
              <a:gd name="T33" fmla="*/ 2147483646 h 16128"/>
              <a:gd name="T34" fmla="*/ 2147483646 w 16128"/>
              <a:gd name="T35" fmla="*/ 2147483646 h 16128"/>
              <a:gd name="T36" fmla="*/ 2147483646 w 16128"/>
              <a:gd name="T37" fmla="*/ 2147483646 h 16128"/>
              <a:gd name="T38" fmla="*/ 2147483646 w 16128"/>
              <a:gd name="T39" fmla="*/ 2147483646 h 16128"/>
              <a:gd name="T40" fmla="*/ 2147483646 w 16128"/>
              <a:gd name="T41" fmla="*/ 2147483646 h 16128"/>
              <a:gd name="T42" fmla="*/ 2147483646 w 16128"/>
              <a:gd name="T43" fmla="*/ 2147483646 h 16128"/>
              <a:gd name="T44" fmla="*/ 2147483646 w 16128"/>
              <a:gd name="T45" fmla="*/ 2147483646 h 16128"/>
              <a:gd name="T46" fmla="*/ 2147483646 w 16128"/>
              <a:gd name="T47" fmla="*/ 2147483646 h 16128"/>
              <a:gd name="T48" fmla="*/ 2147483646 w 16128"/>
              <a:gd name="T49" fmla="*/ 2147483646 h 16128"/>
              <a:gd name="T50" fmla="*/ 2147483646 w 16128"/>
              <a:gd name="T51" fmla="*/ 2147483646 h 16128"/>
              <a:gd name="T52" fmla="*/ 2147483646 w 16128"/>
              <a:gd name="T53" fmla="*/ 2147483646 h 16128"/>
              <a:gd name="T54" fmla="*/ 2147483646 w 16128"/>
              <a:gd name="T55" fmla="*/ 2147483646 h 16128"/>
              <a:gd name="T56" fmla="*/ 2147483646 w 16128"/>
              <a:gd name="T57" fmla="*/ 2147483646 h 16128"/>
              <a:gd name="T58" fmla="*/ 2147483646 w 16128"/>
              <a:gd name="T59" fmla="*/ 2147483646 h 16128"/>
              <a:gd name="T60" fmla="*/ 2147483646 w 16128"/>
              <a:gd name="T61" fmla="*/ 2147483646 h 16128"/>
              <a:gd name="T62" fmla="*/ 2147483646 w 16128"/>
              <a:gd name="T63" fmla="*/ 2147483646 h 16128"/>
              <a:gd name="T64" fmla="*/ 2147483646 w 16128"/>
              <a:gd name="T65" fmla="*/ 2147483646 h 16128"/>
              <a:gd name="T66" fmla="*/ 2147483646 w 16128"/>
              <a:gd name="T67" fmla="*/ 2147483646 h 16128"/>
              <a:gd name="T68" fmla="*/ 2147483646 w 16128"/>
              <a:gd name="T69" fmla="*/ 2147483646 h 16128"/>
              <a:gd name="T70" fmla="*/ 2147483646 w 16128"/>
              <a:gd name="T71" fmla="*/ 2147483646 h 16128"/>
              <a:gd name="T72" fmla="*/ 2147483646 w 16128"/>
              <a:gd name="T73" fmla="*/ 2147483646 h 16128"/>
              <a:gd name="T74" fmla="*/ 2147483646 w 16128"/>
              <a:gd name="T75" fmla="*/ 2147483646 h 16128"/>
              <a:gd name="T76" fmla="*/ 2147483646 w 16128"/>
              <a:gd name="T77" fmla="*/ 2147483646 h 16128"/>
              <a:gd name="T78" fmla="*/ 2147483646 w 16128"/>
              <a:gd name="T79" fmla="*/ 2147483646 h 16128"/>
              <a:gd name="T80" fmla="*/ 2147483646 w 16128"/>
              <a:gd name="T81" fmla="*/ 2147483646 h 16128"/>
              <a:gd name="T82" fmla="*/ 2147483646 w 16128"/>
              <a:gd name="T83" fmla="*/ 2147483646 h 16128"/>
              <a:gd name="T84" fmla="*/ 2147483646 w 16128"/>
              <a:gd name="T85" fmla="*/ 2147483646 h 16128"/>
              <a:gd name="T86" fmla="*/ 2147483646 w 16128"/>
              <a:gd name="T87" fmla="*/ 2147483646 h 16128"/>
              <a:gd name="T88" fmla="*/ 2147483646 w 16128"/>
              <a:gd name="T89" fmla="*/ 2147483646 h 16128"/>
              <a:gd name="T90" fmla="*/ 2147483646 w 16128"/>
              <a:gd name="T91" fmla="*/ 2147483646 h 16128"/>
              <a:gd name="T92" fmla="*/ 2147483646 w 16128"/>
              <a:gd name="T93" fmla="*/ 2147483646 h 16128"/>
              <a:gd name="T94" fmla="*/ 2147483646 w 16128"/>
              <a:gd name="T95" fmla="*/ 2147483646 h 16128"/>
              <a:gd name="T96" fmla="*/ 2147483646 w 16128"/>
              <a:gd name="T97" fmla="*/ 2147483646 h 16128"/>
              <a:gd name="T98" fmla="*/ 2147483646 w 16128"/>
              <a:gd name="T99" fmla="*/ 2147483646 h 16128"/>
              <a:gd name="T100" fmla="*/ 2147483646 w 16128"/>
              <a:gd name="T101" fmla="*/ 2147483646 h 16128"/>
              <a:gd name="T102" fmla="*/ 2147483646 w 16128"/>
              <a:gd name="T103" fmla="*/ 2147483646 h 16128"/>
              <a:gd name="T104" fmla="*/ 2147483646 w 16128"/>
              <a:gd name="T105" fmla="*/ 2147483646 h 16128"/>
              <a:gd name="T106" fmla="*/ 2147483646 w 16128"/>
              <a:gd name="T107" fmla="*/ 2147483646 h 16128"/>
              <a:gd name="T108" fmla="*/ 2147483646 w 16128"/>
              <a:gd name="T109" fmla="*/ 2147483646 h 16128"/>
              <a:gd name="T110" fmla="*/ 2147483646 w 16128"/>
              <a:gd name="T111" fmla="*/ 2147483646 h 16128"/>
              <a:gd name="T112" fmla="*/ 2147483646 w 16128"/>
              <a:gd name="T113" fmla="*/ 2147483646 h 16128"/>
              <a:gd name="T114" fmla="*/ 2147483646 w 16128"/>
              <a:gd name="T115" fmla="*/ 2147483646 h 16128"/>
              <a:gd name="T116" fmla="*/ 2147483646 w 16128"/>
              <a:gd name="T117" fmla="*/ 2147483646 h 16128"/>
              <a:gd name="T118" fmla="*/ 2147483646 w 16128"/>
              <a:gd name="T119" fmla="*/ 2147483646 h 16128"/>
              <a:gd name="T120" fmla="*/ 2147483646 w 16128"/>
              <a:gd name="T121" fmla="*/ 2147483646 h 16128"/>
              <a:gd name="T122" fmla="*/ 2147483646 w 16128"/>
              <a:gd name="T123" fmla="*/ 2147483646 h 16128"/>
              <a:gd name="T124" fmla="*/ 2147483646 w 16128"/>
              <a:gd name="T125" fmla="*/ 2147483646 h 1612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128" h="16128">
                <a:moveTo>
                  <a:pt x="8064" y="0"/>
                </a:moveTo>
                <a:lnTo>
                  <a:pt x="7649" y="10"/>
                </a:lnTo>
                <a:lnTo>
                  <a:pt x="7239" y="41"/>
                </a:lnTo>
                <a:lnTo>
                  <a:pt x="6836" y="93"/>
                </a:lnTo>
                <a:lnTo>
                  <a:pt x="6439" y="164"/>
                </a:lnTo>
                <a:lnTo>
                  <a:pt x="6049" y="254"/>
                </a:lnTo>
                <a:lnTo>
                  <a:pt x="5666" y="363"/>
                </a:lnTo>
                <a:lnTo>
                  <a:pt x="5291" y="489"/>
                </a:lnTo>
                <a:lnTo>
                  <a:pt x="4925" y="634"/>
                </a:lnTo>
                <a:lnTo>
                  <a:pt x="4568" y="795"/>
                </a:lnTo>
                <a:lnTo>
                  <a:pt x="4220" y="974"/>
                </a:lnTo>
                <a:lnTo>
                  <a:pt x="3883" y="1167"/>
                </a:lnTo>
                <a:lnTo>
                  <a:pt x="3555" y="1377"/>
                </a:lnTo>
                <a:lnTo>
                  <a:pt x="3239" y="1602"/>
                </a:lnTo>
                <a:lnTo>
                  <a:pt x="2934" y="1842"/>
                </a:lnTo>
                <a:lnTo>
                  <a:pt x="2642" y="2095"/>
                </a:lnTo>
                <a:lnTo>
                  <a:pt x="2362" y="2362"/>
                </a:lnTo>
                <a:lnTo>
                  <a:pt x="2095" y="2642"/>
                </a:lnTo>
                <a:lnTo>
                  <a:pt x="1842" y="2934"/>
                </a:lnTo>
                <a:lnTo>
                  <a:pt x="1602" y="3239"/>
                </a:lnTo>
                <a:lnTo>
                  <a:pt x="1377" y="3555"/>
                </a:lnTo>
                <a:lnTo>
                  <a:pt x="1167" y="3883"/>
                </a:lnTo>
                <a:lnTo>
                  <a:pt x="974" y="4220"/>
                </a:lnTo>
                <a:lnTo>
                  <a:pt x="795" y="4568"/>
                </a:lnTo>
                <a:lnTo>
                  <a:pt x="634" y="4925"/>
                </a:lnTo>
                <a:lnTo>
                  <a:pt x="489" y="5291"/>
                </a:lnTo>
                <a:lnTo>
                  <a:pt x="363" y="5666"/>
                </a:lnTo>
                <a:lnTo>
                  <a:pt x="254" y="6049"/>
                </a:lnTo>
                <a:lnTo>
                  <a:pt x="164" y="6439"/>
                </a:lnTo>
                <a:lnTo>
                  <a:pt x="93" y="6836"/>
                </a:lnTo>
                <a:lnTo>
                  <a:pt x="41" y="7239"/>
                </a:lnTo>
                <a:lnTo>
                  <a:pt x="10" y="7649"/>
                </a:lnTo>
                <a:lnTo>
                  <a:pt x="0" y="8064"/>
                </a:lnTo>
                <a:lnTo>
                  <a:pt x="10" y="8479"/>
                </a:lnTo>
                <a:lnTo>
                  <a:pt x="41" y="8889"/>
                </a:lnTo>
                <a:lnTo>
                  <a:pt x="93" y="9292"/>
                </a:lnTo>
                <a:lnTo>
                  <a:pt x="164" y="9689"/>
                </a:lnTo>
                <a:lnTo>
                  <a:pt x="254" y="10079"/>
                </a:lnTo>
                <a:lnTo>
                  <a:pt x="363" y="10462"/>
                </a:lnTo>
                <a:lnTo>
                  <a:pt x="489" y="10837"/>
                </a:lnTo>
                <a:lnTo>
                  <a:pt x="634" y="11203"/>
                </a:lnTo>
                <a:lnTo>
                  <a:pt x="795" y="11560"/>
                </a:lnTo>
                <a:lnTo>
                  <a:pt x="974" y="11908"/>
                </a:lnTo>
                <a:lnTo>
                  <a:pt x="1167" y="12245"/>
                </a:lnTo>
                <a:lnTo>
                  <a:pt x="1377" y="12573"/>
                </a:lnTo>
                <a:lnTo>
                  <a:pt x="1602" y="12888"/>
                </a:lnTo>
                <a:lnTo>
                  <a:pt x="1842" y="13194"/>
                </a:lnTo>
                <a:lnTo>
                  <a:pt x="2095" y="13486"/>
                </a:lnTo>
                <a:lnTo>
                  <a:pt x="2362" y="13766"/>
                </a:lnTo>
                <a:lnTo>
                  <a:pt x="2642" y="14033"/>
                </a:lnTo>
                <a:lnTo>
                  <a:pt x="2934" y="14286"/>
                </a:lnTo>
                <a:lnTo>
                  <a:pt x="3239" y="14526"/>
                </a:lnTo>
                <a:lnTo>
                  <a:pt x="3555" y="14751"/>
                </a:lnTo>
                <a:lnTo>
                  <a:pt x="3883" y="14961"/>
                </a:lnTo>
                <a:lnTo>
                  <a:pt x="4220" y="15154"/>
                </a:lnTo>
                <a:lnTo>
                  <a:pt x="4568" y="15333"/>
                </a:lnTo>
                <a:lnTo>
                  <a:pt x="4925" y="15494"/>
                </a:lnTo>
                <a:lnTo>
                  <a:pt x="5291" y="15639"/>
                </a:lnTo>
                <a:lnTo>
                  <a:pt x="5666" y="15765"/>
                </a:lnTo>
                <a:lnTo>
                  <a:pt x="6049" y="15874"/>
                </a:lnTo>
                <a:lnTo>
                  <a:pt x="6439" y="15964"/>
                </a:lnTo>
                <a:lnTo>
                  <a:pt x="6836" y="16035"/>
                </a:lnTo>
                <a:lnTo>
                  <a:pt x="7239" y="16087"/>
                </a:lnTo>
                <a:lnTo>
                  <a:pt x="7649" y="16118"/>
                </a:lnTo>
                <a:lnTo>
                  <a:pt x="8064" y="16128"/>
                </a:lnTo>
                <a:lnTo>
                  <a:pt x="8479" y="16118"/>
                </a:lnTo>
                <a:lnTo>
                  <a:pt x="8889" y="16087"/>
                </a:lnTo>
                <a:lnTo>
                  <a:pt x="9292" y="16035"/>
                </a:lnTo>
                <a:lnTo>
                  <a:pt x="9689" y="15964"/>
                </a:lnTo>
                <a:lnTo>
                  <a:pt x="10079" y="15874"/>
                </a:lnTo>
                <a:lnTo>
                  <a:pt x="10462" y="15765"/>
                </a:lnTo>
                <a:lnTo>
                  <a:pt x="10837" y="15639"/>
                </a:lnTo>
                <a:lnTo>
                  <a:pt x="11203" y="15494"/>
                </a:lnTo>
                <a:lnTo>
                  <a:pt x="11560" y="15333"/>
                </a:lnTo>
                <a:lnTo>
                  <a:pt x="11908" y="15154"/>
                </a:lnTo>
                <a:lnTo>
                  <a:pt x="12245" y="14961"/>
                </a:lnTo>
                <a:lnTo>
                  <a:pt x="12573" y="14751"/>
                </a:lnTo>
                <a:lnTo>
                  <a:pt x="12889" y="14526"/>
                </a:lnTo>
                <a:lnTo>
                  <a:pt x="13194" y="14286"/>
                </a:lnTo>
                <a:lnTo>
                  <a:pt x="13486" y="14033"/>
                </a:lnTo>
                <a:lnTo>
                  <a:pt x="13766" y="13766"/>
                </a:lnTo>
                <a:lnTo>
                  <a:pt x="14033" y="13486"/>
                </a:lnTo>
                <a:lnTo>
                  <a:pt x="14286" y="13194"/>
                </a:lnTo>
                <a:lnTo>
                  <a:pt x="14526" y="12888"/>
                </a:lnTo>
                <a:lnTo>
                  <a:pt x="14751" y="12573"/>
                </a:lnTo>
                <a:lnTo>
                  <a:pt x="14961" y="12245"/>
                </a:lnTo>
                <a:lnTo>
                  <a:pt x="15154" y="11908"/>
                </a:lnTo>
                <a:lnTo>
                  <a:pt x="15333" y="11560"/>
                </a:lnTo>
                <a:lnTo>
                  <a:pt x="15494" y="11203"/>
                </a:lnTo>
                <a:lnTo>
                  <a:pt x="15639" y="10837"/>
                </a:lnTo>
                <a:lnTo>
                  <a:pt x="15765" y="10462"/>
                </a:lnTo>
                <a:lnTo>
                  <a:pt x="15874" y="10079"/>
                </a:lnTo>
                <a:lnTo>
                  <a:pt x="15964" y="9689"/>
                </a:lnTo>
                <a:lnTo>
                  <a:pt x="16035" y="9292"/>
                </a:lnTo>
                <a:lnTo>
                  <a:pt x="16087" y="8889"/>
                </a:lnTo>
                <a:lnTo>
                  <a:pt x="16118" y="8479"/>
                </a:lnTo>
                <a:lnTo>
                  <a:pt x="16128" y="8064"/>
                </a:lnTo>
                <a:lnTo>
                  <a:pt x="16118" y="7649"/>
                </a:lnTo>
                <a:lnTo>
                  <a:pt x="16087" y="7239"/>
                </a:lnTo>
                <a:lnTo>
                  <a:pt x="16035" y="6836"/>
                </a:lnTo>
                <a:lnTo>
                  <a:pt x="15964" y="6439"/>
                </a:lnTo>
                <a:lnTo>
                  <a:pt x="15874" y="6049"/>
                </a:lnTo>
                <a:lnTo>
                  <a:pt x="15765" y="5666"/>
                </a:lnTo>
                <a:lnTo>
                  <a:pt x="15639" y="5291"/>
                </a:lnTo>
                <a:lnTo>
                  <a:pt x="15494" y="4925"/>
                </a:lnTo>
                <a:lnTo>
                  <a:pt x="15333" y="4568"/>
                </a:lnTo>
                <a:lnTo>
                  <a:pt x="15154" y="4220"/>
                </a:lnTo>
                <a:lnTo>
                  <a:pt x="14961" y="3883"/>
                </a:lnTo>
                <a:lnTo>
                  <a:pt x="14751" y="3555"/>
                </a:lnTo>
                <a:lnTo>
                  <a:pt x="14526" y="3239"/>
                </a:lnTo>
                <a:lnTo>
                  <a:pt x="14286" y="2934"/>
                </a:lnTo>
                <a:lnTo>
                  <a:pt x="14033" y="2642"/>
                </a:lnTo>
                <a:lnTo>
                  <a:pt x="13766" y="2362"/>
                </a:lnTo>
                <a:lnTo>
                  <a:pt x="13486" y="2095"/>
                </a:lnTo>
                <a:lnTo>
                  <a:pt x="13194" y="1842"/>
                </a:lnTo>
                <a:lnTo>
                  <a:pt x="12889" y="1602"/>
                </a:lnTo>
                <a:lnTo>
                  <a:pt x="12573" y="1377"/>
                </a:lnTo>
                <a:lnTo>
                  <a:pt x="12245" y="1167"/>
                </a:lnTo>
                <a:lnTo>
                  <a:pt x="11908" y="974"/>
                </a:lnTo>
                <a:lnTo>
                  <a:pt x="11560" y="795"/>
                </a:lnTo>
                <a:lnTo>
                  <a:pt x="11203" y="634"/>
                </a:lnTo>
                <a:lnTo>
                  <a:pt x="10837" y="489"/>
                </a:lnTo>
                <a:lnTo>
                  <a:pt x="10462" y="363"/>
                </a:lnTo>
                <a:lnTo>
                  <a:pt x="10079" y="254"/>
                </a:lnTo>
                <a:lnTo>
                  <a:pt x="9689" y="164"/>
                </a:lnTo>
                <a:lnTo>
                  <a:pt x="9292" y="93"/>
                </a:lnTo>
                <a:lnTo>
                  <a:pt x="8889" y="41"/>
                </a:lnTo>
                <a:lnTo>
                  <a:pt x="8479" y="10"/>
                </a:lnTo>
                <a:lnTo>
                  <a:pt x="8064" y="0"/>
                </a:lnTo>
                <a:close/>
                <a:moveTo>
                  <a:pt x="9888" y="5193"/>
                </a:moveTo>
                <a:lnTo>
                  <a:pt x="9879" y="5196"/>
                </a:lnTo>
                <a:lnTo>
                  <a:pt x="9872" y="5197"/>
                </a:lnTo>
                <a:lnTo>
                  <a:pt x="9865" y="5198"/>
                </a:lnTo>
                <a:lnTo>
                  <a:pt x="9859" y="5198"/>
                </a:lnTo>
                <a:lnTo>
                  <a:pt x="9854" y="5198"/>
                </a:lnTo>
                <a:lnTo>
                  <a:pt x="9850" y="5197"/>
                </a:lnTo>
                <a:lnTo>
                  <a:pt x="9847" y="5195"/>
                </a:lnTo>
                <a:lnTo>
                  <a:pt x="9844" y="5193"/>
                </a:lnTo>
                <a:lnTo>
                  <a:pt x="9842" y="5190"/>
                </a:lnTo>
                <a:lnTo>
                  <a:pt x="9840" y="5187"/>
                </a:lnTo>
                <a:lnTo>
                  <a:pt x="9839" y="5183"/>
                </a:lnTo>
                <a:lnTo>
                  <a:pt x="9839" y="5179"/>
                </a:lnTo>
                <a:lnTo>
                  <a:pt x="9839" y="5170"/>
                </a:lnTo>
                <a:lnTo>
                  <a:pt x="9841" y="5159"/>
                </a:lnTo>
                <a:lnTo>
                  <a:pt x="9848" y="5136"/>
                </a:lnTo>
                <a:lnTo>
                  <a:pt x="9857" y="5111"/>
                </a:lnTo>
                <a:lnTo>
                  <a:pt x="9861" y="5097"/>
                </a:lnTo>
                <a:lnTo>
                  <a:pt x="9865" y="5085"/>
                </a:lnTo>
                <a:lnTo>
                  <a:pt x="9867" y="5073"/>
                </a:lnTo>
                <a:lnTo>
                  <a:pt x="9868" y="5063"/>
                </a:lnTo>
                <a:lnTo>
                  <a:pt x="9881" y="5063"/>
                </a:lnTo>
                <a:lnTo>
                  <a:pt x="9906" y="5064"/>
                </a:lnTo>
                <a:lnTo>
                  <a:pt x="9937" y="5064"/>
                </a:lnTo>
                <a:lnTo>
                  <a:pt x="9967" y="5063"/>
                </a:lnTo>
                <a:lnTo>
                  <a:pt x="9980" y="5061"/>
                </a:lnTo>
                <a:lnTo>
                  <a:pt x="9991" y="5060"/>
                </a:lnTo>
                <a:lnTo>
                  <a:pt x="9995" y="5058"/>
                </a:lnTo>
                <a:lnTo>
                  <a:pt x="9999" y="5057"/>
                </a:lnTo>
                <a:lnTo>
                  <a:pt x="10001" y="5056"/>
                </a:lnTo>
                <a:lnTo>
                  <a:pt x="10003" y="5054"/>
                </a:lnTo>
                <a:lnTo>
                  <a:pt x="10003" y="5052"/>
                </a:lnTo>
                <a:lnTo>
                  <a:pt x="10002" y="5050"/>
                </a:lnTo>
                <a:lnTo>
                  <a:pt x="9999" y="5047"/>
                </a:lnTo>
                <a:lnTo>
                  <a:pt x="9996" y="5045"/>
                </a:lnTo>
                <a:lnTo>
                  <a:pt x="9983" y="5039"/>
                </a:lnTo>
                <a:lnTo>
                  <a:pt x="9964" y="5032"/>
                </a:lnTo>
                <a:lnTo>
                  <a:pt x="9962" y="5011"/>
                </a:lnTo>
                <a:lnTo>
                  <a:pt x="9960" y="4993"/>
                </a:lnTo>
                <a:lnTo>
                  <a:pt x="9958" y="4975"/>
                </a:lnTo>
                <a:lnTo>
                  <a:pt x="9954" y="4960"/>
                </a:lnTo>
                <a:lnTo>
                  <a:pt x="9950" y="4946"/>
                </a:lnTo>
                <a:lnTo>
                  <a:pt x="9945" y="4934"/>
                </a:lnTo>
                <a:lnTo>
                  <a:pt x="9939" y="4924"/>
                </a:lnTo>
                <a:lnTo>
                  <a:pt x="9932" y="4915"/>
                </a:lnTo>
                <a:lnTo>
                  <a:pt x="9924" y="4907"/>
                </a:lnTo>
                <a:lnTo>
                  <a:pt x="9915" y="4900"/>
                </a:lnTo>
                <a:lnTo>
                  <a:pt x="9904" y="4895"/>
                </a:lnTo>
                <a:lnTo>
                  <a:pt x="9892" y="4891"/>
                </a:lnTo>
                <a:lnTo>
                  <a:pt x="9877" y="4887"/>
                </a:lnTo>
                <a:lnTo>
                  <a:pt x="9862" y="4885"/>
                </a:lnTo>
                <a:lnTo>
                  <a:pt x="9845" y="4884"/>
                </a:lnTo>
                <a:lnTo>
                  <a:pt x="9826" y="4883"/>
                </a:lnTo>
                <a:lnTo>
                  <a:pt x="9826" y="4870"/>
                </a:lnTo>
                <a:lnTo>
                  <a:pt x="9825" y="4858"/>
                </a:lnTo>
                <a:lnTo>
                  <a:pt x="9824" y="4847"/>
                </a:lnTo>
                <a:lnTo>
                  <a:pt x="9822" y="4837"/>
                </a:lnTo>
                <a:lnTo>
                  <a:pt x="9817" y="4821"/>
                </a:lnTo>
                <a:lnTo>
                  <a:pt x="9811" y="4807"/>
                </a:lnTo>
                <a:lnTo>
                  <a:pt x="9805" y="4793"/>
                </a:lnTo>
                <a:lnTo>
                  <a:pt x="9798" y="4776"/>
                </a:lnTo>
                <a:lnTo>
                  <a:pt x="9795" y="4766"/>
                </a:lnTo>
                <a:lnTo>
                  <a:pt x="9792" y="4754"/>
                </a:lnTo>
                <a:lnTo>
                  <a:pt x="9789" y="4741"/>
                </a:lnTo>
                <a:lnTo>
                  <a:pt x="9787" y="4727"/>
                </a:lnTo>
                <a:lnTo>
                  <a:pt x="9785" y="4715"/>
                </a:lnTo>
                <a:lnTo>
                  <a:pt x="9785" y="4705"/>
                </a:lnTo>
                <a:lnTo>
                  <a:pt x="9785" y="4697"/>
                </a:lnTo>
                <a:lnTo>
                  <a:pt x="9786" y="4690"/>
                </a:lnTo>
                <a:lnTo>
                  <a:pt x="9787" y="4684"/>
                </a:lnTo>
                <a:lnTo>
                  <a:pt x="9789" y="4679"/>
                </a:lnTo>
                <a:lnTo>
                  <a:pt x="9792" y="4675"/>
                </a:lnTo>
                <a:lnTo>
                  <a:pt x="9795" y="4672"/>
                </a:lnTo>
                <a:lnTo>
                  <a:pt x="9798" y="4670"/>
                </a:lnTo>
                <a:lnTo>
                  <a:pt x="9802" y="4668"/>
                </a:lnTo>
                <a:lnTo>
                  <a:pt x="9807" y="4667"/>
                </a:lnTo>
                <a:lnTo>
                  <a:pt x="9811" y="4666"/>
                </a:lnTo>
                <a:lnTo>
                  <a:pt x="9822" y="4666"/>
                </a:lnTo>
                <a:lnTo>
                  <a:pt x="9833" y="4666"/>
                </a:lnTo>
                <a:lnTo>
                  <a:pt x="9845" y="4666"/>
                </a:lnTo>
                <a:lnTo>
                  <a:pt x="9857" y="4665"/>
                </a:lnTo>
                <a:lnTo>
                  <a:pt x="9864" y="4664"/>
                </a:lnTo>
                <a:lnTo>
                  <a:pt x="9870" y="4663"/>
                </a:lnTo>
                <a:lnTo>
                  <a:pt x="9876" y="4661"/>
                </a:lnTo>
                <a:lnTo>
                  <a:pt x="9882" y="4658"/>
                </a:lnTo>
                <a:lnTo>
                  <a:pt x="9888" y="4654"/>
                </a:lnTo>
                <a:lnTo>
                  <a:pt x="9894" y="4650"/>
                </a:lnTo>
                <a:lnTo>
                  <a:pt x="9900" y="4644"/>
                </a:lnTo>
                <a:lnTo>
                  <a:pt x="9905" y="4638"/>
                </a:lnTo>
                <a:lnTo>
                  <a:pt x="9910" y="4630"/>
                </a:lnTo>
                <a:lnTo>
                  <a:pt x="9914" y="4621"/>
                </a:lnTo>
                <a:lnTo>
                  <a:pt x="9918" y="4610"/>
                </a:lnTo>
                <a:lnTo>
                  <a:pt x="9922" y="4597"/>
                </a:lnTo>
                <a:lnTo>
                  <a:pt x="9936" y="4598"/>
                </a:lnTo>
                <a:lnTo>
                  <a:pt x="9947" y="4601"/>
                </a:lnTo>
                <a:lnTo>
                  <a:pt x="9951" y="4602"/>
                </a:lnTo>
                <a:lnTo>
                  <a:pt x="9954" y="4604"/>
                </a:lnTo>
                <a:lnTo>
                  <a:pt x="9957" y="4606"/>
                </a:lnTo>
                <a:lnTo>
                  <a:pt x="9959" y="4608"/>
                </a:lnTo>
                <a:lnTo>
                  <a:pt x="9961" y="4610"/>
                </a:lnTo>
                <a:lnTo>
                  <a:pt x="9961" y="4613"/>
                </a:lnTo>
                <a:lnTo>
                  <a:pt x="9962" y="4615"/>
                </a:lnTo>
                <a:lnTo>
                  <a:pt x="9962" y="4618"/>
                </a:lnTo>
                <a:lnTo>
                  <a:pt x="9960" y="4624"/>
                </a:lnTo>
                <a:lnTo>
                  <a:pt x="9957" y="4630"/>
                </a:lnTo>
                <a:lnTo>
                  <a:pt x="9952" y="4636"/>
                </a:lnTo>
                <a:lnTo>
                  <a:pt x="9947" y="4641"/>
                </a:lnTo>
                <a:lnTo>
                  <a:pt x="9941" y="4647"/>
                </a:lnTo>
                <a:lnTo>
                  <a:pt x="9935" y="4651"/>
                </a:lnTo>
                <a:lnTo>
                  <a:pt x="9929" y="4655"/>
                </a:lnTo>
                <a:lnTo>
                  <a:pt x="9923" y="4659"/>
                </a:lnTo>
                <a:lnTo>
                  <a:pt x="9918" y="4661"/>
                </a:lnTo>
                <a:lnTo>
                  <a:pt x="9914" y="4661"/>
                </a:lnTo>
                <a:lnTo>
                  <a:pt x="9916" y="4663"/>
                </a:lnTo>
                <a:lnTo>
                  <a:pt x="9918" y="4666"/>
                </a:lnTo>
                <a:lnTo>
                  <a:pt x="9919" y="4669"/>
                </a:lnTo>
                <a:lnTo>
                  <a:pt x="9920" y="4673"/>
                </a:lnTo>
                <a:lnTo>
                  <a:pt x="9919" y="4683"/>
                </a:lnTo>
                <a:lnTo>
                  <a:pt x="9918" y="4694"/>
                </a:lnTo>
                <a:lnTo>
                  <a:pt x="9914" y="4717"/>
                </a:lnTo>
                <a:lnTo>
                  <a:pt x="9911" y="4736"/>
                </a:lnTo>
                <a:lnTo>
                  <a:pt x="9925" y="4735"/>
                </a:lnTo>
                <a:lnTo>
                  <a:pt x="9937" y="4733"/>
                </a:lnTo>
                <a:lnTo>
                  <a:pt x="9948" y="4731"/>
                </a:lnTo>
                <a:lnTo>
                  <a:pt x="9958" y="4727"/>
                </a:lnTo>
                <a:lnTo>
                  <a:pt x="9966" y="4723"/>
                </a:lnTo>
                <a:lnTo>
                  <a:pt x="9974" y="4718"/>
                </a:lnTo>
                <a:lnTo>
                  <a:pt x="9981" y="4713"/>
                </a:lnTo>
                <a:lnTo>
                  <a:pt x="9988" y="4708"/>
                </a:lnTo>
                <a:lnTo>
                  <a:pt x="10000" y="4698"/>
                </a:lnTo>
                <a:lnTo>
                  <a:pt x="10014" y="4687"/>
                </a:lnTo>
                <a:lnTo>
                  <a:pt x="10022" y="4683"/>
                </a:lnTo>
                <a:lnTo>
                  <a:pt x="10030" y="4678"/>
                </a:lnTo>
                <a:lnTo>
                  <a:pt x="10039" y="4675"/>
                </a:lnTo>
                <a:lnTo>
                  <a:pt x="10049" y="4672"/>
                </a:lnTo>
                <a:lnTo>
                  <a:pt x="10046" y="4684"/>
                </a:lnTo>
                <a:lnTo>
                  <a:pt x="10042" y="4696"/>
                </a:lnTo>
                <a:lnTo>
                  <a:pt x="10036" y="4706"/>
                </a:lnTo>
                <a:lnTo>
                  <a:pt x="10031" y="4715"/>
                </a:lnTo>
                <a:lnTo>
                  <a:pt x="10019" y="4733"/>
                </a:lnTo>
                <a:lnTo>
                  <a:pt x="10008" y="4749"/>
                </a:lnTo>
                <a:lnTo>
                  <a:pt x="10004" y="4756"/>
                </a:lnTo>
                <a:lnTo>
                  <a:pt x="10002" y="4764"/>
                </a:lnTo>
                <a:lnTo>
                  <a:pt x="10001" y="4771"/>
                </a:lnTo>
                <a:lnTo>
                  <a:pt x="10002" y="4779"/>
                </a:lnTo>
                <a:lnTo>
                  <a:pt x="10006" y="4788"/>
                </a:lnTo>
                <a:lnTo>
                  <a:pt x="10012" y="4797"/>
                </a:lnTo>
                <a:lnTo>
                  <a:pt x="10022" y="4806"/>
                </a:lnTo>
                <a:lnTo>
                  <a:pt x="10035" y="4817"/>
                </a:lnTo>
                <a:lnTo>
                  <a:pt x="10050" y="4829"/>
                </a:lnTo>
                <a:lnTo>
                  <a:pt x="10065" y="4842"/>
                </a:lnTo>
                <a:lnTo>
                  <a:pt x="10078" y="4857"/>
                </a:lnTo>
                <a:lnTo>
                  <a:pt x="10089" y="4871"/>
                </a:lnTo>
                <a:lnTo>
                  <a:pt x="10094" y="4878"/>
                </a:lnTo>
                <a:lnTo>
                  <a:pt x="10098" y="4886"/>
                </a:lnTo>
                <a:lnTo>
                  <a:pt x="10101" y="4894"/>
                </a:lnTo>
                <a:lnTo>
                  <a:pt x="10103" y="4902"/>
                </a:lnTo>
                <a:lnTo>
                  <a:pt x="10105" y="4910"/>
                </a:lnTo>
                <a:lnTo>
                  <a:pt x="10105" y="4919"/>
                </a:lnTo>
                <a:lnTo>
                  <a:pt x="10104" y="4927"/>
                </a:lnTo>
                <a:lnTo>
                  <a:pt x="10101" y="4936"/>
                </a:lnTo>
                <a:lnTo>
                  <a:pt x="10110" y="4936"/>
                </a:lnTo>
                <a:lnTo>
                  <a:pt x="10119" y="4937"/>
                </a:lnTo>
                <a:lnTo>
                  <a:pt x="10127" y="4939"/>
                </a:lnTo>
                <a:lnTo>
                  <a:pt x="10135" y="4941"/>
                </a:lnTo>
                <a:lnTo>
                  <a:pt x="10142" y="4943"/>
                </a:lnTo>
                <a:lnTo>
                  <a:pt x="10150" y="4946"/>
                </a:lnTo>
                <a:lnTo>
                  <a:pt x="10156" y="4949"/>
                </a:lnTo>
                <a:lnTo>
                  <a:pt x="10162" y="4953"/>
                </a:lnTo>
                <a:lnTo>
                  <a:pt x="10168" y="4957"/>
                </a:lnTo>
                <a:lnTo>
                  <a:pt x="10173" y="4962"/>
                </a:lnTo>
                <a:lnTo>
                  <a:pt x="10177" y="4967"/>
                </a:lnTo>
                <a:lnTo>
                  <a:pt x="10182" y="4973"/>
                </a:lnTo>
                <a:lnTo>
                  <a:pt x="10189" y="4986"/>
                </a:lnTo>
                <a:lnTo>
                  <a:pt x="10195" y="5000"/>
                </a:lnTo>
                <a:lnTo>
                  <a:pt x="10199" y="5015"/>
                </a:lnTo>
                <a:lnTo>
                  <a:pt x="10202" y="5031"/>
                </a:lnTo>
                <a:lnTo>
                  <a:pt x="10204" y="5048"/>
                </a:lnTo>
                <a:lnTo>
                  <a:pt x="10205" y="5067"/>
                </a:lnTo>
                <a:lnTo>
                  <a:pt x="10204" y="5086"/>
                </a:lnTo>
                <a:lnTo>
                  <a:pt x="10202" y="5107"/>
                </a:lnTo>
                <a:lnTo>
                  <a:pt x="10200" y="5127"/>
                </a:lnTo>
                <a:lnTo>
                  <a:pt x="10197" y="5148"/>
                </a:lnTo>
                <a:lnTo>
                  <a:pt x="10215" y="5148"/>
                </a:lnTo>
                <a:lnTo>
                  <a:pt x="10228" y="5148"/>
                </a:lnTo>
                <a:lnTo>
                  <a:pt x="10233" y="5147"/>
                </a:lnTo>
                <a:lnTo>
                  <a:pt x="10238" y="5146"/>
                </a:lnTo>
                <a:lnTo>
                  <a:pt x="10241" y="5145"/>
                </a:lnTo>
                <a:lnTo>
                  <a:pt x="10244" y="5143"/>
                </a:lnTo>
                <a:lnTo>
                  <a:pt x="10246" y="5140"/>
                </a:lnTo>
                <a:lnTo>
                  <a:pt x="10247" y="5137"/>
                </a:lnTo>
                <a:lnTo>
                  <a:pt x="10248" y="5132"/>
                </a:lnTo>
                <a:lnTo>
                  <a:pt x="10249" y="5127"/>
                </a:lnTo>
                <a:lnTo>
                  <a:pt x="10249" y="5114"/>
                </a:lnTo>
                <a:lnTo>
                  <a:pt x="10249" y="5095"/>
                </a:lnTo>
                <a:lnTo>
                  <a:pt x="10259" y="5098"/>
                </a:lnTo>
                <a:lnTo>
                  <a:pt x="10267" y="5102"/>
                </a:lnTo>
                <a:lnTo>
                  <a:pt x="10275" y="5107"/>
                </a:lnTo>
                <a:lnTo>
                  <a:pt x="10280" y="5112"/>
                </a:lnTo>
                <a:lnTo>
                  <a:pt x="10284" y="5117"/>
                </a:lnTo>
                <a:lnTo>
                  <a:pt x="10287" y="5122"/>
                </a:lnTo>
                <a:lnTo>
                  <a:pt x="10289" y="5127"/>
                </a:lnTo>
                <a:lnTo>
                  <a:pt x="10289" y="5133"/>
                </a:lnTo>
                <a:lnTo>
                  <a:pt x="10289" y="5138"/>
                </a:lnTo>
                <a:lnTo>
                  <a:pt x="10287" y="5143"/>
                </a:lnTo>
                <a:lnTo>
                  <a:pt x="10283" y="5147"/>
                </a:lnTo>
                <a:lnTo>
                  <a:pt x="10279" y="5151"/>
                </a:lnTo>
                <a:lnTo>
                  <a:pt x="10274" y="5154"/>
                </a:lnTo>
                <a:lnTo>
                  <a:pt x="10266" y="5157"/>
                </a:lnTo>
                <a:lnTo>
                  <a:pt x="10258" y="5158"/>
                </a:lnTo>
                <a:lnTo>
                  <a:pt x="10249" y="5159"/>
                </a:lnTo>
                <a:lnTo>
                  <a:pt x="10245" y="5168"/>
                </a:lnTo>
                <a:lnTo>
                  <a:pt x="10239" y="5176"/>
                </a:lnTo>
                <a:lnTo>
                  <a:pt x="10233" y="5184"/>
                </a:lnTo>
                <a:lnTo>
                  <a:pt x="10227" y="5191"/>
                </a:lnTo>
                <a:lnTo>
                  <a:pt x="10221" y="5198"/>
                </a:lnTo>
                <a:lnTo>
                  <a:pt x="10214" y="5204"/>
                </a:lnTo>
                <a:lnTo>
                  <a:pt x="10206" y="5210"/>
                </a:lnTo>
                <a:lnTo>
                  <a:pt x="10199" y="5215"/>
                </a:lnTo>
                <a:lnTo>
                  <a:pt x="10183" y="5224"/>
                </a:lnTo>
                <a:lnTo>
                  <a:pt x="10166" y="5233"/>
                </a:lnTo>
                <a:lnTo>
                  <a:pt x="10147" y="5239"/>
                </a:lnTo>
                <a:lnTo>
                  <a:pt x="10128" y="5244"/>
                </a:lnTo>
                <a:lnTo>
                  <a:pt x="10109" y="5247"/>
                </a:lnTo>
                <a:lnTo>
                  <a:pt x="10089" y="5250"/>
                </a:lnTo>
                <a:lnTo>
                  <a:pt x="10070" y="5252"/>
                </a:lnTo>
                <a:lnTo>
                  <a:pt x="10050" y="5253"/>
                </a:lnTo>
                <a:lnTo>
                  <a:pt x="10011" y="5254"/>
                </a:lnTo>
                <a:lnTo>
                  <a:pt x="9974" y="5254"/>
                </a:lnTo>
                <a:lnTo>
                  <a:pt x="9974" y="5241"/>
                </a:lnTo>
                <a:lnTo>
                  <a:pt x="9973" y="5228"/>
                </a:lnTo>
                <a:lnTo>
                  <a:pt x="9972" y="5217"/>
                </a:lnTo>
                <a:lnTo>
                  <a:pt x="9970" y="5209"/>
                </a:lnTo>
                <a:lnTo>
                  <a:pt x="9968" y="5201"/>
                </a:lnTo>
                <a:lnTo>
                  <a:pt x="9965" y="5195"/>
                </a:lnTo>
                <a:lnTo>
                  <a:pt x="9962" y="5190"/>
                </a:lnTo>
                <a:lnTo>
                  <a:pt x="9958" y="5187"/>
                </a:lnTo>
                <a:lnTo>
                  <a:pt x="9952" y="5184"/>
                </a:lnTo>
                <a:lnTo>
                  <a:pt x="9946" y="5183"/>
                </a:lnTo>
                <a:lnTo>
                  <a:pt x="9939" y="5182"/>
                </a:lnTo>
                <a:lnTo>
                  <a:pt x="9932" y="5183"/>
                </a:lnTo>
                <a:lnTo>
                  <a:pt x="9912" y="5187"/>
                </a:lnTo>
                <a:lnTo>
                  <a:pt x="9888" y="5193"/>
                </a:lnTo>
                <a:close/>
                <a:moveTo>
                  <a:pt x="9889" y="5286"/>
                </a:moveTo>
                <a:lnTo>
                  <a:pt x="9889" y="5290"/>
                </a:lnTo>
                <a:lnTo>
                  <a:pt x="9887" y="5295"/>
                </a:lnTo>
                <a:lnTo>
                  <a:pt x="9884" y="5299"/>
                </a:lnTo>
                <a:lnTo>
                  <a:pt x="9881" y="5303"/>
                </a:lnTo>
                <a:lnTo>
                  <a:pt x="9877" y="5307"/>
                </a:lnTo>
                <a:lnTo>
                  <a:pt x="9872" y="5310"/>
                </a:lnTo>
                <a:lnTo>
                  <a:pt x="9867" y="5312"/>
                </a:lnTo>
                <a:lnTo>
                  <a:pt x="9862" y="5314"/>
                </a:lnTo>
                <a:lnTo>
                  <a:pt x="9856" y="5315"/>
                </a:lnTo>
                <a:lnTo>
                  <a:pt x="9851" y="5315"/>
                </a:lnTo>
                <a:lnTo>
                  <a:pt x="9845" y="5315"/>
                </a:lnTo>
                <a:lnTo>
                  <a:pt x="9840" y="5313"/>
                </a:lnTo>
                <a:lnTo>
                  <a:pt x="9836" y="5311"/>
                </a:lnTo>
                <a:lnTo>
                  <a:pt x="9832" y="5307"/>
                </a:lnTo>
                <a:lnTo>
                  <a:pt x="9829" y="5302"/>
                </a:lnTo>
                <a:lnTo>
                  <a:pt x="9826" y="5296"/>
                </a:lnTo>
                <a:lnTo>
                  <a:pt x="9830" y="5297"/>
                </a:lnTo>
                <a:lnTo>
                  <a:pt x="9833" y="5297"/>
                </a:lnTo>
                <a:lnTo>
                  <a:pt x="9835" y="5297"/>
                </a:lnTo>
                <a:lnTo>
                  <a:pt x="9837" y="5296"/>
                </a:lnTo>
                <a:lnTo>
                  <a:pt x="9838" y="5294"/>
                </a:lnTo>
                <a:lnTo>
                  <a:pt x="9838" y="5292"/>
                </a:lnTo>
                <a:lnTo>
                  <a:pt x="9837" y="5289"/>
                </a:lnTo>
                <a:lnTo>
                  <a:pt x="9836" y="5286"/>
                </a:lnTo>
                <a:lnTo>
                  <a:pt x="9850" y="5286"/>
                </a:lnTo>
                <a:lnTo>
                  <a:pt x="9863" y="5286"/>
                </a:lnTo>
                <a:lnTo>
                  <a:pt x="9876" y="5286"/>
                </a:lnTo>
                <a:lnTo>
                  <a:pt x="9889" y="5286"/>
                </a:lnTo>
                <a:close/>
                <a:moveTo>
                  <a:pt x="10684" y="6122"/>
                </a:moveTo>
                <a:lnTo>
                  <a:pt x="10687" y="6135"/>
                </a:lnTo>
                <a:lnTo>
                  <a:pt x="10691" y="6145"/>
                </a:lnTo>
                <a:lnTo>
                  <a:pt x="10694" y="6153"/>
                </a:lnTo>
                <a:lnTo>
                  <a:pt x="10697" y="6159"/>
                </a:lnTo>
                <a:lnTo>
                  <a:pt x="10699" y="6163"/>
                </a:lnTo>
                <a:lnTo>
                  <a:pt x="10702" y="6165"/>
                </a:lnTo>
                <a:lnTo>
                  <a:pt x="10704" y="6165"/>
                </a:lnTo>
                <a:lnTo>
                  <a:pt x="10706" y="6164"/>
                </a:lnTo>
                <a:lnTo>
                  <a:pt x="10708" y="6161"/>
                </a:lnTo>
                <a:lnTo>
                  <a:pt x="10710" y="6156"/>
                </a:lnTo>
                <a:lnTo>
                  <a:pt x="10712" y="6150"/>
                </a:lnTo>
                <a:lnTo>
                  <a:pt x="10713" y="6142"/>
                </a:lnTo>
                <a:lnTo>
                  <a:pt x="10715" y="6124"/>
                </a:lnTo>
                <a:lnTo>
                  <a:pt x="10715" y="6100"/>
                </a:lnTo>
                <a:lnTo>
                  <a:pt x="10719" y="6101"/>
                </a:lnTo>
                <a:lnTo>
                  <a:pt x="10723" y="6102"/>
                </a:lnTo>
                <a:lnTo>
                  <a:pt x="10726" y="6105"/>
                </a:lnTo>
                <a:lnTo>
                  <a:pt x="10729" y="6108"/>
                </a:lnTo>
                <a:lnTo>
                  <a:pt x="10732" y="6114"/>
                </a:lnTo>
                <a:lnTo>
                  <a:pt x="10735" y="6119"/>
                </a:lnTo>
                <a:lnTo>
                  <a:pt x="10738" y="6124"/>
                </a:lnTo>
                <a:lnTo>
                  <a:pt x="10740" y="6131"/>
                </a:lnTo>
                <a:lnTo>
                  <a:pt x="10743" y="6145"/>
                </a:lnTo>
                <a:lnTo>
                  <a:pt x="10745" y="6160"/>
                </a:lnTo>
                <a:lnTo>
                  <a:pt x="10745" y="6177"/>
                </a:lnTo>
                <a:lnTo>
                  <a:pt x="10744" y="6193"/>
                </a:lnTo>
                <a:lnTo>
                  <a:pt x="10742" y="6201"/>
                </a:lnTo>
                <a:lnTo>
                  <a:pt x="10740" y="6209"/>
                </a:lnTo>
                <a:lnTo>
                  <a:pt x="10738" y="6217"/>
                </a:lnTo>
                <a:lnTo>
                  <a:pt x="10735" y="6224"/>
                </a:lnTo>
                <a:lnTo>
                  <a:pt x="10731" y="6231"/>
                </a:lnTo>
                <a:lnTo>
                  <a:pt x="10727" y="6239"/>
                </a:lnTo>
                <a:lnTo>
                  <a:pt x="10723" y="6245"/>
                </a:lnTo>
                <a:lnTo>
                  <a:pt x="10718" y="6250"/>
                </a:lnTo>
                <a:lnTo>
                  <a:pt x="10712" y="6254"/>
                </a:lnTo>
                <a:lnTo>
                  <a:pt x="10705" y="6258"/>
                </a:lnTo>
                <a:lnTo>
                  <a:pt x="10698" y="6261"/>
                </a:lnTo>
                <a:lnTo>
                  <a:pt x="10690" y="6263"/>
                </a:lnTo>
                <a:lnTo>
                  <a:pt x="10682" y="6264"/>
                </a:lnTo>
                <a:lnTo>
                  <a:pt x="10673" y="6264"/>
                </a:lnTo>
                <a:lnTo>
                  <a:pt x="10663" y="6262"/>
                </a:lnTo>
                <a:lnTo>
                  <a:pt x="10652" y="6259"/>
                </a:lnTo>
                <a:lnTo>
                  <a:pt x="10649" y="6217"/>
                </a:lnTo>
                <a:lnTo>
                  <a:pt x="10644" y="6172"/>
                </a:lnTo>
                <a:lnTo>
                  <a:pt x="10644" y="6162"/>
                </a:lnTo>
                <a:lnTo>
                  <a:pt x="10646" y="6153"/>
                </a:lnTo>
                <a:lnTo>
                  <a:pt x="10649" y="6144"/>
                </a:lnTo>
                <a:lnTo>
                  <a:pt x="10653" y="6137"/>
                </a:lnTo>
                <a:lnTo>
                  <a:pt x="10655" y="6134"/>
                </a:lnTo>
                <a:lnTo>
                  <a:pt x="10658" y="6131"/>
                </a:lnTo>
                <a:lnTo>
                  <a:pt x="10661" y="6128"/>
                </a:lnTo>
                <a:lnTo>
                  <a:pt x="10665" y="6126"/>
                </a:lnTo>
                <a:lnTo>
                  <a:pt x="10669" y="6124"/>
                </a:lnTo>
                <a:lnTo>
                  <a:pt x="10673" y="6123"/>
                </a:lnTo>
                <a:lnTo>
                  <a:pt x="10678" y="6122"/>
                </a:lnTo>
                <a:lnTo>
                  <a:pt x="10684" y="6122"/>
                </a:lnTo>
                <a:close/>
                <a:moveTo>
                  <a:pt x="10663" y="5973"/>
                </a:moveTo>
                <a:lnTo>
                  <a:pt x="10680" y="5980"/>
                </a:lnTo>
                <a:lnTo>
                  <a:pt x="10694" y="5984"/>
                </a:lnTo>
                <a:lnTo>
                  <a:pt x="10700" y="5986"/>
                </a:lnTo>
                <a:lnTo>
                  <a:pt x="10706" y="5986"/>
                </a:lnTo>
                <a:lnTo>
                  <a:pt x="10711" y="5986"/>
                </a:lnTo>
                <a:lnTo>
                  <a:pt x="10715" y="5984"/>
                </a:lnTo>
                <a:lnTo>
                  <a:pt x="10719" y="5982"/>
                </a:lnTo>
                <a:lnTo>
                  <a:pt x="10722" y="5980"/>
                </a:lnTo>
                <a:lnTo>
                  <a:pt x="10724" y="5977"/>
                </a:lnTo>
                <a:lnTo>
                  <a:pt x="10726" y="5973"/>
                </a:lnTo>
                <a:lnTo>
                  <a:pt x="10727" y="5969"/>
                </a:lnTo>
                <a:lnTo>
                  <a:pt x="10727" y="5964"/>
                </a:lnTo>
                <a:lnTo>
                  <a:pt x="10727" y="5958"/>
                </a:lnTo>
                <a:lnTo>
                  <a:pt x="10726" y="5952"/>
                </a:lnTo>
                <a:lnTo>
                  <a:pt x="10736" y="5956"/>
                </a:lnTo>
                <a:lnTo>
                  <a:pt x="10744" y="5961"/>
                </a:lnTo>
                <a:lnTo>
                  <a:pt x="10746" y="5964"/>
                </a:lnTo>
                <a:lnTo>
                  <a:pt x="10748" y="5966"/>
                </a:lnTo>
                <a:lnTo>
                  <a:pt x="10750" y="5969"/>
                </a:lnTo>
                <a:lnTo>
                  <a:pt x="10751" y="5972"/>
                </a:lnTo>
                <a:lnTo>
                  <a:pt x="10752" y="5978"/>
                </a:lnTo>
                <a:lnTo>
                  <a:pt x="10750" y="5986"/>
                </a:lnTo>
                <a:lnTo>
                  <a:pt x="10748" y="5993"/>
                </a:lnTo>
                <a:lnTo>
                  <a:pt x="10744" y="6000"/>
                </a:lnTo>
                <a:lnTo>
                  <a:pt x="10734" y="6016"/>
                </a:lnTo>
                <a:lnTo>
                  <a:pt x="10722" y="6033"/>
                </a:lnTo>
                <a:lnTo>
                  <a:pt x="10717" y="6042"/>
                </a:lnTo>
                <a:lnTo>
                  <a:pt x="10712" y="6051"/>
                </a:lnTo>
                <a:lnTo>
                  <a:pt x="10708" y="6060"/>
                </a:lnTo>
                <a:lnTo>
                  <a:pt x="10705" y="6069"/>
                </a:lnTo>
                <a:lnTo>
                  <a:pt x="10694" y="6057"/>
                </a:lnTo>
                <a:lnTo>
                  <a:pt x="10687" y="6047"/>
                </a:lnTo>
                <a:lnTo>
                  <a:pt x="10682" y="6038"/>
                </a:lnTo>
                <a:lnTo>
                  <a:pt x="10679" y="6028"/>
                </a:lnTo>
                <a:lnTo>
                  <a:pt x="10673" y="6006"/>
                </a:lnTo>
                <a:lnTo>
                  <a:pt x="10663" y="5973"/>
                </a:lnTo>
                <a:close/>
                <a:moveTo>
                  <a:pt x="10768" y="6503"/>
                </a:moveTo>
                <a:lnTo>
                  <a:pt x="10768" y="6495"/>
                </a:lnTo>
                <a:lnTo>
                  <a:pt x="10768" y="6486"/>
                </a:lnTo>
                <a:lnTo>
                  <a:pt x="10768" y="6478"/>
                </a:lnTo>
                <a:lnTo>
                  <a:pt x="10768" y="6470"/>
                </a:lnTo>
                <a:lnTo>
                  <a:pt x="10776" y="6473"/>
                </a:lnTo>
                <a:lnTo>
                  <a:pt x="10784" y="6477"/>
                </a:lnTo>
                <a:lnTo>
                  <a:pt x="10792" y="6483"/>
                </a:lnTo>
                <a:lnTo>
                  <a:pt x="10801" y="6491"/>
                </a:lnTo>
                <a:lnTo>
                  <a:pt x="10810" y="6500"/>
                </a:lnTo>
                <a:lnTo>
                  <a:pt x="10819" y="6510"/>
                </a:lnTo>
                <a:lnTo>
                  <a:pt x="10828" y="6521"/>
                </a:lnTo>
                <a:lnTo>
                  <a:pt x="10837" y="6533"/>
                </a:lnTo>
                <a:lnTo>
                  <a:pt x="10855" y="6560"/>
                </a:lnTo>
                <a:lnTo>
                  <a:pt x="10874" y="6591"/>
                </a:lnTo>
                <a:lnTo>
                  <a:pt x="10892" y="6624"/>
                </a:lnTo>
                <a:lnTo>
                  <a:pt x="10910" y="6658"/>
                </a:lnTo>
                <a:lnTo>
                  <a:pt x="10926" y="6692"/>
                </a:lnTo>
                <a:lnTo>
                  <a:pt x="10940" y="6726"/>
                </a:lnTo>
                <a:lnTo>
                  <a:pt x="10953" y="6760"/>
                </a:lnTo>
                <a:lnTo>
                  <a:pt x="10964" y="6792"/>
                </a:lnTo>
                <a:lnTo>
                  <a:pt x="10972" y="6820"/>
                </a:lnTo>
                <a:lnTo>
                  <a:pt x="10978" y="6846"/>
                </a:lnTo>
                <a:lnTo>
                  <a:pt x="10980" y="6857"/>
                </a:lnTo>
                <a:lnTo>
                  <a:pt x="10981" y="6868"/>
                </a:lnTo>
                <a:lnTo>
                  <a:pt x="10981" y="6877"/>
                </a:lnTo>
                <a:lnTo>
                  <a:pt x="10980" y="6884"/>
                </a:lnTo>
                <a:lnTo>
                  <a:pt x="11002" y="6884"/>
                </a:lnTo>
                <a:lnTo>
                  <a:pt x="11024" y="6883"/>
                </a:lnTo>
                <a:lnTo>
                  <a:pt x="11047" y="6881"/>
                </a:lnTo>
                <a:lnTo>
                  <a:pt x="11067" y="6880"/>
                </a:lnTo>
                <a:lnTo>
                  <a:pt x="11087" y="6880"/>
                </a:lnTo>
                <a:lnTo>
                  <a:pt x="11105" y="6880"/>
                </a:lnTo>
                <a:lnTo>
                  <a:pt x="11123" y="6881"/>
                </a:lnTo>
                <a:lnTo>
                  <a:pt x="11138" y="6884"/>
                </a:lnTo>
                <a:lnTo>
                  <a:pt x="11139" y="6890"/>
                </a:lnTo>
                <a:lnTo>
                  <a:pt x="11140" y="6896"/>
                </a:lnTo>
                <a:lnTo>
                  <a:pt x="11142" y="6902"/>
                </a:lnTo>
                <a:lnTo>
                  <a:pt x="11144" y="6907"/>
                </a:lnTo>
                <a:lnTo>
                  <a:pt x="11147" y="6912"/>
                </a:lnTo>
                <a:lnTo>
                  <a:pt x="11150" y="6917"/>
                </a:lnTo>
                <a:lnTo>
                  <a:pt x="11156" y="6922"/>
                </a:lnTo>
                <a:lnTo>
                  <a:pt x="11160" y="6926"/>
                </a:lnTo>
                <a:lnTo>
                  <a:pt x="11171" y="6934"/>
                </a:lnTo>
                <a:lnTo>
                  <a:pt x="11183" y="6941"/>
                </a:lnTo>
                <a:lnTo>
                  <a:pt x="11196" y="6947"/>
                </a:lnTo>
                <a:lnTo>
                  <a:pt x="11210" y="6952"/>
                </a:lnTo>
                <a:lnTo>
                  <a:pt x="11225" y="6957"/>
                </a:lnTo>
                <a:lnTo>
                  <a:pt x="11241" y="6961"/>
                </a:lnTo>
                <a:lnTo>
                  <a:pt x="11256" y="6964"/>
                </a:lnTo>
                <a:lnTo>
                  <a:pt x="11271" y="6966"/>
                </a:lnTo>
                <a:lnTo>
                  <a:pt x="11301" y="6970"/>
                </a:lnTo>
                <a:lnTo>
                  <a:pt x="11326" y="6971"/>
                </a:lnTo>
                <a:lnTo>
                  <a:pt x="11343" y="6972"/>
                </a:lnTo>
                <a:lnTo>
                  <a:pt x="11363" y="6972"/>
                </a:lnTo>
                <a:lnTo>
                  <a:pt x="11385" y="6972"/>
                </a:lnTo>
                <a:lnTo>
                  <a:pt x="11411" y="6970"/>
                </a:lnTo>
                <a:lnTo>
                  <a:pt x="11436" y="6968"/>
                </a:lnTo>
                <a:lnTo>
                  <a:pt x="11463" y="6965"/>
                </a:lnTo>
                <a:lnTo>
                  <a:pt x="11490" y="6961"/>
                </a:lnTo>
                <a:lnTo>
                  <a:pt x="11516" y="6955"/>
                </a:lnTo>
                <a:lnTo>
                  <a:pt x="11543" y="6948"/>
                </a:lnTo>
                <a:lnTo>
                  <a:pt x="11567" y="6940"/>
                </a:lnTo>
                <a:lnTo>
                  <a:pt x="11578" y="6935"/>
                </a:lnTo>
                <a:lnTo>
                  <a:pt x="11588" y="6930"/>
                </a:lnTo>
                <a:lnTo>
                  <a:pt x="11598" y="6924"/>
                </a:lnTo>
                <a:lnTo>
                  <a:pt x="11608" y="6918"/>
                </a:lnTo>
                <a:lnTo>
                  <a:pt x="11616" y="6912"/>
                </a:lnTo>
                <a:lnTo>
                  <a:pt x="11624" y="6905"/>
                </a:lnTo>
                <a:lnTo>
                  <a:pt x="11630" y="6898"/>
                </a:lnTo>
                <a:lnTo>
                  <a:pt x="11636" y="6890"/>
                </a:lnTo>
                <a:lnTo>
                  <a:pt x="11640" y="6881"/>
                </a:lnTo>
                <a:lnTo>
                  <a:pt x="11643" y="6872"/>
                </a:lnTo>
                <a:lnTo>
                  <a:pt x="11645" y="6861"/>
                </a:lnTo>
                <a:lnTo>
                  <a:pt x="11646" y="6851"/>
                </a:lnTo>
                <a:lnTo>
                  <a:pt x="11659" y="6852"/>
                </a:lnTo>
                <a:lnTo>
                  <a:pt x="11670" y="6853"/>
                </a:lnTo>
                <a:lnTo>
                  <a:pt x="11681" y="6856"/>
                </a:lnTo>
                <a:lnTo>
                  <a:pt x="11691" y="6859"/>
                </a:lnTo>
                <a:lnTo>
                  <a:pt x="11701" y="6864"/>
                </a:lnTo>
                <a:lnTo>
                  <a:pt x="11711" y="6870"/>
                </a:lnTo>
                <a:lnTo>
                  <a:pt x="11719" y="6876"/>
                </a:lnTo>
                <a:lnTo>
                  <a:pt x="11727" y="6883"/>
                </a:lnTo>
                <a:lnTo>
                  <a:pt x="11734" y="6891"/>
                </a:lnTo>
                <a:lnTo>
                  <a:pt x="11741" y="6900"/>
                </a:lnTo>
                <a:lnTo>
                  <a:pt x="11746" y="6909"/>
                </a:lnTo>
                <a:lnTo>
                  <a:pt x="11750" y="6920"/>
                </a:lnTo>
                <a:lnTo>
                  <a:pt x="11752" y="6931"/>
                </a:lnTo>
                <a:lnTo>
                  <a:pt x="11754" y="6942"/>
                </a:lnTo>
                <a:lnTo>
                  <a:pt x="11754" y="6955"/>
                </a:lnTo>
                <a:lnTo>
                  <a:pt x="11752" y="6968"/>
                </a:lnTo>
                <a:lnTo>
                  <a:pt x="11795" y="6971"/>
                </a:lnTo>
                <a:lnTo>
                  <a:pt x="11860" y="6975"/>
                </a:lnTo>
                <a:lnTo>
                  <a:pt x="11898" y="6978"/>
                </a:lnTo>
                <a:lnTo>
                  <a:pt x="11939" y="6981"/>
                </a:lnTo>
                <a:lnTo>
                  <a:pt x="11981" y="6985"/>
                </a:lnTo>
                <a:lnTo>
                  <a:pt x="12023" y="6990"/>
                </a:lnTo>
                <a:lnTo>
                  <a:pt x="12065" y="6997"/>
                </a:lnTo>
                <a:lnTo>
                  <a:pt x="12103" y="7004"/>
                </a:lnTo>
                <a:lnTo>
                  <a:pt x="12121" y="7007"/>
                </a:lnTo>
                <a:lnTo>
                  <a:pt x="12137" y="7012"/>
                </a:lnTo>
                <a:lnTo>
                  <a:pt x="12153" y="7016"/>
                </a:lnTo>
                <a:lnTo>
                  <a:pt x="12168" y="7021"/>
                </a:lnTo>
                <a:lnTo>
                  <a:pt x="12181" y="7026"/>
                </a:lnTo>
                <a:lnTo>
                  <a:pt x="12193" y="7032"/>
                </a:lnTo>
                <a:lnTo>
                  <a:pt x="12202" y="7038"/>
                </a:lnTo>
                <a:lnTo>
                  <a:pt x="12210" y="7044"/>
                </a:lnTo>
                <a:lnTo>
                  <a:pt x="12215" y="7051"/>
                </a:lnTo>
                <a:lnTo>
                  <a:pt x="12218" y="7058"/>
                </a:lnTo>
                <a:lnTo>
                  <a:pt x="12219" y="7066"/>
                </a:lnTo>
                <a:lnTo>
                  <a:pt x="12218" y="7074"/>
                </a:lnTo>
                <a:lnTo>
                  <a:pt x="12223" y="7074"/>
                </a:lnTo>
                <a:lnTo>
                  <a:pt x="12229" y="7075"/>
                </a:lnTo>
                <a:lnTo>
                  <a:pt x="12234" y="7076"/>
                </a:lnTo>
                <a:lnTo>
                  <a:pt x="12239" y="7078"/>
                </a:lnTo>
                <a:lnTo>
                  <a:pt x="12248" y="7083"/>
                </a:lnTo>
                <a:lnTo>
                  <a:pt x="12257" y="7090"/>
                </a:lnTo>
                <a:lnTo>
                  <a:pt x="12265" y="7098"/>
                </a:lnTo>
                <a:lnTo>
                  <a:pt x="12272" y="7107"/>
                </a:lnTo>
                <a:lnTo>
                  <a:pt x="12280" y="7117"/>
                </a:lnTo>
                <a:lnTo>
                  <a:pt x="12288" y="7127"/>
                </a:lnTo>
                <a:lnTo>
                  <a:pt x="12295" y="7137"/>
                </a:lnTo>
                <a:lnTo>
                  <a:pt x="12302" y="7147"/>
                </a:lnTo>
                <a:lnTo>
                  <a:pt x="12310" y="7156"/>
                </a:lnTo>
                <a:lnTo>
                  <a:pt x="12318" y="7164"/>
                </a:lnTo>
                <a:lnTo>
                  <a:pt x="12326" y="7170"/>
                </a:lnTo>
                <a:lnTo>
                  <a:pt x="12335" y="7176"/>
                </a:lnTo>
                <a:lnTo>
                  <a:pt x="12340" y="7177"/>
                </a:lnTo>
                <a:lnTo>
                  <a:pt x="12345" y="7179"/>
                </a:lnTo>
                <a:lnTo>
                  <a:pt x="12350" y="7180"/>
                </a:lnTo>
                <a:lnTo>
                  <a:pt x="12356" y="7180"/>
                </a:lnTo>
                <a:lnTo>
                  <a:pt x="12355" y="7187"/>
                </a:lnTo>
                <a:lnTo>
                  <a:pt x="12354" y="7195"/>
                </a:lnTo>
                <a:lnTo>
                  <a:pt x="12355" y="7203"/>
                </a:lnTo>
                <a:lnTo>
                  <a:pt x="12355" y="7212"/>
                </a:lnTo>
                <a:lnTo>
                  <a:pt x="12358" y="7231"/>
                </a:lnTo>
                <a:lnTo>
                  <a:pt x="12363" y="7253"/>
                </a:lnTo>
                <a:lnTo>
                  <a:pt x="12369" y="7274"/>
                </a:lnTo>
                <a:lnTo>
                  <a:pt x="12377" y="7296"/>
                </a:lnTo>
                <a:lnTo>
                  <a:pt x="12386" y="7318"/>
                </a:lnTo>
                <a:lnTo>
                  <a:pt x="12395" y="7339"/>
                </a:lnTo>
                <a:lnTo>
                  <a:pt x="12406" y="7360"/>
                </a:lnTo>
                <a:lnTo>
                  <a:pt x="12419" y="7381"/>
                </a:lnTo>
                <a:lnTo>
                  <a:pt x="12431" y="7398"/>
                </a:lnTo>
                <a:lnTo>
                  <a:pt x="12443" y="7414"/>
                </a:lnTo>
                <a:lnTo>
                  <a:pt x="12450" y="7420"/>
                </a:lnTo>
                <a:lnTo>
                  <a:pt x="12456" y="7426"/>
                </a:lnTo>
                <a:lnTo>
                  <a:pt x="12462" y="7432"/>
                </a:lnTo>
                <a:lnTo>
                  <a:pt x="12468" y="7436"/>
                </a:lnTo>
                <a:lnTo>
                  <a:pt x="12475" y="7440"/>
                </a:lnTo>
                <a:lnTo>
                  <a:pt x="12481" y="7442"/>
                </a:lnTo>
                <a:lnTo>
                  <a:pt x="12487" y="7444"/>
                </a:lnTo>
                <a:lnTo>
                  <a:pt x="12493" y="7444"/>
                </a:lnTo>
                <a:lnTo>
                  <a:pt x="12494" y="7457"/>
                </a:lnTo>
                <a:lnTo>
                  <a:pt x="12495" y="7470"/>
                </a:lnTo>
                <a:lnTo>
                  <a:pt x="12497" y="7485"/>
                </a:lnTo>
                <a:lnTo>
                  <a:pt x="12500" y="7501"/>
                </a:lnTo>
                <a:lnTo>
                  <a:pt x="12504" y="7516"/>
                </a:lnTo>
                <a:lnTo>
                  <a:pt x="12508" y="7532"/>
                </a:lnTo>
                <a:lnTo>
                  <a:pt x="12514" y="7548"/>
                </a:lnTo>
                <a:lnTo>
                  <a:pt x="12520" y="7564"/>
                </a:lnTo>
                <a:lnTo>
                  <a:pt x="12526" y="7579"/>
                </a:lnTo>
                <a:lnTo>
                  <a:pt x="12533" y="7595"/>
                </a:lnTo>
                <a:lnTo>
                  <a:pt x="12542" y="7609"/>
                </a:lnTo>
                <a:lnTo>
                  <a:pt x="12551" y="7624"/>
                </a:lnTo>
                <a:lnTo>
                  <a:pt x="12559" y="7637"/>
                </a:lnTo>
                <a:lnTo>
                  <a:pt x="12569" y="7648"/>
                </a:lnTo>
                <a:lnTo>
                  <a:pt x="12579" y="7658"/>
                </a:lnTo>
                <a:lnTo>
                  <a:pt x="12589" y="7667"/>
                </a:lnTo>
                <a:lnTo>
                  <a:pt x="12595" y="7685"/>
                </a:lnTo>
                <a:lnTo>
                  <a:pt x="12603" y="7705"/>
                </a:lnTo>
                <a:lnTo>
                  <a:pt x="12612" y="7726"/>
                </a:lnTo>
                <a:lnTo>
                  <a:pt x="12623" y="7750"/>
                </a:lnTo>
                <a:lnTo>
                  <a:pt x="12634" y="7774"/>
                </a:lnTo>
                <a:lnTo>
                  <a:pt x="12647" y="7799"/>
                </a:lnTo>
                <a:lnTo>
                  <a:pt x="12661" y="7824"/>
                </a:lnTo>
                <a:lnTo>
                  <a:pt x="12676" y="7849"/>
                </a:lnTo>
                <a:lnTo>
                  <a:pt x="12692" y="7873"/>
                </a:lnTo>
                <a:lnTo>
                  <a:pt x="12708" y="7898"/>
                </a:lnTo>
                <a:lnTo>
                  <a:pt x="12724" y="7920"/>
                </a:lnTo>
                <a:lnTo>
                  <a:pt x="12741" y="7941"/>
                </a:lnTo>
                <a:lnTo>
                  <a:pt x="12758" y="7961"/>
                </a:lnTo>
                <a:lnTo>
                  <a:pt x="12775" y="7978"/>
                </a:lnTo>
                <a:lnTo>
                  <a:pt x="12784" y="7986"/>
                </a:lnTo>
                <a:lnTo>
                  <a:pt x="12794" y="7993"/>
                </a:lnTo>
                <a:lnTo>
                  <a:pt x="12802" y="7999"/>
                </a:lnTo>
                <a:lnTo>
                  <a:pt x="12811" y="8006"/>
                </a:lnTo>
                <a:lnTo>
                  <a:pt x="12808" y="8013"/>
                </a:lnTo>
                <a:lnTo>
                  <a:pt x="12805" y="8020"/>
                </a:lnTo>
                <a:lnTo>
                  <a:pt x="12803" y="8026"/>
                </a:lnTo>
                <a:lnTo>
                  <a:pt x="12802" y="8033"/>
                </a:lnTo>
                <a:lnTo>
                  <a:pt x="12802" y="8040"/>
                </a:lnTo>
                <a:lnTo>
                  <a:pt x="12802" y="8046"/>
                </a:lnTo>
                <a:lnTo>
                  <a:pt x="12803" y="8053"/>
                </a:lnTo>
                <a:lnTo>
                  <a:pt x="12804" y="8060"/>
                </a:lnTo>
                <a:lnTo>
                  <a:pt x="12808" y="8073"/>
                </a:lnTo>
                <a:lnTo>
                  <a:pt x="12814" y="8085"/>
                </a:lnTo>
                <a:lnTo>
                  <a:pt x="12821" y="8098"/>
                </a:lnTo>
                <a:lnTo>
                  <a:pt x="12829" y="8111"/>
                </a:lnTo>
                <a:lnTo>
                  <a:pt x="12847" y="8137"/>
                </a:lnTo>
                <a:lnTo>
                  <a:pt x="12866" y="8163"/>
                </a:lnTo>
                <a:lnTo>
                  <a:pt x="12875" y="8176"/>
                </a:lnTo>
                <a:lnTo>
                  <a:pt x="12883" y="8189"/>
                </a:lnTo>
                <a:lnTo>
                  <a:pt x="12890" y="8203"/>
                </a:lnTo>
                <a:lnTo>
                  <a:pt x="12895" y="8217"/>
                </a:lnTo>
                <a:lnTo>
                  <a:pt x="12894" y="8221"/>
                </a:lnTo>
                <a:lnTo>
                  <a:pt x="12896" y="8234"/>
                </a:lnTo>
                <a:lnTo>
                  <a:pt x="12901" y="8252"/>
                </a:lnTo>
                <a:lnTo>
                  <a:pt x="12907" y="8275"/>
                </a:lnTo>
                <a:lnTo>
                  <a:pt x="12917" y="8297"/>
                </a:lnTo>
                <a:lnTo>
                  <a:pt x="12926" y="8317"/>
                </a:lnTo>
                <a:lnTo>
                  <a:pt x="12932" y="8326"/>
                </a:lnTo>
                <a:lnTo>
                  <a:pt x="12937" y="8334"/>
                </a:lnTo>
                <a:lnTo>
                  <a:pt x="12943" y="8340"/>
                </a:lnTo>
                <a:lnTo>
                  <a:pt x="12948" y="8344"/>
                </a:lnTo>
                <a:lnTo>
                  <a:pt x="12949" y="8351"/>
                </a:lnTo>
                <a:lnTo>
                  <a:pt x="12950" y="8360"/>
                </a:lnTo>
                <a:lnTo>
                  <a:pt x="12952" y="8370"/>
                </a:lnTo>
                <a:lnTo>
                  <a:pt x="12955" y="8382"/>
                </a:lnTo>
                <a:lnTo>
                  <a:pt x="12963" y="8407"/>
                </a:lnTo>
                <a:lnTo>
                  <a:pt x="12974" y="8435"/>
                </a:lnTo>
                <a:lnTo>
                  <a:pt x="12987" y="8466"/>
                </a:lnTo>
                <a:lnTo>
                  <a:pt x="13002" y="8497"/>
                </a:lnTo>
                <a:lnTo>
                  <a:pt x="13019" y="8531"/>
                </a:lnTo>
                <a:lnTo>
                  <a:pt x="13037" y="8563"/>
                </a:lnTo>
                <a:lnTo>
                  <a:pt x="13057" y="8594"/>
                </a:lnTo>
                <a:lnTo>
                  <a:pt x="13077" y="8624"/>
                </a:lnTo>
                <a:lnTo>
                  <a:pt x="13097" y="8652"/>
                </a:lnTo>
                <a:lnTo>
                  <a:pt x="13117" y="8676"/>
                </a:lnTo>
                <a:lnTo>
                  <a:pt x="13127" y="8687"/>
                </a:lnTo>
                <a:lnTo>
                  <a:pt x="13137" y="8696"/>
                </a:lnTo>
                <a:lnTo>
                  <a:pt x="13147" y="8705"/>
                </a:lnTo>
                <a:lnTo>
                  <a:pt x="13156" y="8712"/>
                </a:lnTo>
                <a:lnTo>
                  <a:pt x="13165" y="8717"/>
                </a:lnTo>
                <a:lnTo>
                  <a:pt x="13175" y="8721"/>
                </a:lnTo>
                <a:lnTo>
                  <a:pt x="13184" y="8724"/>
                </a:lnTo>
                <a:lnTo>
                  <a:pt x="13192" y="8725"/>
                </a:lnTo>
                <a:lnTo>
                  <a:pt x="13192" y="8731"/>
                </a:lnTo>
                <a:lnTo>
                  <a:pt x="13190" y="8738"/>
                </a:lnTo>
                <a:lnTo>
                  <a:pt x="13187" y="8744"/>
                </a:lnTo>
                <a:lnTo>
                  <a:pt x="13183" y="8749"/>
                </a:lnTo>
                <a:lnTo>
                  <a:pt x="13175" y="8760"/>
                </a:lnTo>
                <a:lnTo>
                  <a:pt x="13168" y="8768"/>
                </a:lnTo>
                <a:lnTo>
                  <a:pt x="13165" y="8771"/>
                </a:lnTo>
                <a:lnTo>
                  <a:pt x="13165" y="8774"/>
                </a:lnTo>
                <a:lnTo>
                  <a:pt x="13168" y="8777"/>
                </a:lnTo>
                <a:lnTo>
                  <a:pt x="13172" y="8780"/>
                </a:lnTo>
                <a:lnTo>
                  <a:pt x="13179" y="8782"/>
                </a:lnTo>
                <a:lnTo>
                  <a:pt x="13190" y="8784"/>
                </a:lnTo>
                <a:lnTo>
                  <a:pt x="13205" y="8786"/>
                </a:lnTo>
                <a:lnTo>
                  <a:pt x="13223" y="8788"/>
                </a:lnTo>
                <a:lnTo>
                  <a:pt x="13248" y="8788"/>
                </a:lnTo>
                <a:lnTo>
                  <a:pt x="13287" y="8785"/>
                </a:lnTo>
                <a:lnTo>
                  <a:pt x="13307" y="8782"/>
                </a:lnTo>
                <a:lnTo>
                  <a:pt x="13324" y="8779"/>
                </a:lnTo>
                <a:lnTo>
                  <a:pt x="13331" y="8777"/>
                </a:lnTo>
                <a:lnTo>
                  <a:pt x="13336" y="8774"/>
                </a:lnTo>
                <a:lnTo>
                  <a:pt x="13339" y="8771"/>
                </a:lnTo>
                <a:lnTo>
                  <a:pt x="13340" y="8768"/>
                </a:lnTo>
                <a:lnTo>
                  <a:pt x="13376" y="8767"/>
                </a:lnTo>
                <a:lnTo>
                  <a:pt x="13413" y="8765"/>
                </a:lnTo>
                <a:lnTo>
                  <a:pt x="13454" y="8762"/>
                </a:lnTo>
                <a:lnTo>
                  <a:pt x="13494" y="8758"/>
                </a:lnTo>
                <a:lnTo>
                  <a:pt x="13534" y="8751"/>
                </a:lnTo>
                <a:lnTo>
                  <a:pt x="13574" y="8744"/>
                </a:lnTo>
                <a:lnTo>
                  <a:pt x="13593" y="8739"/>
                </a:lnTo>
                <a:lnTo>
                  <a:pt x="13612" y="8735"/>
                </a:lnTo>
                <a:lnTo>
                  <a:pt x="13629" y="8730"/>
                </a:lnTo>
                <a:lnTo>
                  <a:pt x="13647" y="8725"/>
                </a:lnTo>
                <a:lnTo>
                  <a:pt x="13646" y="8737"/>
                </a:lnTo>
                <a:lnTo>
                  <a:pt x="13645" y="8750"/>
                </a:lnTo>
                <a:lnTo>
                  <a:pt x="13644" y="8762"/>
                </a:lnTo>
                <a:lnTo>
                  <a:pt x="13642" y="8774"/>
                </a:lnTo>
                <a:lnTo>
                  <a:pt x="13636" y="8796"/>
                </a:lnTo>
                <a:lnTo>
                  <a:pt x="13629" y="8818"/>
                </a:lnTo>
                <a:lnTo>
                  <a:pt x="13621" y="8839"/>
                </a:lnTo>
                <a:lnTo>
                  <a:pt x="13612" y="8859"/>
                </a:lnTo>
                <a:lnTo>
                  <a:pt x="13602" y="8880"/>
                </a:lnTo>
                <a:lnTo>
                  <a:pt x="13592" y="8900"/>
                </a:lnTo>
                <a:lnTo>
                  <a:pt x="13583" y="8920"/>
                </a:lnTo>
                <a:lnTo>
                  <a:pt x="13574" y="8940"/>
                </a:lnTo>
                <a:lnTo>
                  <a:pt x="13566" y="8961"/>
                </a:lnTo>
                <a:lnTo>
                  <a:pt x="13559" y="8981"/>
                </a:lnTo>
                <a:lnTo>
                  <a:pt x="13556" y="8992"/>
                </a:lnTo>
                <a:lnTo>
                  <a:pt x="13554" y="9003"/>
                </a:lnTo>
                <a:lnTo>
                  <a:pt x="13552" y="9015"/>
                </a:lnTo>
                <a:lnTo>
                  <a:pt x="13551" y="9026"/>
                </a:lnTo>
                <a:lnTo>
                  <a:pt x="13550" y="9038"/>
                </a:lnTo>
                <a:lnTo>
                  <a:pt x="13550" y="9050"/>
                </a:lnTo>
                <a:lnTo>
                  <a:pt x="13551" y="9062"/>
                </a:lnTo>
                <a:lnTo>
                  <a:pt x="13552" y="9074"/>
                </a:lnTo>
                <a:lnTo>
                  <a:pt x="13538" y="9075"/>
                </a:lnTo>
                <a:lnTo>
                  <a:pt x="13528" y="9078"/>
                </a:lnTo>
                <a:lnTo>
                  <a:pt x="13523" y="9080"/>
                </a:lnTo>
                <a:lnTo>
                  <a:pt x="13519" y="9082"/>
                </a:lnTo>
                <a:lnTo>
                  <a:pt x="13516" y="9084"/>
                </a:lnTo>
                <a:lnTo>
                  <a:pt x="13513" y="9087"/>
                </a:lnTo>
                <a:lnTo>
                  <a:pt x="13508" y="9093"/>
                </a:lnTo>
                <a:lnTo>
                  <a:pt x="13504" y="9100"/>
                </a:lnTo>
                <a:lnTo>
                  <a:pt x="13503" y="9108"/>
                </a:lnTo>
                <a:lnTo>
                  <a:pt x="13502" y="9117"/>
                </a:lnTo>
                <a:lnTo>
                  <a:pt x="13505" y="9152"/>
                </a:lnTo>
                <a:lnTo>
                  <a:pt x="13509" y="9180"/>
                </a:lnTo>
                <a:lnTo>
                  <a:pt x="13500" y="9186"/>
                </a:lnTo>
                <a:lnTo>
                  <a:pt x="13492" y="9193"/>
                </a:lnTo>
                <a:lnTo>
                  <a:pt x="13485" y="9199"/>
                </a:lnTo>
                <a:lnTo>
                  <a:pt x="13478" y="9207"/>
                </a:lnTo>
                <a:lnTo>
                  <a:pt x="13466" y="9222"/>
                </a:lnTo>
                <a:lnTo>
                  <a:pt x="13455" y="9238"/>
                </a:lnTo>
                <a:lnTo>
                  <a:pt x="13443" y="9254"/>
                </a:lnTo>
                <a:lnTo>
                  <a:pt x="13430" y="9270"/>
                </a:lnTo>
                <a:lnTo>
                  <a:pt x="13422" y="9278"/>
                </a:lnTo>
                <a:lnTo>
                  <a:pt x="13413" y="9284"/>
                </a:lnTo>
                <a:lnTo>
                  <a:pt x="13403" y="9291"/>
                </a:lnTo>
                <a:lnTo>
                  <a:pt x="13393" y="9297"/>
                </a:lnTo>
                <a:lnTo>
                  <a:pt x="13392" y="9302"/>
                </a:lnTo>
                <a:lnTo>
                  <a:pt x="13391" y="9309"/>
                </a:lnTo>
                <a:lnTo>
                  <a:pt x="13389" y="9315"/>
                </a:lnTo>
                <a:lnTo>
                  <a:pt x="13387" y="9321"/>
                </a:lnTo>
                <a:lnTo>
                  <a:pt x="13380" y="9335"/>
                </a:lnTo>
                <a:lnTo>
                  <a:pt x="13371" y="9348"/>
                </a:lnTo>
                <a:lnTo>
                  <a:pt x="13360" y="9363"/>
                </a:lnTo>
                <a:lnTo>
                  <a:pt x="13347" y="9377"/>
                </a:lnTo>
                <a:lnTo>
                  <a:pt x="13334" y="9393"/>
                </a:lnTo>
                <a:lnTo>
                  <a:pt x="13319" y="9408"/>
                </a:lnTo>
                <a:lnTo>
                  <a:pt x="13289" y="9437"/>
                </a:lnTo>
                <a:lnTo>
                  <a:pt x="13260" y="9465"/>
                </a:lnTo>
                <a:lnTo>
                  <a:pt x="13246" y="9478"/>
                </a:lnTo>
                <a:lnTo>
                  <a:pt x="13234" y="9490"/>
                </a:lnTo>
                <a:lnTo>
                  <a:pt x="13224" y="9501"/>
                </a:lnTo>
                <a:lnTo>
                  <a:pt x="13215" y="9512"/>
                </a:lnTo>
                <a:lnTo>
                  <a:pt x="13206" y="9524"/>
                </a:lnTo>
                <a:lnTo>
                  <a:pt x="13194" y="9536"/>
                </a:lnTo>
                <a:lnTo>
                  <a:pt x="13181" y="9550"/>
                </a:lnTo>
                <a:lnTo>
                  <a:pt x="13166" y="9563"/>
                </a:lnTo>
                <a:lnTo>
                  <a:pt x="13136" y="9593"/>
                </a:lnTo>
                <a:lnTo>
                  <a:pt x="13104" y="9624"/>
                </a:lnTo>
                <a:lnTo>
                  <a:pt x="13088" y="9640"/>
                </a:lnTo>
                <a:lnTo>
                  <a:pt x="13073" y="9656"/>
                </a:lnTo>
                <a:lnTo>
                  <a:pt x="13059" y="9672"/>
                </a:lnTo>
                <a:lnTo>
                  <a:pt x="13047" y="9688"/>
                </a:lnTo>
                <a:lnTo>
                  <a:pt x="13034" y="9703"/>
                </a:lnTo>
                <a:lnTo>
                  <a:pt x="13025" y="9718"/>
                </a:lnTo>
                <a:lnTo>
                  <a:pt x="13021" y="9726"/>
                </a:lnTo>
                <a:lnTo>
                  <a:pt x="13018" y="9733"/>
                </a:lnTo>
                <a:lnTo>
                  <a:pt x="13015" y="9740"/>
                </a:lnTo>
                <a:lnTo>
                  <a:pt x="13013" y="9747"/>
                </a:lnTo>
                <a:lnTo>
                  <a:pt x="13011" y="9747"/>
                </a:lnTo>
                <a:lnTo>
                  <a:pt x="13008" y="9750"/>
                </a:lnTo>
                <a:lnTo>
                  <a:pt x="13004" y="9754"/>
                </a:lnTo>
                <a:lnTo>
                  <a:pt x="12992" y="9766"/>
                </a:lnTo>
                <a:lnTo>
                  <a:pt x="12977" y="9783"/>
                </a:lnTo>
                <a:lnTo>
                  <a:pt x="12939" y="9825"/>
                </a:lnTo>
                <a:lnTo>
                  <a:pt x="12896" y="9875"/>
                </a:lnTo>
                <a:lnTo>
                  <a:pt x="12876" y="9902"/>
                </a:lnTo>
                <a:lnTo>
                  <a:pt x="12857" y="9927"/>
                </a:lnTo>
                <a:lnTo>
                  <a:pt x="12840" y="9950"/>
                </a:lnTo>
                <a:lnTo>
                  <a:pt x="12827" y="9971"/>
                </a:lnTo>
                <a:lnTo>
                  <a:pt x="12822" y="9981"/>
                </a:lnTo>
                <a:lnTo>
                  <a:pt x="12818" y="9990"/>
                </a:lnTo>
                <a:lnTo>
                  <a:pt x="12815" y="9997"/>
                </a:lnTo>
                <a:lnTo>
                  <a:pt x="12813" y="10003"/>
                </a:lnTo>
                <a:lnTo>
                  <a:pt x="12813" y="10009"/>
                </a:lnTo>
                <a:lnTo>
                  <a:pt x="12814" y="10012"/>
                </a:lnTo>
                <a:lnTo>
                  <a:pt x="12817" y="10015"/>
                </a:lnTo>
                <a:lnTo>
                  <a:pt x="12822" y="10016"/>
                </a:lnTo>
                <a:lnTo>
                  <a:pt x="12819" y="10052"/>
                </a:lnTo>
                <a:lnTo>
                  <a:pt x="12812" y="10113"/>
                </a:lnTo>
                <a:lnTo>
                  <a:pt x="12808" y="10151"/>
                </a:lnTo>
                <a:lnTo>
                  <a:pt x="12804" y="10190"/>
                </a:lnTo>
                <a:lnTo>
                  <a:pt x="12800" y="10232"/>
                </a:lnTo>
                <a:lnTo>
                  <a:pt x="12797" y="10275"/>
                </a:lnTo>
                <a:lnTo>
                  <a:pt x="12796" y="10316"/>
                </a:lnTo>
                <a:lnTo>
                  <a:pt x="12795" y="10355"/>
                </a:lnTo>
                <a:lnTo>
                  <a:pt x="12796" y="10374"/>
                </a:lnTo>
                <a:lnTo>
                  <a:pt x="12797" y="10392"/>
                </a:lnTo>
                <a:lnTo>
                  <a:pt x="12798" y="10410"/>
                </a:lnTo>
                <a:lnTo>
                  <a:pt x="12800" y="10425"/>
                </a:lnTo>
                <a:lnTo>
                  <a:pt x="12803" y="10440"/>
                </a:lnTo>
                <a:lnTo>
                  <a:pt x="12806" y="10453"/>
                </a:lnTo>
                <a:lnTo>
                  <a:pt x="12810" y="10464"/>
                </a:lnTo>
                <a:lnTo>
                  <a:pt x="12815" y="10474"/>
                </a:lnTo>
                <a:lnTo>
                  <a:pt x="12821" y="10481"/>
                </a:lnTo>
                <a:lnTo>
                  <a:pt x="12827" y="10487"/>
                </a:lnTo>
                <a:lnTo>
                  <a:pt x="12834" y="10491"/>
                </a:lnTo>
                <a:lnTo>
                  <a:pt x="12843" y="10492"/>
                </a:lnTo>
                <a:lnTo>
                  <a:pt x="12846" y="10519"/>
                </a:lnTo>
                <a:lnTo>
                  <a:pt x="12854" y="10569"/>
                </a:lnTo>
                <a:lnTo>
                  <a:pt x="12865" y="10632"/>
                </a:lnTo>
                <a:lnTo>
                  <a:pt x="12876" y="10702"/>
                </a:lnTo>
                <a:lnTo>
                  <a:pt x="12881" y="10736"/>
                </a:lnTo>
                <a:lnTo>
                  <a:pt x="12885" y="10769"/>
                </a:lnTo>
                <a:lnTo>
                  <a:pt x="12888" y="10801"/>
                </a:lnTo>
                <a:lnTo>
                  <a:pt x="12889" y="10828"/>
                </a:lnTo>
                <a:lnTo>
                  <a:pt x="12889" y="10840"/>
                </a:lnTo>
                <a:lnTo>
                  <a:pt x="12889" y="10851"/>
                </a:lnTo>
                <a:lnTo>
                  <a:pt x="12888" y="10860"/>
                </a:lnTo>
                <a:lnTo>
                  <a:pt x="12886" y="10869"/>
                </a:lnTo>
                <a:lnTo>
                  <a:pt x="12884" y="10875"/>
                </a:lnTo>
                <a:lnTo>
                  <a:pt x="12881" y="10880"/>
                </a:lnTo>
                <a:lnTo>
                  <a:pt x="12878" y="10883"/>
                </a:lnTo>
                <a:lnTo>
                  <a:pt x="12874" y="10884"/>
                </a:lnTo>
                <a:lnTo>
                  <a:pt x="12873" y="10905"/>
                </a:lnTo>
                <a:lnTo>
                  <a:pt x="12871" y="10925"/>
                </a:lnTo>
                <a:lnTo>
                  <a:pt x="12867" y="10944"/>
                </a:lnTo>
                <a:lnTo>
                  <a:pt x="12862" y="10962"/>
                </a:lnTo>
                <a:lnTo>
                  <a:pt x="12857" y="10980"/>
                </a:lnTo>
                <a:lnTo>
                  <a:pt x="12851" y="10997"/>
                </a:lnTo>
                <a:lnTo>
                  <a:pt x="12844" y="11013"/>
                </a:lnTo>
                <a:lnTo>
                  <a:pt x="12837" y="11030"/>
                </a:lnTo>
                <a:lnTo>
                  <a:pt x="12824" y="11062"/>
                </a:lnTo>
                <a:lnTo>
                  <a:pt x="12812" y="11093"/>
                </a:lnTo>
                <a:lnTo>
                  <a:pt x="12807" y="11109"/>
                </a:lnTo>
                <a:lnTo>
                  <a:pt x="12804" y="11125"/>
                </a:lnTo>
                <a:lnTo>
                  <a:pt x="12801" y="11141"/>
                </a:lnTo>
                <a:lnTo>
                  <a:pt x="12801" y="11159"/>
                </a:lnTo>
                <a:lnTo>
                  <a:pt x="12771" y="11176"/>
                </a:lnTo>
                <a:lnTo>
                  <a:pt x="12740" y="11192"/>
                </a:lnTo>
                <a:lnTo>
                  <a:pt x="12726" y="11200"/>
                </a:lnTo>
                <a:lnTo>
                  <a:pt x="12714" y="11210"/>
                </a:lnTo>
                <a:lnTo>
                  <a:pt x="12708" y="11215"/>
                </a:lnTo>
                <a:lnTo>
                  <a:pt x="12703" y="11220"/>
                </a:lnTo>
                <a:lnTo>
                  <a:pt x="12698" y="11226"/>
                </a:lnTo>
                <a:lnTo>
                  <a:pt x="12694" y="11233"/>
                </a:lnTo>
                <a:lnTo>
                  <a:pt x="12689" y="11233"/>
                </a:lnTo>
                <a:lnTo>
                  <a:pt x="12683" y="11234"/>
                </a:lnTo>
                <a:lnTo>
                  <a:pt x="12677" y="11236"/>
                </a:lnTo>
                <a:lnTo>
                  <a:pt x="12672" y="11239"/>
                </a:lnTo>
                <a:lnTo>
                  <a:pt x="12661" y="11245"/>
                </a:lnTo>
                <a:lnTo>
                  <a:pt x="12651" y="11254"/>
                </a:lnTo>
                <a:lnTo>
                  <a:pt x="12642" y="11265"/>
                </a:lnTo>
                <a:lnTo>
                  <a:pt x="12634" y="11276"/>
                </a:lnTo>
                <a:lnTo>
                  <a:pt x="12626" y="11289"/>
                </a:lnTo>
                <a:lnTo>
                  <a:pt x="12618" y="11302"/>
                </a:lnTo>
                <a:lnTo>
                  <a:pt x="12604" y="11327"/>
                </a:lnTo>
                <a:lnTo>
                  <a:pt x="12591" y="11349"/>
                </a:lnTo>
                <a:lnTo>
                  <a:pt x="12585" y="11358"/>
                </a:lnTo>
                <a:lnTo>
                  <a:pt x="12579" y="11365"/>
                </a:lnTo>
                <a:lnTo>
                  <a:pt x="12576" y="11367"/>
                </a:lnTo>
                <a:lnTo>
                  <a:pt x="12573" y="11369"/>
                </a:lnTo>
                <a:lnTo>
                  <a:pt x="12571" y="11370"/>
                </a:lnTo>
                <a:lnTo>
                  <a:pt x="12568" y="11371"/>
                </a:lnTo>
                <a:lnTo>
                  <a:pt x="12567" y="11397"/>
                </a:lnTo>
                <a:lnTo>
                  <a:pt x="12566" y="11425"/>
                </a:lnTo>
                <a:lnTo>
                  <a:pt x="12564" y="11450"/>
                </a:lnTo>
                <a:lnTo>
                  <a:pt x="12561" y="11475"/>
                </a:lnTo>
                <a:lnTo>
                  <a:pt x="12554" y="11525"/>
                </a:lnTo>
                <a:lnTo>
                  <a:pt x="12547" y="11575"/>
                </a:lnTo>
                <a:lnTo>
                  <a:pt x="12539" y="11625"/>
                </a:lnTo>
                <a:lnTo>
                  <a:pt x="12531" y="11678"/>
                </a:lnTo>
                <a:lnTo>
                  <a:pt x="12528" y="11706"/>
                </a:lnTo>
                <a:lnTo>
                  <a:pt x="12526" y="11734"/>
                </a:lnTo>
                <a:lnTo>
                  <a:pt x="12525" y="11763"/>
                </a:lnTo>
                <a:lnTo>
                  <a:pt x="12525" y="11794"/>
                </a:lnTo>
                <a:lnTo>
                  <a:pt x="12525" y="11795"/>
                </a:lnTo>
                <a:lnTo>
                  <a:pt x="12526" y="11797"/>
                </a:lnTo>
                <a:lnTo>
                  <a:pt x="12525" y="11800"/>
                </a:lnTo>
                <a:lnTo>
                  <a:pt x="12524" y="11804"/>
                </a:lnTo>
                <a:lnTo>
                  <a:pt x="12521" y="11816"/>
                </a:lnTo>
                <a:lnTo>
                  <a:pt x="12516" y="11831"/>
                </a:lnTo>
                <a:lnTo>
                  <a:pt x="12503" y="11870"/>
                </a:lnTo>
                <a:lnTo>
                  <a:pt x="12487" y="11915"/>
                </a:lnTo>
                <a:lnTo>
                  <a:pt x="12470" y="11961"/>
                </a:lnTo>
                <a:lnTo>
                  <a:pt x="12455" y="12001"/>
                </a:lnTo>
                <a:lnTo>
                  <a:pt x="12445" y="12032"/>
                </a:lnTo>
                <a:lnTo>
                  <a:pt x="12441" y="12048"/>
                </a:lnTo>
                <a:lnTo>
                  <a:pt x="12425" y="12059"/>
                </a:lnTo>
                <a:lnTo>
                  <a:pt x="12406" y="12074"/>
                </a:lnTo>
                <a:lnTo>
                  <a:pt x="12386" y="12090"/>
                </a:lnTo>
                <a:lnTo>
                  <a:pt x="12364" y="12109"/>
                </a:lnTo>
                <a:lnTo>
                  <a:pt x="12342" y="12130"/>
                </a:lnTo>
                <a:lnTo>
                  <a:pt x="12319" y="12152"/>
                </a:lnTo>
                <a:lnTo>
                  <a:pt x="12297" y="12176"/>
                </a:lnTo>
                <a:lnTo>
                  <a:pt x="12273" y="12200"/>
                </a:lnTo>
                <a:lnTo>
                  <a:pt x="12252" y="12225"/>
                </a:lnTo>
                <a:lnTo>
                  <a:pt x="12232" y="12250"/>
                </a:lnTo>
                <a:lnTo>
                  <a:pt x="12213" y="12275"/>
                </a:lnTo>
                <a:lnTo>
                  <a:pt x="12197" y="12300"/>
                </a:lnTo>
                <a:lnTo>
                  <a:pt x="12190" y="12312"/>
                </a:lnTo>
                <a:lnTo>
                  <a:pt x="12184" y="12324"/>
                </a:lnTo>
                <a:lnTo>
                  <a:pt x="12179" y="12335"/>
                </a:lnTo>
                <a:lnTo>
                  <a:pt x="12174" y="12346"/>
                </a:lnTo>
                <a:lnTo>
                  <a:pt x="12170" y="12357"/>
                </a:lnTo>
                <a:lnTo>
                  <a:pt x="12168" y="12367"/>
                </a:lnTo>
                <a:lnTo>
                  <a:pt x="12166" y="12377"/>
                </a:lnTo>
                <a:lnTo>
                  <a:pt x="12166" y="12386"/>
                </a:lnTo>
                <a:lnTo>
                  <a:pt x="12160" y="12395"/>
                </a:lnTo>
                <a:lnTo>
                  <a:pt x="12143" y="12418"/>
                </a:lnTo>
                <a:lnTo>
                  <a:pt x="12120" y="12450"/>
                </a:lnTo>
                <a:lnTo>
                  <a:pt x="12094" y="12487"/>
                </a:lnTo>
                <a:lnTo>
                  <a:pt x="12066" y="12526"/>
                </a:lnTo>
                <a:lnTo>
                  <a:pt x="12041" y="12563"/>
                </a:lnTo>
                <a:lnTo>
                  <a:pt x="12019" y="12591"/>
                </a:lnTo>
                <a:lnTo>
                  <a:pt x="12006" y="12609"/>
                </a:lnTo>
                <a:lnTo>
                  <a:pt x="11979" y="12611"/>
                </a:lnTo>
                <a:lnTo>
                  <a:pt x="11933" y="12619"/>
                </a:lnTo>
                <a:lnTo>
                  <a:pt x="11874" y="12629"/>
                </a:lnTo>
                <a:lnTo>
                  <a:pt x="11811" y="12642"/>
                </a:lnTo>
                <a:lnTo>
                  <a:pt x="11779" y="12649"/>
                </a:lnTo>
                <a:lnTo>
                  <a:pt x="11749" y="12656"/>
                </a:lnTo>
                <a:lnTo>
                  <a:pt x="11722" y="12664"/>
                </a:lnTo>
                <a:lnTo>
                  <a:pt x="11697" y="12670"/>
                </a:lnTo>
                <a:lnTo>
                  <a:pt x="11676" y="12677"/>
                </a:lnTo>
                <a:lnTo>
                  <a:pt x="11661" y="12683"/>
                </a:lnTo>
                <a:lnTo>
                  <a:pt x="11654" y="12686"/>
                </a:lnTo>
                <a:lnTo>
                  <a:pt x="11650" y="12689"/>
                </a:lnTo>
                <a:lnTo>
                  <a:pt x="11647" y="12691"/>
                </a:lnTo>
                <a:lnTo>
                  <a:pt x="11646" y="12694"/>
                </a:lnTo>
                <a:lnTo>
                  <a:pt x="11632" y="12694"/>
                </a:lnTo>
                <a:lnTo>
                  <a:pt x="11616" y="12696"/>
                </a:lnTo>
                <a:lnTo>
                  <a:pt x="11598" y="12698"/>
                </a:lnTo>
                <a:lnTo>
                  <a:pt x="11579" y="12701"/>
                </a:lnTo>
                <a:lnTo>
                  <a:pt x="11538" y="12707"/>
                </a:lnTo>
                <a:lnTo>
                  <a:pt x="11494" y="12713"/>
                </a:lnTo>
                <a:lnTo>
                  <a:pt x="11472" y="12714"/>
                </a:lnTo>
                <a:lnTo>
                  <a:pt x="11452" y="12715"/>
                </a:lnTo>
                <a:lnTo>
                  <a:pt x="11432" y="12714"/>
                </a:lnTo>
                <a:lnTo>
                  <a:pt x="11414" y="12712"/>
                </a:lnTo>
                <a:lnTo>
                  <a:pt x="11406" y="12710"/>
                </a:lnTo>
                <a:lnTo>
                  <a:pt x="11397" y="12708"/>
                </a:lnTo>
                <a:lnTo>
                  <a:pt x="11389" y="12706"/>
                </a:lnTo>
                <a:lnTo>
                  <a:pt x="11382" y="12702"/>
                </a:lnTo>
                <a:lnTo>
                  <a:pt x="11376" y="12699"/>
                </a:lnTo>
                <a:lnTo>
                  <a:pt x="11370" y="12694"/>
                </a:lnTo>
                <a:lnTo>
                  <a:pt x="11365" y="12689"/>
                </a:lnTo>
                <a:lnTo>
                  <a:pt x="11361" y="12683"/>
                </a:lnTo>
                <a:lnTo>
                  <a:pt x="11360" y="12671"/>
                </a:lnTo>
                <a:lnTo>
                  <a:pt x="11359" y="12657"/>
                </a:lnTo>
                <a:lnTo>
                  <a:pt x="11357" y="12643"/>
                </a:lnTo>
                <a:lnTo>
                  <a:pt x="11355" y="12629"/>
                </a:lnTo>
                <a:lnTo>
                  <a:pt x="11349" y="12601"/>
                </a:lnTo>
                <a:lnTo>
                  <a:pt x="11342" y="12571"/>
                </a:lnTo>
                <a:lnTo>
                  <a:pt x="11334" y="12540"/>
                </a:lnTo>
                <a:lnTo>
                  <a:pt x="11327" y="12506"/>
                </a:lnTo>
                <a:lnTo>
                  <a:pt x="11325" y="12490"/>
                </a:lnTo>
                <a:lnTo>
                  <a:pt x="11322" y="12474"/>
                </a:lnTo>
                <a:lnTo>
                  <a:pt x="11320" y="12457"/>
                </a:lnTo>
                <a:lnTo>
                  <a:pt x="11319" y="12440"/>
                </a:lnTo>
                <a:lnTo>
                  <a:pt x="11316" y="12440"/>
                </a:lnTo>
                <a:lnTo>
                  <a:pt x="11313" y="12438"/>
                </a:lnTo>
                <a:lnTo>
                  <a:pt x="11310" y="12437"/>
                </a:lnTo>
                <a:lnTo>
                  <a:pt x="11308" y="12434"/>
                </a:lnTo>
                <a:lnTo>
                  <a:pt x="11303" y="12427"/>
                </a:lnTo>
                <a:lnTo>
                  <a:pt x="11298" y="12419"/>
                </a:lnTo>
                <a:lnTo>
                  <a:pt x="11291" y="12396"/>
                </a:lnTo>
                <a:lnTo>
                  <a:pt x="11283" y="12371"/>
                </a:lnTo>
                <a:lnTo>
                  <a:pt x="11275" y="12346"/>
                </a:lnTo>
                <a:lnTo>
                  <a:pt x="11266" y="12324"/>
                </a:lnTo>
                <a:lnTo>
                  <a:pt x="11262" y="12315"/>
                </a:lnTo>
                <a:lnTo>
                  <a:pt x="11256" y="12308"/>
                </a:lnTo>
                <a:lnTo>
                  <a:pt x="11254" y="12306"/>
                </a:lnTo>
                <a:lnTo>
                  <a:pt x="11251" y="12304"/>
                </a:lnTo>
                <a:lnTo>
                  <a:pt x="11248" y="12303"/>
                </a:lnTo>
                <a:lnTo>
                  <a:pt x="11244" y="12303"/>
                </a:lnTo>
                <a:lnTo>
                  <a:pt x="11242" y="12293"/>
                </a:lnTo>
                <a:lnTo>
                  <a:pt x="11236" y="12275"/>
                </a:lnTo>
                <a:lnTo>
                  <a:pt x="11226" y="12251"/>
                </a:lnTo>
                <a:lnTo>
                  <a:pt x="11214" y="12222"/>
                </a:lnTo>
                <a:lnTo>
                  <a:pt x="11183" y="12151"/>
                </a:lnTo>
                <a:lnTo>
                  <a:pt x="11147" y="12074"/>
                </a:lnTo>
                <a:lnTo>
                  <a:pt x="11130" y="12036"/>
                </a:lnTo>
                <a:lnTo>
                  <a:pt x="11114" y="11997"/>
                </a:lnTo>
                <a:lnTo>
                  <a:pt x="11100" y="11963"/>
                </a:lnTo>
                <a:lnTo>
                  <a:pt x="11088" y="11932"/>
                </a:lnTo>
                <a:lnTo>
                  <a:pt x="11079" y="11905"/>
                </a:lnTo>
                <a:lnTo>
                  <a:pt x="11073" y="11885"/>
                </a:lnTo>
                <a:lnTo>
                  <a:pt x="11072" y="11878"/>
                </a:lnTo>
                <a:lnTo>
                  <a:pt x="11072" y="11872"/>
                </a:lnTo>
                <a:lnTo>
                  <a:pt x="11073" y="11869"/>
                </a:lnTo>
                <a:lnTo>
                  <a:pt x="11075" y="11868"/>
                </a:lnTo>
                <a:lnTo>
                  <a:pt x="11074" y="11848"/>
                </a:lnTo>
                <a:lnTo>
                  <a:pt x="11070" y="11822"/>
                </a:lnTo>
                <a:lnTo>
                  <a:pt x="11064" y="11793"/>
                </a:lnTo>
                <a:lnTo>
                  <a:pt x="11057" y="11762"/>
                </a:lnTo>
                <a:lnTo>
                  <a:pt x="11049" y="11734"/>
                </a:lnTo>
                <a:lnTo>
                  <a:pt x="11043" y="11710"/>
                </a:lnTo>
                <a:lnTo>
                  <a:pt x="11040" y="11701"/>
                </a:lnTo>
                <a:lnTo>
                  <a:pt x="11037" y="11694"/>
                </a:lnTo>
                <a:lnTo>
                  <a:pt x="11035" y="11690"/>
                </a:lnTo>
                <a:lnTo>
                  <a:pt x="11033" y="11688"/>
                </a:lnTo>
                <a:lnTo>
                  <a:pt x="11033" y="11675"/>
                </a:lnTo>
                <a:lnTo>
                  <a:pt x="11032" y="11661"/>
                </a:lnTo>
                <a:lnTo>
                  <a:pt x="11031" y="11647"/>
                </a:lnTo>
                <a:lnTo>
                  <a:pt x="11029" y="11634"/>
                </a:lnTo>
                <a:lnTo>
                  <a:pt x="11023" y="11608"/>
                </a:lnTo>
                <a:lnTo>
                  <a:pt x="11016" y="11583"/>
                </a:lnTo>
                <a:lnTo>
                  <a:pt x="11008" y="11557"/>
                </a:lnTo>
                <a:lnTo>
                  <a:pt x="10999" y="11533"/>
                </a:lnTo>
                <a:lnTo>
                  <a:pt x="10989" y="11507"/>
                </a:lnTo>
                <a:lnTo>
                  <a:pt x="10980" y="11483"/>
                </a:lnTo>
                <a:lnTo>
                  <a:pt x="10970" y="11458"/>
                </a:lnTo>
                <a:lnTo>
                  <a:pt x="10960" y="11434"/>
                </a:lnTo>
                <a:lnTo>
                  <a:pt x="10951" y="11410"/>
                </a:lnTo>
                <a:lnTo>
                  <a:pt x="10943" y="11385"/>
                </a:lnTo>
                <a:lnTo>
                  <a:pt x="10937" y="11360"/>
                </a:lnTo>
                <a:lnTo>
                  <a:pt x="10932" y="11336"/>
                </a:lnTo>
                <a:lnTo>
                  <a:pt x="10930" y="11324"/>
                </a:lnTo>
                <a:lnTo>
                  <a:pt x="10928" y="11311"/>
                </a:lnTo>
                <a:lnTo>
                  <a:pt x="10927" y="11299"/>
                </a:lnTo>
                <a:lnTo>
                  <a:pt x="10927" y="11286"/>
                </a:lnTo>
                <a:lnTo>
                  <a:pt x="10924" y="11286"/>
                </a:lnTo>
                <a:lnTo>
                  <a:pt x="10921" y="11283"/>
                </a:lnTo>
                <a:lnTo>
                  <a:pt x="10918" y="11279"/>
                </a:lnTo>
                <a:lnTo>
                  <a:pt x="10914" y="11273"/>
                </a:lnTo>
                <a:lnTo>
                  <a:pt x="10907" y="11258"/>
                </a:lnTo>
                <a:lnTo>
                  <a:pt x="10900" y="11239"/>
                </a:lnTo>
                <a:lnTo>
                  <a:pt x="10891" y="11217"/>
                </a:lnTo>
                <a:lnTo>
                  <a:pt x="10884" y="11192"/>
                </a:lnTo>
                <a:lnTo>
                  <a:pt x="10877" y="11166"/>
                </a:lnTo>
                <a:lnTo>
                  <a:pt x="10871" y="11137"/>
                </a:lnTo>
                <a:lnTo>
                  <a:pt x="10865" y="11110"/>
                </a:lnTo>
                <a:lnTo>
                  <a:pt x="10861" y="11083"/>
                </a:lnTo>
                <a:lnTo>
                  <a:pt x="10857" y="11059"/>
                </a:lnTo>
                <a:lnTo>
                  <a:pt x="10855" y="11036"/>
                </a:lnTo>
                <a:lnTo>
                  <a:pt x="10854" y="11017"/>
                </a:lnTo>
                <a:lnTo>
                  <a:pt x="10855" y="11002"/>
                </a:lnTo>
                <a:lnTo>
                  <a:pt x="10857" y="10997"/>
                </a:lnTo>
                <a:lnTo>
                  <a:pt x="10858" y="10993"/>
                </a:lnTo>
                <a:lnTo>
                  <a:pt x="10861" y="10990"/>
                </a:lnTo>
                <a:lnTo>
                  <a:pt x="10863" y="10990"/>
                </a:lnTo>
                <a:lnTo>
                  <a:pt x="10864" y="10961"/>
                </a:lnTo>
                <a:lnTo>
                  <a:pt x="10866" y="10934"/>
                </a:lnTo>
                <a:lnTo>
                  <a:pt x="10868" y="10908"/>
                </a:lnTo>
                <a:lnTo>
                  <a:pt x="10872" y="10881"/>
                </a:lnTo>
                <a:lnTo>
                  <a:pt x="10876" y="10856"/>
                </a:lnTo>
                <a:lnTo>
                  <a:pt x="10882" y="10831"/>
                </a:lnTo>
                <a:lnTo>
                  <a:pt x="10887" y="10807"/>
                </a:lnTo>
                <a:lnTo>
                  <a:pt x="10893" y="10782"/>
                </a:lnTo>
                <a:lnTo>
                  <a:pt x="10907" y="10731"/>
                </a:lnTo>
                <a:lnTo>
                  <a:pt x="10919" y="10679"/>
                </a:lnTo>
                <a:lnTo>
                  <a:pt x="10925" y="10651"/>
                </a:lnTo>
                <a:lnTo>
                  <a:pt x="10931" y="10622"/>
                </a:lnTo>
                <a:lnTo>
                  <a:pt x="10936" y="10592"/>
                </a:lnTo>
                <a:lnTo>
                  <a:pt x="10941" y="10560"/>
                </a:lnTo>
                <a:lnTo>
                  <a:pt x="10944" y="10526"/>
                </a:lnTo>
                <a:lnTo>
                  <a:pt x="10947" y="10492"/>
                </a:lnTo>
                <a:lnTo>
                  <a:pt x="10948" y="10461"/>
                </a:lnTo>
                <a:lnTo>
                  <a:pt x="10948" y="10431"/>
                </a:lnTo>
                <a:lnTo>
                  <a:pt x="10948" y="10402"/>
                </a:lnTo>
                <a:lnTo>
                  <a:pt x="10946" y="10373"/>
                </a:lnTo>
                <a:lnTo>
                  <a:pt x="10943" y="10346"/>
                </a:lnTo>
                <a:lnTo>
                  <a:pt x="10940" y="10320"/>
                </a:lnTo>
                <a:lnTo>
                  <a:pt x="10935" y="10295"/>
                </a:lnTo>
                <a:lnTo>
                  <a:pt x="10931" y="10270"/>
                </a:lnTo>
                <a:lnTo>
                  <a:pt x="10926" y="10244"/>
                </a:lnTo>
                <a:lnTo>
                  <a:pt x="10920" y="10220"/>
                </a:lnTo>
                <a:lnTo>
                  <a:pt x="10908" y="10171"/>
                </a:lnTo>
                <a:lnTo>
                  <a:pt x="10895" y="10121"/>
                </a:lnTo>
                <a:lnTo>
                  <a:pt x="10891" y="10120"/>
                </a:lnTo>
                <a:lnTo>
                  <a:pt x="10886" y="10117"/>
                </a:lnTo>
                <a:lnTo>
                  <a:pt x="10881" y="10112"/>
                </a:lnTo>
                <a:lnTo>
                  <a:pt x="10875" y="10105"/>
                </a:lnTo>
                <a:lnTo>
                  <a:pt x="10862" y="10088"/>
                </a:lnTo>
                <a:lnTo>
                  <a:pt x="10848" y="10068"/>
                </a:lnTo>
                <a:lnTo>
                  <a:pt x="10835" y="10047"/>
                </a:lnTo>
                <a:lnTo>
                  <a:pt x="10824" y="10026"/>
                </a:lnTo>
                <a:lnTo>
                  <a:pt x="10815" y="10007"/>
                </a:lnTo>
                <a:lnTo>
                  <a:pt x="10811" y="9995"/>
                </a:lnTo>
                <a:lnTo>
                  <a:pt x="10795" y="9983"/>
                </a:lnTo>
                <a:lnTo>
                  <a:pt x="10781" y="9971"/>
                </a:lnTo>
                <a:lnTo>
                  <a:pt x="10768" y="9958"/>
                </a:lnTo>
                <a:lnTo>
                  <a:pt x="10756" y="9943"/>
                </a:lnTo>
                <a:lnTo>
                  <a:pt x="10746" y="9928"/>
                </a:lnTo>
                <a:lnTo>
                  <a:pt x="10736" y="9911"/>
                </a:lnTo>
                <a:lnTo>
                  <a:pt x="10728" y="9894"/>
                </a:lnTo>
                <a:lnTo>
                  <a:pt x="10720" y="9876"/>
                </a:lnTo>
                <a:lnTo>
                  <a:pt x="10714" y="9857"/>
                </a:lnTo>
                <a:lnTo>
                  <a:pt x="10709" y="9839"/>
                </a:lnTo>
                <a:lnTo>
                  <a:pt x="10704" y="9819"/>
                </a:lnTo>
                <a:lnTo>
                  <a:pt x="10701" y="9800"/>
                </a:lnTo>
                <a:lnTo>
                  <a:pt x="10698" y="9780"/>
                </a:lnTo>
                <a:lnTo>
                  <a:pt x="10696" y="9759"/>
                </a:lnTo>
                <a:lnTo>
                  <a:pt x="10695" y="9740"/>
                </a:lnTo>
                <a:lnTo>
                  <a:pt x="10694" y="9720"/>
                </a:lnTo>
                <a:lnTo>
                  <a:pt x="10699" y="9713"/>
                </a:lnTo>
                <a:lnTo>
                  <a:pt x="10704" y="9706"/>
                </a:lnTo>
                <a:lnTo>
                  <a:pt x="10709" y="9698"/>
                </a:lnTo>
                <a:lnTo>
                  <a:pt x="10713" y="9689"/>
                </a:lnTo>
                <a:lnTo>
                  <a:pt x="10722" y="9668"/>
                </a:lnTo>
                <a:lnTo>
                  <a:pt x="10729" y="9645"/>
                </a:lnTo>
                <a:lnTo>
                  <a:pt x="10736" y="9619"/>
                </a:lnTo>
                <a:lnTo>
                  <a:pt x="10742" y="9592"/>
                </a:lnTo>
                <a:lnTo>
                  <a:pt x="10747" y="9564"/>
                </a:lnTo>
                <a:lnTo>
                  <a:pt x="10752" y="9536"/>
                </a:lnTo>
                <a:lnTo>
                  <a:pt x="10755" y="9506"/>
                </a:lnTo>
                <a:lnTo>
                  <a:pt x="10758" y="9477"/>
                </a:lnTo>
                <a:lnTo>
                  <a:pt x="10760" y="9449"/>
                </a:lnTo>
                <a:lnTo>
                  <a:pt x="10761" y="9423"/>
                </a:lnTo>
                <a:lnTo>
                  <a:pt x="10761" y="9398"/>
                </a:lnTo>
                <a:lnTo>
                  <a:pt x="10761" y="9375"/>
                </a:lnTo>
                <a:lnTo>
                  <a:pt x="10759" y="9355"/>
                </a:lnTo>
                <a:lnTo>
                  <a:pt x="10757" y="9339"/>
                </a:lnTo>
                <a:lnTo>
                  <a:pt x="10738" y="9330"/>
                </a:lnTo>
                <a:lnTo>
                  <a:pt x="10720" y="9323"/>
                </a:lnTo>
                <a:lnTo>
                  <a:pt x="10704" y="9317"/>
                </a:lnTo>
                <a:lnTo>
                  <a:pt x="10688" y="9312"/>
                </a:lnTo>
                <a:lnTo>
                  <a:pt x="10673" y="9309"/>
                </a:lnTo>
                <a:lnTo>
                  <a:pt x="10658" y="9306"/>
                </a:lnTo>
                <a:lnTo>
                  <a:pt x="10643" y="9305"/>
                </a:lnTo>
                <a:lnTo>
                  <a:pt x="10628" y="9304"/>
                </a:lnTo>
                <a:lnTo>
                  <a:pt x="10599" y="9304"/>
                </a:lnTo>
                <a:lnTo>
                  <a:pt x="10568" y="9305"/>
                </a:lnTo>
                <a:lnTo>
                  <a:pt x="10533" y="9306"/>
                </a:lnTo>
                <a:lnTo>
                  <a:pt x="10493" y="9307"/>
                </a:lnTo>
                <a:lnTo>
                  <a:pt x="10485" y="9295"/>
                </a:lnTo>
                <a:lnTo>
                  <a:pt x="10476" y="9284"/>
                </a:lnTo>
                <a:lnTo>
                  <a:pt x="10464" y="9274"/>
                </a:lnTo>
                <a:lnTo>
                  <a:pt x="10451" y="9266"/>
                </a:lnTo>
                <a:lnTo>
                  <a:pt x="10435" y="9257"/>
                </a:lnTo>
                <a:lnTo>
                  <a:pt x="10418" y="9251"/>
                </a:lnTo>
                <a:lnTo>
                  <a:pt x="10400" y="9245"/>
                </a:lnTo>
                <a:lnTo>
                  <a:pt x="10379" y="9241"/>
                </a:lnTo>
                <a:lnTo>
                  <a:pt x="10359" y="9237"/>
                </a:lnTo>
                <a:lnTo>
                  <a:pt x="10337" y="9234"/>
                </a:lnTo>
                <a:lnTo>
                  <a:pt x="10314" y="9231"/>
                </a:lnTo>
                <a:lnTo>
                  <a:pt x="10290" y="9230"/>
                </a:lnTo>
                <a:lnTo>
                  <a:pt x="10264" y="9229"/>
                </a:lnTo>
                <a:lnTo>
                  <a:pt x="10239" y="9228"/>
                </a:lnTo>
                <a:lnTo>
                  <a:pt x="10214" y="9228"/>
                </a:lnTo>
                <a:lnTo>
                  <a:pt x="10188" y="9229"/>
                </a:lnTo>
                <a:lnTo>
                  <a:pt x="10135" y="9231"/>
                </a:lnTo>
                <a:lnTo>
                  <a:pt x="10083" y="9234"/>
                </a:lnTo>
                <a:lnTo>
                  <a:pt x="10033" y="9238"/>
                </a:lnTo>
                <a:lnTo>
                  <a:pt x="9984" y="9243"/>
                </a:lnTo>
                <a:lnTo>
                  <a:pt x="9940" y="9247"/>
                </a:lnTo>
                <a:lnTo>
                  <a:pt x="9900" y="9250"/>
                </a:lnTo>
                <a:lnTo>
                  <a:pt x="9864" y="9253"/>
                </a:lnTo>
                <a:lnTo>
                  <a:pt x="9836" y="9254"/>
                </a:lnTo>
                <a:lnTo>
                  <a:pt x="9836" y="9260"/>
                </a:lnTo>
                <a:lnTo>
                  <a:pt x="9833" y="9267"/>
                </a:lnTo>
                <a:lnTo>
                  <a:pt x="9829" y="9271"/>
                </a:lnTo>
                <a:lnTo>
                  <a:pt x="9823" y="9275"/>
                </a:lnTo>
                <a:lnTo>
                  <a:pt x="9816" y="9278"/>
                </a:lnTo>
                <a:lnTo>
                  <a:pt x="9807" y="9281"/>
                </a:lnTo>
                <a:lnTo>
                  <a:pt x="9797" y="9282"/>
                </a:lnTo>
                <a:lnTo>
                  <a:pt x="9787" y="9283"/>
                </a:lnTo>
                <a:lnTo>
                  <a:pt x="9775" y="9283"/>
                </a:lnTo>
                <a:lnTo>
                  <a:pt x="9761" y="9283"/>
                </a:lnTo>
                <a:lnTo>
                  <a:pt x="9748" y="9281"/>
                </a:lnTo>
                <a:lnTo>
                  <a:pt x="9734" y="9280"/>
                </a:lnTo>
                <a:lnTo>
                  <a:pt x="9704" y="9275"/>
                </a:lnTo>
                <a:lnTo>
                  <a:pt x="9674" y="9268"/>
                </a:lnTo>
                <a:lnTo>
                  <a:pt x="9642" y="9259"/>
                </a:lnTo>
                <a:lnTo>
                  <a:pt x="9611" y="9249"/>
                </a:lnTo>
                <a:lnTo>
                  <a:pt x="9582" y="9238"/>
                </a:lnTo>
                <a:lnTo>
                  <a:pt x="9555" y="9227"/>
                </a:lnTo>
                <a:lnTo>
                  <a:pt x="9543" y="9221"/>
                </a:lnTo>
                <a:lnTo>
                  <a:pt x="9531" y="9215"/>
                </a:lnTo>
                <a:lnTo>
                  <a:pt x="9521" y="9209"/>
                </a:lnTo>
                <a:lnTo>
                  <a:pt x="9511" y="9203"/>
                </a:lnTo>
                <a:lnTo>
                  <a:pt x="9503" y="9197"/>
                </a:lnTo>
                <a:lnTo>
                  <a:pt x="9496" y="9191"/>
                </a:lnTo>
                <a:lnTo>
                  <a:pt x="9491" y="9186"/>
                </a:lnTo>
                <a:lnTo>
                  <a:pt x="9487" y="9180"/>
                </a:lnTo>
                <a:lnTo>
                  <a:pt x="9480" y="9179"/>
                </a:lnTo>
                <a:lnTo>
                  <a:pt x="9472" y="9178"/>
                </a:lnTo>
                <a:lnTo>
                  <a:pt x="9464" y="9176"/>
                </a:lnTo>
                <a:lnTo>
                  <a:pt x="9455" y="9173"/>
                </a:lnTo>
                <a:lnTo>
                  <a:pt x="9446" y="9169"/>
                </a:lnTo>
                <a:lnTo>
                  <a:pt x="9437" y="9164"/>
                </a:lnTo>
                <a:lnTo>
                  <a:pt x="9428" y="9159"/>
                </a:lnTo>
                <a:lnTo>
                  <a:pt x="9418" y="9153"/>
                </a:lnTo>
                <a:lnTo>
                  <a:pt x="9399" y="9139"/>
                </a:lnTo>
                <a:lnTo>
                  <a:pt x="9379" y="9123"/>
                </a:lnTo>
                <a:lnTo>
                  <a:pt x="9360" y="9106"/>
                </a:lnTo>
                <a:lnTo>
                  <a:pt x="9342" y="9087"/>
                </a:lnTo>
                <a:lnTo>
                  <a:pt x="9324" y="9068"/>
                </a:lnTo>
                <a:lnTo>
                  <a:pt x="9308" y="9048"/>
                </a:lnTo>
                <a:lnTo>
                  <a:pt x="9293" y="9028"/>
                </a:lnTo>
                <a:lnTo>
                  <a:pt x="9280" y="9007"/>
                </a:lnTo>
                <a:lnTo>
                  <a:pt x="9270" y="8987"/>
                </a:lnTo>
                <a:lnTo>
                  <a:pt x="9262" y="8969"/>
                </a:lnTo>
                <a:lnTo>
                  <a:pt x="9258" y="8960"/>
                </a:lnTo>
                <a:lnTo>
                  <a:pt x="9256" y="8952"/>
                </a:lnTo>
                <a:lnTo>
                  <a:pt x="9255" y="8944"/>
                </a:lnTo>
                <a:lnTo>
                  <a:pt x="9254" y="8937"/>
                </a:lnTo>
                <a:lnTo>
                  <a:pt x="9246" y="8931"/>
                </a:lnTo>
                <a:lnTo>
                  <a:pt x="9238" y="8923"/>
                </a:lnTo>
                <a:lnTo>
                  <a:pt x="9229" y="8915"/>
                </a:lnTo>
                <a:lnTo>
                  <a:pt x="9220" y="8906"/>
                </a:lnTo>
                <a:lnTo>
                  <a:pt x="9202" y="8884"/>
                </a:lnTo>
                <a:lnTo>
                  <a:pt x="9184" y="8858"/>
                </a:lnTo>
                <a:lnTo>
                  <a:pt x="9166" y="8830"/>
                </a:lnTo>
                <a:lnTo>
                  <a:pt x="9147" y="8799"/>
                </a:lnTo>
                <a:lnTo>
                  <a:pt x="9129" y="8767"/>
                </a:lnTo>
                <a:lnTo>
                  <a:pt x="9111" y="8733"/>
                </a:lnTo>
                <a:lnTo>
                  <a:pt x="9095" y="8700"/>
                </a:lnTo>
                <a:lnTo>
                  <a:pt x="9080" y="8666"/>
                </a:lnTo>
                <a:lnTo>
                  <a:pt x="9067" y="8634"/>
                </a:lnTo>
                <a:lnTo>
                  <a:pt x="9056" y="8602"/>
                </a:lnTo>
                <a:lnTo>
                  <a:pt x="9046" y="8573"/>
                </a:lnTo>
                <a:lnTo>
                  <a:pt x="9039" y="8546"/>
                </a:lnTo>
                <a:lnTo>
                  <a:pt x="9037" y="8534"/>
                </a:lnTo>
                <a:lnTo>
                  <a:pt x="9035" y="8523"/>
                </a:lnTo>
                <a:lnTo>
                  <a:pt x="9033" y="8512"/>
                </a:lnTo>
                <a:lnTo>
                  <a:pt x="9033" y="8502"/>
                </a:lnTo>
                <a:lnTo>
                  <a:pt x="9026" y="8498"/>
                </a:lnTo>
                <a:lnTo>
                  <a:pt x="9020" y="8494"/>
                </a:lnTo>
                <a:lnTo>
                  <a:pt x="9015" y="8489"/>
                </a:lnTo>
                <a:lnTo>
                  <a:pt x="9010" y="8484"/>
                </a:lnTo>
                <a:lnTo>
                  <a:pt x="9004" y="8478"/>
                </a:lnTo>
                <a:lnTo>
                  <a:pt x="9000" y="8472"/>
                </a:lnTo>
                <a:lnTo>
                  <a:pt x="8997" y="8465"/>
                </a:lnTo>
                <a:lnTo>
                  <a:pt x="8994" y="8459"/>
                </a:lnTo>
                <a:lnTo>
                  <a:pt x="8989" y="8444"/>
                </a:lnTo>
                <a:lnTo>
                  <a:pt x="8986" y="8429"/>
                </a:lnTo>
                <a:lnTo>
                  <a:pt x="8984" y="8414"/>
                </a:lnTo>
                <a:lnTo>
                  <a:pt x="8984" y="8399"/>
                </a:lnTo>
                <a:lnTo>
                  <a:pt x="8985" y="8384"/>
                </a:lnTo>
                <a:lnTo>
                  <a:pt x="8988" y="8369"/>
                </a:lnTo>
                <a:lnTo>
                  <a:pt x="8991" y="8357"/>
                </a:lnTo>
                <a:lnTo>
                  <a:pt x="8996" y="8345"/>
                </a:lnTo>
                <a:lnTo>
                  <a:pt x="9001" y="8336"/>
                </a:lnTo>
                <a:lnTo>
                  <a:pt x="9007" y="8329"/>
                </a:lnTo>
                <a:lnTo>
                  <a:pt x="9011" y="8326"/>
                </a:lnTo>
                <a:lnTo>
                  <a:pt x="9015" y="8324"/>
                </a:lnTo>
                <a:lnTo>
                  <a:pt x="9019" y="8323"/>
                </a:lnTo>
                <a:lnTo>
                  <a:pt x="9022" y="8323"/>
                </a:lnTo>
                <a:lnTo>
                  <a:pt x="9024" y="8314"/>
                </a:lnTo>
                <a:lnTo>
                  <a:pt x="9024" y="8304"/>
                </a:lnTo>
                <a:lnTo>
                  <a:pt x="9024" y="8293"/>
                </a:lnTo>
                <a:lnTo>
                  <a:pt x="9022" y="8280"/>
                </a:lnTo>
                <a:lnTo>
                  <a:pt x="9018" y="8249"/>
                </a:lnTo>
                <a:lnTo>
                  <a:pt x="9011" y="8218"/>
                </a:lnTo>
                <a:lnTo>
                  <a:pt x="9002" y="8185"/>
                </a:lnTo>
                <a:lnTo>
                  <a:pt x="8994" y="8153"/>
                </a:lnTo>
                <a:lnTo>
                  <a:pt x="8986" y="8123"/>
                </a:lnTo>
                <a:lnTo>
                  <a:pt x="8978" y="8098"/>
                </a:lnTo>
                <a:lnTo>
                  <a:pt x="8977" y="8090"/>
                </a:lnTo>
                <a:lnTo>
                  <a:pt x="8977" y="8081"/>
                </a:lnTo>
                <a:lnTo>
                  <a:pt x="8978" y="8073"/>
                </a:lnTo>
                <a:lnTo>
                  <a:pt x="8980" y="8064"/>
                </a:lnTo>
                <a:lnTo>
                  <a:pt x="8986" y="8047"/>
                </a:lnTo>
                <a:lnTo>
                  <a:pt x="8995" y="8029"/>
                </a:lnTo>
                <a:lnTo>
                  <a:pt x="9004" y="8010"/>
                </a:lnTo>
                <a:lnTo>
                  <a:pt x="9014" y="7991"/>
                </a:lnTo>
                <a:lnTo>
                  <a:pt x="9017" y="7981"/>
                </a:lnTo>
                <a:lnTo>
                  <a:pt x="9020" y="7972"/>
                </a:lnTo>
                <a:lnTo>
                  <a:pt x="9022" y="7962"/>
                </a:lnTo>
                <a:lnTo>
                  <a:pt x="9022" y="7952"/>
                </a:lnTo>
                <a:lnTo>
                  <a:pt x="9023" y="7901"/>
                </a:lnTo>
                <a:lnTo>
                  <a:pt x="9024" y="7854"/>
                </a:lnTo>
                <a:lnTo>
                  <a:pt x="9026" y="7832"/>
                </a:lnTo>
                <a:lnTo>
                  <a:pt x="9028" y="7811"/>
                </a:lnTo>
                <a:lnTo>
                  <a:pt x="9031" y="7791"/>
                </a:lnTo>
                <a:lnTo>
                  <a:pt x="9034" y="7770"/>
                </a:lnTo>
                <a:lnTo>
                  <a:pt x="9039" y="7748"/>
                </a:lnTo>
                <a:lnTo>
                  <a:pt x="9045" y="7727"/>
                </a:lnTo>
                <a:lnTo>
                  <a:pt x="9052" y="7706"/>
                </a:lnTo>
                <a:lnTo>
                  <a:pt x="9060" y="7683"/>
                </a:lnTo>
                <a:lnTo>
                  <a:pt x="9069" y="7660"/>
                </a:lnTo>
                <a:lnTo>
                  <a:pt x="9080" y="7635"/>
                </a:lnTo>
                <a:lnTo>
                  <a:pt x="9093" y="7608"/>
                </a:lnTo>
                <a:lnTo>
                  <a:pt x="9107" y="7579"/>
                </a:lnTo>
                <a:lnTo>
                  <a:pt x="9117" y="7561"/>
                </a:lnTo>
                <a:lnTo>
                  <a:pt x="9128" y="7543"/>
                </a:lnTo>
                <a:lnTo>
                  <a:pt x="9139" y="7524"/>
                </a:lnTo>
                <a:lnTo>
                  <a:pt x="9150" y="7506"/>
                </a:lnTo>
                <a:lnTo>
                  <a:pt x="9161" y="7485"/>
                </a:lnTo>
                <a:lnTo>
                  <a:pt x="9172" y="7465"/>
                </a:lnTo>
                <a:lnTo>
                  <a:pt x="9182" y="7444"/>
                </a:lnTo>
                <a:lnTo>
                  <a:pt x="9191" y="7422"/>
                </a:lnTo>
                <a:lnTo>
                  <a:pt x="9199" y="7403"/>
                </a:lnTo>
                <a:lnTo>
                  <a:pt x="9206" y="7390"/>
                </a:lnTo>
                <a:lnTo>
                  <a:pt x="9213" y="7380"/>
                </a:lnTo>
                <a:lnTo>
                  <a:pt x="9219" y="7373"/>
                </a:lnTo>
                <a:lnTo>
                  <a:pt x="9226" y="7368"/>
                </a:lnTo>
                <a:lnTo>
                  <a:pt x="9231" y="7366"/>
                </a:lnTo>
                <a:lnTo>
                  <a:pt x="9237" y="7365"/>
                </a:lnTo>
                <a:lnTo>
                  <a:pt x="9243" y="7365"/>
                </a:lnTo>
                <a:lnTo>
                  <a:pt x="9249" y="7365"/>
                </a:lnTo>
                <a:lnTo>
                  <a:pt x="9256" y="7364"/>
                </a:lnTo>
                <a:lnTo>
                  <a:pt x="9264" y="7363"/>
                </a:lnTo>
                <a:lnTo>
                  <a:pt x="9271" y="7359"/>
                </a:lnTo>
                <a:lnTo>
                  <a:pt x="9279" y="7354"/>
                </a:lnTo>
                <a:lnTo>
                  <a:pt x="9288" y="7345"/>
                </a:lnTo>
                <a:lnTo>
                  <a:pt x="9297" y="7334"/>
                </a:lnTo>
                <a:lnTo>
                  <a:pt x="9308" y="7317"/>
                </a:lnTo>
                <a:lnTo>
                  <a:pt x="9318" y="7311"/>
                </a:lnTo>
                <a:lnTo>
                  <a:pt x="9328" y="7304"/>
                </a:lnTo>
                <a:lnTo>
                  <a:pt x="9337" y="7295"/>
                </a:lnTo>
                <a:lnTo>
                  <a:pt x="9346" y="7286"/>
                </a:lnTo>
                <a:lnTo>
                  <a:pt x="9364" y="7264"/>
                </a:lnTo>
                <a:lnTo>
                  <a:pt x="9381" y="7239"/>
                </a:lnTo>
                <a:lnTo>
                  <a:pt x="9399" y="7214"/>
                </a:lnTo>
                <a:lnTo>
                  <a:pt x="9417" y="7190"/>
                </a:lnTo>
                <a:lnTo>
                  <a:pt x="9426" y="7179"/>
                </a:lnTo>
                <a:lnTo>
                  <a:pt x="9435" y="7168"/>
                </a:lnTo>
                <a:lnTo>
                  <a:pt x="9445" y="7158"/>
                </a:lnTo>
                <a:lnTo>
                  <a:pt x="9456" y="7148"/>
                </a:lnTo>
                <a:lnTo>
                  <a:pt x="9464" y="7137"/>
                </a:lnTo>
                <a:lnTo>
                  <a:pt x="9470" y="7126"/>
                </a:lnTo>
                <a:lnTo>
                  <a:pt x="9472" y="7122"/>
                </a:lnTo>
                <a:lnTo>
                  <a:pt x="9474" y="7116"/>
                </a:lnTo>
                <a:lnTo>
                  <a:pt x="9475" y="7112"/>
                </a:lnTo>
                <a:lnTo>
                  <a:pt x="9475" y="7108"/>
                </a:lnTo>
                <a:lnTo>
                  <a:pt x="9475" y="7104"/>
                </a:lnTo>
                <a:lnTo>
                  <a:pt x="9474" y="7100"/>
                </a:lnTo>
                <a:lnTo>
                  <a:pt x="9473" y="7095"/>
                </a:lnTo>
                <a:lnTo>
                  <a:pt x="9471" y="7091"/>
                </a:lnTo>
                <a:lnTo>
                  <a:pt x="9465" y="7083"/>
                </a:lnTo>
                <a:lnTo>
                  <a:pt x="9456" y="7074"/>
                </a:lnTo>
                <a:lnTo>
                  <a:pt x="9459" y="7072"/>
                </a:lnTo>
                <a:lnTo>
                  <a:pt x="9463" y="7067"/>
                </a:lnTo>
                <a:lnTo>
                  <a:pt x="9467" y="7058"/>
                </a:lnTo>
                <a:lnTo>
                  <a:pt x="9472" y="7048"/>
                </a:lnTo>
                <a:lnTo>
                  <a:pt x="9484" y="7021"/>
                </a:lnTo>
                <a:lnTo>
                  <a:pt x="9497" y="6987"/>
                </a:lnTo>
                <a:lnTo>
                  <a:pt x="9509" y="6953"/>
                </a:lnTo>
                <a:lnTo>
                  <a:pt x="9521" y="6920"/>
                </a:lnTo>
                <a:lnTo>
                  <a:pt x="9525" y="6906"/>
                </a:lnTo>
                <a:lnTo>
                  <a:pt x="9528" y="6893"/>
                </a:lnTo>
                <a:lnTo>
                  <a:pt x="9530" y="6882"/>
                </a:lnTo>
                <a:lnTo>
                  <a:pt x="9530" y="6874"/>
                </a:lnTo>
                <a:lnTo>
                  <a:pt x="9555" y="6837"/>
                </a:lnTo>
                <a:lnTo>
                  <a:pt x="9570" y="6815"/>
                </a:lnTo>
                <a:lnTo>
                  <a:pt x="9575" y="6808"/>
                </a:lnTo>
                <a:lnTo>
                  <a:pt x="9578" y="6803"/>
                </a:lnTo>
                <a:lnTo>
                  <a:pt x="9581" y="6801"/>
                </a:lnTo>
                <a:lnTo>
                  <a:pt x="9583" y="6800"/>
                </a:lnTo>
                <a:lnTo>
                  <a:pt x="9588" y="6802"/>
                </a:lnTo>
                <a:lnTo>
                  <a:pt x="9596" y="6808"/>
                </a:lnTo>
                <a:lnTo>
                  <a:pt x="9602" y="6811"/>
                </a:lnTo>
                <a:lnTo>
                  <a:pt x="9611" y="6815"/>
                </a:lnTo>
                <a:lnTo>
                  <a:pt x="9622" y="6818"/>
                </a:lnTo>
                <a:lnTo>
                  <a:pt x="9635" y="6820"/>
                </a:lnTo>
                <a:lnTo>
                  <a:pt x="9662" y="6788"/>
                </a:lnTo>
                <a:lnTo>
                  <a:pt x="9693" y="6750"/>
                </a:lnTo>
                <a:lnTo>
                  <a:pt x="9701" y="6740"/>
                </a:lnTo>
                <a:lnTo>
                  <a:pt x="9709" y="6731"/>
                </a:lnTo>
                <a:lnTo>
                  <a:pt x="9718" y="6724"/>
                </a:lnTo>
                <a:lnTo>
                  <a:pt x="9727" y="6717"/>
                </a:lnTo>
                <a:lnTo>
                  <a:pt x="9736" y="6711"/>
                </a:lnTo>
                <a:lnTo>
                  <a:pt x="9744" y="6707"/>
                </a:lnTo>
                <a:lnTo>
                  <a:pt x="9753" y="6704"/>
                </a:lnTo>
                <a:lnTo>
                  <a:pt x="9762" y="6703"/>
                </a:lnTo>
                <a:lnTo>
                  <a:pt x="9767" y="6696"/>
                </a:lnTo>
                <a:lnTo>
                  <a:pt x="9772" y="6689"/>
                </a:lnTo>
                <a:lnTo>
                  <a:pt x="9778" y="6683"/>
                </a:lnTo>
                <a:lnTo>
                  <a:pt x="9784" y="6676"/>
                </a:lnTo>
                <a:lnTo>
                  <a:pt x="9790" y="6671"/>
                </a:lnTo>
                <a:lnTo>
                  <a:pt x="9797" y="6666"/>
                </a:lnTo>
                <a:lnTo>
                  <a:pt x="9805" y="6661"/>
                </a:lnTo>
                <a:lnTo>
                  <a:pt x="9812" y="6657"/>
                </a:lnTo>
                <a:lnTo>
                  <a:pt x="9820" y="6653"/>
                </a:lnTo>
                <a:lnTo>
                  <a:pt x="9828" y="6650"/>
                </a:lnTo>
                <a:lnTo>
                  <a:pt x="9837" y="6647"/>
                </a:lnTo>
                <a:lnTo>
                  <a:pt x="9845" y="6645"/>
                </a:lnTo>
                <a:lnTo>
                  <a:pt x="9862" y="6642"/>
                </a:lnTo>
                <a:lnTo>
                  <a:pt x="9879" y="6641"/>
                </a:lnTo>
                <a:lnTo>
                  <a:pt x="9879" y="6646"/>
                </a:lnTo>
                <a:lnTo>
                  <a:pt x="9880" y="6651"/>
                </a:lnTo>
                <a:lnTo>
                  <a:pt x="9883" y="6655"/>
                </a:lnTo>
                <a:lnTo>
                  <a:pt x="9886" y="6658"/>
                </a:lnTo>
                <a:lnTo>
                  <a:pt x="9890" y="6660"/>
                </a:lnTo>
                <a:lnTo>
                  <a:pt x="9895" y="6662"/>
                </a:lnTo>
                <a:lnTo>
                  <a:pt x="9901" y="6663"/>
                </a:lnTo>
                <a:lnTo>
                  <a:pt x="9907" y="6664"/>
                </a:lnTo>
                <a:lnTo>
                  <a:pt x="9920" y="6664"/>
                </a:lnTo>
                <a:lnTo>
                  <a:pt x="9935" y="6662"/>
                </a:lnTo>
                <a:lnTo>
                  <a:pt x="9951" y="6658"/>
                </a:lnTo>
                <a:lnTo>
                  <a:pt x="9967" y="6654"/>
                </a:lnTo>
                <a:lnTo>
                  <a:pt x="10001" y="6643"/>
                </a:lnTo>
                <a:lnTo>
                  <a:pt x="10033" y="6632"/>
                </a:lnTo>
                <a:lnTo>
                  <a:pt x="10056" y="6623"/>
                </a:lnTo>
                <a:lnTo>
                  <a:pt x="10070" y="6620"/>
                </a:lnTo>
                <a:lnTo>
                  <a:pt x="10073" y="6613"/>
                </a:lnTo>
                <a:lnTo>
                  <a:pt x="10077" y="6608"/>
                </a:lnTo>
                <a:lnTo>
                  <a:pt x="10082" y="6602"/>
                </a:lnTo>
                <a:lnTo>
                  <a:pt x="10088" y="6596"/>
                </a:lnTo>
                <a:lnTo>
                  <a:pt x="10101" y="6585"/>
                </a:lnTo>
                <a:lnTo>
                  <a:pt x="10117" y="6574"/>
                </a:lnTo>
                <a:lnTo>
                  <a:pt x="10135" y="6563"/>
                </a:lnTo>
                <a:lnTo>
                  <a:pt x="10155" y="6553"/>
                </a:lnTo>
                <a:lnTo>
                  <a:pt x="10175" y="6543"/>
                </a:lnTo>
                <a:lnTo>
                  <a:pt x="10196" y="6533"/>
                </a:lnTo>
                <a:lnTo>
                  <a:pt x="10217" y="6525"/>
                </a:lnTo>
                <a:lnTo>
                  <a:pt x="10238" y="6517"/>
                </a:lnTo>
                <a:lnTo>
                  <a:pt x="10258" y="6510"/>
                </a:lnTo>
                <a:lnTo>
                  <a:pt x="10278" y="6504"/>
                </a:lnTo>
                <a:lnTo>
                  <a:pt x="10296" y="6499"/>
                </a:lnTo>
                <a:lnTo>
                  <a:pt x="10311" y="6496"/>
                </a:lnTo>
                <a:lnTo>
                  <a:pt x="10324" y="6493"/>
                </a:lnTo>
                <a:lnTo>
                  <a:pt x="10334" y="6493"/>
                </a:lnTo>
                <a:lnTo>
                  <a:pt x="10335" y="6485"/>
                </a:lnTo>
                <a:lnTo>
                  <a:pt x="10338" y="6480"/>
                </a:lnTo>
                <a:lnTo>
                  <a:pt x="10343" y="6475"/>
                </a:lnTo>
                <a:lnTo>
                  <a:pt x="10350" y="6472"/>
                </a:lnTo>
                <a:lnTo>
                  <a:pt x="10359" y="6469"/>
                </a:lnTo>
                <a:lnTo>
                  <a:pt x="10369" y="6467"/>
                </a:lnTo>
                <a:lnTo>
                  <a:pt x="10380" y="6465"/>
                </a:lnTo>
                <a:lnTo>
                  <a:pt x="10393" y="6464"/>
                </a:lnTo>
                <a:lnTo>
                  <a:pt x="10423" y="6464"/>
                </a:lnTo>
                <a:lnTo>
                  <a:pt x="10456" y="6466"/>
                </a:lnTo>
                <a:lnTo>
                  <a:pt x="10491" y="6469"/>
                </a:lnTo>
                <a:lnTo>
                  <a:pt x="10529" y="6473"/>
                </a:lnTo>
                <a:lnTo>
                  <a:pt x="10605" y="6484"/>
                </a:lnTo>
                <a:lnTo>
                  <a:pt x="10676" y="6495"/>
                </a:lnTo>
                <a:lnTo>
                  <a:pt x="10706" y="6499"/>
                </a:lnTo>
                <a:lnTo>
                  <a:pt x="10732" y="6502"/>
                </a:lnTo>
                <a:lnTo>
                  <a:pt x="10753" y="6504"/>
                </a:lnTo>
                <a:lnTo>
                  <a:pt x="10768" y="6503"/>
                </a:lnTo>
                <a:close/>
                <a:moveTo>
                  <a:pt x="10938" y="6418"/>
                </a:moveTo>
                <a:lnTo>
                  <a:pt x="10941" y="6408"/>
                </a:lnTo>
                <a:lnTo>
                  <a:pt x="10945" y="6400"/>
                </a:lnTo>
                <a:lnTo>
                  <a:pt x="10949" y="6394"/>
                </a:lnTo>
                <a:lnTo>
                  <a:pt x="10953" y="6390"/>
                </a:lnTo>
                <a:lnTo>
                  <a:pt x="10958" y="6387"/>
                </a:lnTo>
                <a:lnTo>
                  <a:pt x="10963" y="6387"/>
                </a:lnTo>
                <a:lnTo>
                  <a:pt x="10969" y="6387"/>
                </a:lnTo>
                <a:lnTo>
                  <a:pt x="10974" y="6389"/>
                </a:lnTo>
                <a:lnTo>
                  <a:pt x="10999" y="6402"/>
                </a:lnTo>
                <a:lnTo>
                  <a:pt x="11026" y="6415"/>
                </a:lnTo>
                <a:lnTo>
                  <a:pt x="11040" y="6419"/>
                </a:lnTo>
                <a:lnTo>
                  <a:pt x="11052" y="6423"/>
                </a:lnTo>
                <a:lnTo>
                  <a:pt x="11061" y="6425"/>
                </a:lnTo>
                <a:lnTo>
                  <a:pt x="11069" y="6426"/>
                </a:lnTo>
                <a:lnTo>
                  <a:pt x="11076" y="6426"/>
                </a:lnTo>
                <a:lnTo>
                  <a:pt x="11081" y="6425"/>
                </a:lnTo>
                <a:lnTo>
                  <a:pt x="11086" y="6423"/>
                </a:lnTo>
                <a:lnTo>
                  <a:pt x="11090" y="6421"/>
                </a:lnTo>
                <a:lnTo>
                  <a:pt x="11098" y="6415"/>
                </a:lnTo>
                <a:lnTo>
                  <a:pt x="11107" y="6406"/>
                </a:lnTo>
                <a:lnTo>
                  <a:pt x="11113" y="6402"/>
                </a:lnTo>
                <a:lnTo>
                  <a:pt x="11120" y="6397"/>
                </a:lnTo>
                <a:lnTo>
                  <a:pt x="11128" y="6392"/>
                </a:lnTo>
                <a:lnTo>
                  <a:pt x="11138" y="6387"/>
                </a:lnTo>
                <a:lnTo>
                  <a:pt x="11138" y="6402"/>
                </a:lnTo>
                <a:lnTo>
                  <a:pt x="11137" y="6415"/>
                </a:lnTo>
                <a:lnTo>
                  <a:pt x="11136" y="6427"/>
                </a:lnTo>
                <a:lnTo>
                  <a:pt x="11134" y="6437"/>
                </a:lnTo>
                <a:lnTo>
                  <a:pt x="11132" y="6446"/>
                </a:lnTo>
                <a:lnTo>
                  <a:pt x="11129" y="6454"/>
                </a:lnTo>
                <a:lnTo>
                  <a:pt x="11125" y="6460"/>
                </a:lnTo>
                <a:lnTo>
                  <a:pt x="11121" y="6465"/>
                </a:lnTo>
                <a:lnTo>
                  <a:pt x="11117" y="6469"/>
                </a:lnTo>
                <a:lnTo>
                  <a:pt x="11113" y="6472"/>
                </a:lnTo>
                <a:lnTo>
                  <a:pt x="11108" y="6473"/>
                </a:lnTo>
                <a:lnTo>
                  <a:pt x="11102" y="6474"/>
                </a:lnTo>
                <a:lnTo>
                  <a:pt x="11096" y="6474"/>
                </a:lnTo>
                <a:lnTo>
                  <a:pt x="11090" y="6474"/>
                </a:lnTo>
                <a:lnTo>
                  <a:pt x="11084" y="6472"/>
                </a:lnTo>
                <a:lnTo>
                  <a:pt x="11077" y="6470"/>
                </a:lnTo>
                <a:lnTo>
                  <a:pt x="11047" y="6458"/>
                </a:lnTo>
                <a:lnTo>
                  <a:pt x="11012" y="6441"/>
                </a:lnTo>
                <a:lnTo>
                  <a:pt x="10994" y="6433"/>
                </a:lnTo>
                <a:lnTo>
                  <a:pt x="10976" y="6427"/>
                </a:lnTo>
                <a:lnTo>
                  <a:pt x="10966" y="6424"/>
                </a:lnTo>
                <a:lnTo>
                  <a:pt x="10957" y="6421"/>
                </a:lnTo>
                <a:lnTo>
                  <a:pt x="10947" y="6419"/>
                </a:lnTo>
                <a:lnTo>
                  <a:pt x="10938" y="6418"/>
                </a:lnTo>
                <a:close/>
                <a:moveTo>
                  <a:pt x="13446" y="10831"/>
                </a:moveTo>
                <a:lnTo>
                  <a:pt x="13446" y="10819"/>
                </a:lnTo>
                <a:lnTo>
                  <a:pt x="13447" y="10809"/>
                </a:lnTo>
                <a:lnTo>
                  <a:pt x="13449" y="10803"/>
                </a:lnTo>
                <a:lnTo>
                  <a:pt x="13452" y="10798"/>
                </a:lnTo>
                <a:lnTo>
                  <a:pt x="13462" y="10789"/>
                </a:lnTo>
                <a:lnTo>
                  <a:pt x="13477" y="10778"/>
                </a:lnTo>
                <a:lnTo>
                  <a:pt x="13481" y="10797"/>
                </a:lnTo>
                <a:lnTo>
                  <a:pt x="13485" y="10812"/>
                </a:lnTo>
                <a:lnTo>
                  <a:pt x="13486" y="10818"/>
                </a:lnTo>
                <a:lnTo>
                  <a:pt x="13486" y="10824"/>
                </a:lnTo>
                <a:lnTo>
                  <a:pt x="13486" y="10828"/>
                </a:lnTo>
                <a:lnTo>
                  <a:pt x="13485" y="10832"/>
                </a:lnTo>
                <a:lnTo>
                  <a:pt x="13484" y="10834"/>
                </a:lnTo>
                <a:lnTo>
                  <a:pt x="13482" y="10836"/>
                </a:lnTo>
                <a:lnTo>
                  <a:pt x="13479" y="10838"/>
                </a:lnTo>
                <a:lnTo>
                  <a:pt x="13474" y="10838"/>
                </a:lnTo>
                <a:lnTo>
                  <a:pt x="13463" y="10836"/>
                </a:lnTo>
                <a:lnTo>
                  <a:pt x="13446" y="10831"/>
                </a:lnTo>
                <a:close/>
                <a:moveTo>
                  <a:pt x="9520" y="5179"/>
                </a:moveTo>
                <a:lnTo>
                  <a:pt x="9509" y="5169"/>
                </a:lnTo>
                <a:lnTo>
                  <a:pt x="9503" y="5159"/>
                </a:lnTo>
                <a:lnTo>
                  <a:pt x="9498" y="5150"/>
                </a:lnTo>
                <a:lnTo>
                  <a:pt x="9495" y="5141"/>
                </a:lnTo>
                <a:lnTo>
                  <a:pt x="9494" y="5133"/>
                </a:lnTo>
                <a:lnTo>
                  <a:pt x="9494" y="5124"/>
                </a:lnTo>
                <a:lnTo>
                  <a:pt x="9495" y="5116"/>
                </a:lnTo>
                <a:lnTo>
                  <a:pt x="9498" y="5107"/>
                </a:lnTo>
                <a:lnTo>
                  <a:pt x="9505" y="5090"/>
                </a:lnTo>
                <a:lnTo>
                  <a:pt x="9515" y="5072"/>
                </a:lnTo>
                <a:lnTo>
                  <a:pt x="9520" y="5063"/>
                </a:lnTo>
                <a:lnTo>
                  <a:pt x="9524" y="5053"/>
                </a:lnTo>
                <a:lnTo>
                  <a:pt x="9528" y="5043"/>
                </a:lnTo>
                <a:lnTo>
                  <a:pt x="9530" y="5032"/>
                </a:lnTo>
                <a:lnTo>
                  <a:pt x="9522" y="5029"/>
                </a:lnTo>
                <a:lnTo>
                  <a:pt x="9515" y="5026"/>
                </a:lnTo>
                <a:lnTo>
                  <a:pt x="9508" y="5024"/>
                </a:lnTo>
                <a:lnTo>
                  <a:pt x="9504" y="5021"/>
                </a:lnTo>
                <a:lnTo>
                  <a:pt x="9502" y="5019"/>
                </a:lnTo>
                <a:lnTo>
                  <a:pt x="9501" y="5016"/>
                </a:lnTo>
                <a:lnTo>
                  <a:pt x="9501" y="5014"/>
                </a:lnTo>
                <a:lnTo>
                  <a:pt x="9502" y="5011"/>
                </a:lnTo>
                <a:lnTo>
                  <a:pt x="9508" y="5006"/>
                </a:lnTo>
                <a:lnTo>
                  <a:pt x="9519" y="5000"/>
                </a:lnTo>
                <a:lnTo>
                  <a:pt x="9531" y="4995"/>
                </a:lnTo>
                <a:lnTo>
                  <a:pt x="9546" y="4989"/>
                </a:lnTo>
                <a:lnTo>
                  <a:pt x="9578" y="4979"/>
                </a:lnTo>
                <a:lnTo>
                  <a:pt x="9609" y="4967"/>
                </a:lnTo>
                <a:lnTo>
                  <a:pt x="9623" y="4962"/>
                </a:lnTo>
                <a:lnTo>
                  <a:pt x="9634" y="4957"/>
                </a:lnTo>
                <a:lnTo>
                  <a:pt x="9638" y="4954"/>
                </a:lnTo>
                <a:lnTo>
                  <a:pt x="9643" y="4952"/>
                </a:lnTo>
                <a:lnTo>
                  <a:pt x="9645" y="4949"/>
                </a:lnTo>
                <a:lnTo>
                  <a:pt x="9647" y="4947"/>
                </a:lnTo>
                <a:lnTo>
                  <a:pt x="9640" y="4946"/>
                </a:lnTo>
                <a:lnTo>
                  <a:pt x="9633" y="4945"/>
                </a:lnTo>
                <a:lnTo>
                  <a:pt x="9627" y="4943"/>
                </a:lnTo>
                <a:lnTo>
                  <a:pt x="9622" y="4940"/>
                </a:lnTo>
                <a:lnTo>
                  <a:pt x="9617" y="4937"/>
                </a:lnTo>
                <a:lnTo>
                  <a:pt x="9612" y="4933"/>
                </a:lnTo>
                <a:lnTo>
                  <a:pt x="9608" y="4929"/>
                </a:lnTo>
                <a:lnTo>
                  <a:pt x="9605" y="4925"/>
                </a:lnTo>
                <a:lnTo>
                  <a:pt x="9602" y="4920"/>
                </a:lnTo>
                <a:lnTo>
                  <a:pt x="9599" y="4914"/>
                </a:lnTo>
                <a:lnTo>
                  <a:pt x="9597" y="4909"/>
                </a:lnTo>
                <a:lnTo>
                  <a:pt x="9596" y="4903"/>
                </a:lnTo>
                <a:lnTo>
                  <a:pt x="9596" y="4897"/>
                </a:lnTo>
                <a:lnTo>
                  <a:pt x="9597" y="4891"/>
                </a:lnTo>
                <a:lnTo>
                  <a:pt x="9598" y="4885"/>
                </a:lnTo>
                <a:lnTo>
                  <a:pt x="9600" y="4880"/>
                </a:lnTo>
                <a:lnTo>
                  <a:pt x="9603" y="4874"/>
                </a:lnTo>
                <a:lnTo>
                  <a:pt x="9606" y="4871"/>
                </a:lnTo>
                <a:lnTo>
                  <a:pt x="9610" y="4870"/>
                </a:lnTo>
                <a:lnTo>
                  <a:pt x="9613" y="4871"/>
                </a:lnTo>
                <a:lnTo>
                  <a:pt x="9622" y="4876"/>
                </a:lnTo>
                <a:lnTo>
                  <a:pt x="9631" y="4885"/>
                </a:lnTo>
                <a:lnTo>
                  <a:pt x="9642" y="4895"/>
                </a:lnTo>
                <a:lnTo>
                  <a:pt x="9653" y="4903"/>
                </a:lnTo>
                <a:lnTo>
                  <a:pt x="9659" y="4906"/>
                </a:lnTo>
                <a:lnTo>
                  <a:pt x="9665" y="4907"/>
                </a:lnTo>
                <a:lnTo>
                  <a:pt x="9672" y="4907"/>
                </a:lnTo>
                <a:lnTo>
                  <a:pt x="9678" y="4905"/>
                </a:lnTo>
                <a:lnTo>
                  <a:pt x="9696" y="4901"/>
                </a:lnTo>
                <a:lnTo>
                  <a:pt x="9715" y="4894"/>
                </a:lnTo>
                <a:lnTo>
                  <a:pt x="9725" y="4891"/>
                </a:lnTo>
                <a:lnTo>
                  <a:pt x="9734" y="4888"/>
                </a:lnTo>
                <a:lnTo>
                  <a:pt x="9743" y="4885"/>
                </a:lnTo>
                <a:lnTo>
                  <a:pt x="9752" y="4884"/>
                </a:lnTo>
                <a:lnTo>
                  <a:pt x="9755" y="4884"/>
                </a:lnTo>
                <a:lnTo>
                  <a:pt x="9759" y="4885"/>
                </a:lnTo>
                <a:lnTo>
                  <a:pt x="9762" y="4886"/>
                </a:lnTo>
                <a:lnTo>
                  <a:pt x="9766" y="4887"/>
                </a:lnTo>
                <a:lnTo>
                  <a:pt x="9768" y="4889"/>
                </a:lnTo>
                <a:lnTo>
                  <a:pt x="9770" y="4892"/>
                </a:lnTo>
                <a:lnTo>
                  <a:pt x="9772" y="4895"/>
                </a:lnTo>
                <a:lnTo>
                  <a:pt x="9773" y="4899"/>
                </a:lnTo>
                <a:lnTo>
                  <a:pt x="9774" y="4903"/>
                </a:lnTo>
                <a:lnTo>
                  <a:pt x="9774" y="4909"/>
                </a:lnTo>
                <a:lnTo>
                  <a:pt x="9774" y="4915"/>
                </a:lnTo>
                <a:lnTo>
                  <a:pt x="9773" y="4922"/>
                </a:lnTo>
                <a:lnTo>
                  <a:pt x="9769" y="4939"/>
                </a:lnTo>
                <a:lnTo>
                  <a:pt x="9761" y="4960"/>
                </a:lnTo>
                <a:lnTo>
                  <a:pt x="9753" y="4984"/>
                </a:lnTo>
                <a:lnTo>
                  <a:pt x="9745" y="5006"/>
                </a:lnTo>
                <a:lnTo>
                  <a:pt x="9736" y="5027"/>
                </a:lnTo>
                <a:lnTo>
                  <a:pt x="9727" y="5047"/>
                </a:lnTo>
                <a:lnTo>
                  <a:pt x="9718" y="5066"/>
                </a:lnTo>
                <a:lnTo>
                  <a:pt x="9707" y="5084"/>
                </a:lnTo>
                <a:lnTo>
                  <a:pt x="9696" y="5100"/>
                </a:lnTo>
                <a:lnTo>
                  <a:pt x="9684" y="5116"/>
                </a:lnTo>
                <a:lnTo>
                  <a:pt x="9677" y="5123"/>
                </a:lnTo>
                <a:lnTo>
                  <a:pt x="9670" y="5130"/>
                </a:lnTo>
                <a:lnTo>
                  <a:pt x="9662" y="5136"/>
                </a:lnTo>
                <a:lnTo>
                  <a:pt x="9654" y="5142"/>
                </a:lnTo>
                <a:lnTo>
                  <a:pt x="9646" y="5148"/>
                </a:lnTo>
                <a:lnTo>
                  <a:pt x="9636" y="5153"/>
                </a:lnTo>
                <a:lnTo>
                  <a:pt x="9627" y="5158"/>
                </a:lnTo>
                <a:lnTo>
                  <a:pt x="9617" y="5162"/>
                </a:lnTo>
                <a:lnTo>
                  <a:pt x="9607" y="5166"/>
                </a:lnTo>
                <a:lnTo>
                  <a:pt x="9596" y="5169"/>
                </a:lnTo>
                <a:lnTo>
                  <a:pt x="9585" y="5172"/>
                </a:lnTo>
                <a:lnTo>
                  <a:pt x="9573" y="5175"/>
                </a:lnTo>
                <a:lnTo>
                  <a:pt x="9561" y="5177"/>
                </a:lnTo>
                <a:lnTo>
                  <a:pt x="9548" y="5178"/>
                </a:lnTo>
                <a:lnTo>
                  <a:pt x="9534" y="5179"/>
                </a:lnTo>
                <a:lnTo>
                  <a:pt x="9520" y="5179"/>
                </a:lnTo>
                <a:close/>
                <a:moveTo>
                  <a:pt x="8577" y="3974"/>
                </a:moveTo>
                <a:lnTo>
                  <a:pt x="8596" y="3965"/>
                </a:lnTo>
                <a:lnTo>
                  <a:pt x="8640" y="3947"/>
                </a:lnTo>
                <a:lnTo>
                  <a:pt x="8664" y="3937"/>
                </a:lnTo>
                <a:lnTo>
                  <a:pt x="8687" y="3929"/>
                </a:lnTo>
                <a:lnTo>
                  <a:pt x="8704" y="3923"/>
                </a:lnTo>
                <a:lnTo>
                  <a:pt x="8715" y="3920"/>
                </a:lnTo>
                <a:lnTo>
                  <a:pt x="8714" y="3927"/>
                </a:lnTo>
                <a:lnTo>
                  <a:pt x="8712" y="3931"/>
                </a:lnTo>
                <a:lnTo>
                  <a:pt x="8709" y="3934"/>
                </a:lnTo>
                <a:lnTo>
                  <a:pt x="8707" y="3935"/>
                </a:lnTo>
                <a:lnTo>
                  <a:pt x="8707" y="3936"/>
                </a:lnTo>
                <a:lnTo>
                  <a:pt x="8709" y="3937"/>
                </a:lnTo>
                <a:lnTo>
                  <a:pt x="8715" y="3939"/>
                </a:lnTo>
                <a:lnTo>
                  <a:pt x="8725" y="3941"/>
                </a:lnTo>
                <a:lnTo>
                  <a:pt x="8727" y="3950"/>
                </a:lnTo>
                <a:lnTo>
                  <a:pt x="8727" y="3961"/>
                </a:lnTo>
                <a:lnTo>
                  <a:pt x="8727" y="3974"/>
                </a:lnTo>
                <a:lnTo>
                  <a:pt x="8727" y="3986"/>
                </a:lnTo>
                <a:lnTo>
                  <a:pt x="8725" y="4007"/>
                </a:lnTo>
                <a:lnTo>
                  <a:pt x="8725" y="4016"/>
                </a:lnTo>
                <a:lnTo>
                  <a:pt x="8726" y="4018"/>
                </a:lnTo>
                <a:lnTo>
                  <a:pt x="8727" y="4020"/>
                </a:lnTo>
                <a:lnTo>
                  <a:pt x="8729" y="4021"/>
                </a:lnTo>
                <a:lnTo>
                  <a:pt x="8732" y="4022"/>
                </a:lnTo>
                <a:lnTo>
                  <a:pt x="8740" y="4022"/>
                </a:lnTo>
                <a:lnTo>
                  <a:pt x="8751" y="4022"/>
                </a:lnTo>
                <a:lnTo>
                  <a:pt x="8779" y="4017"/>
                </a:lnTo>
                <a:lnTo>
                  <a:pt x="8810" y="4010"/>
                </a:lnTo>
                <a:lnTo>
                  <a:pt x="8842" y="4001"/>
                </a:lnTo>
                <a:lnTo>
                  <a:pt x="8872" y="3993"/>
                </a:lnTo>
                <a:lnTo>
                  <a:pt x="8897" y="3986"/>
                </a:lnTo>
                <a:lnTo>
                  <a:pt x="8912" y="3983"/>
                </a:lnTo>
                <a:lnTo>
                  <a:pt x="8935" y="3979"/>
                </a:lnTo>
                <a:lnTo>
                  <a:pt x="8955" y="3974"/>
                </a:lnTo>
                <a:lnTo>
                  <a:pt x="8974" y="3967"/>
                </a:lnTo>
                <a:lnTo>
                  <a:pt x="8991" y="3961"/>
                </a:lnTo>
                <a:lnTo>
                  <a:pt x="9020" y="3949"/>
                </a:lnTo>
                <a:lnTo>
                  <a:pt x="9041" y="3941"/>
                </a:lnTo>
                <a:lnTo>
                  <a:pt x="9046" y="3940"/>
                </a:lnTo>
                <a:lnTo>
                  <a:pt x="9050" y="3940"/>
                </a:lnTo>
                <a:lnTo>
                  <a:pt x="9054" y="3940"/>
                </a:lnTo>
                <a:lnTo>
                  <a:pt x="9057" y="3940"/>
                </a:lnTo>
                <a:lnTo>
                  <a:pt x="9060" y="3942"/>
                </a:lnTo>
                <a:lnTo>
                  <a:pt x="9063" y="3944"/>
                </a:lnTo>
                <a:lnTo>
                  <a:pt x="9065" y="3947"/>
                </a:lnTo>
                <a:lnTo>
                  <a:pt x="9067" y="3950"/>
                </a:lnTo>
                <a:lnTo>
                  <a:pt x="9071" y="3960"/>
                </a:lnTo>
                <a:lnTo>
                  <a:pt x="9073" y="3975"/>
                </a:lnTo>
                <a:lnTo>
                  <a:pt x="9074" y="3993"/>
                </a:lnTo>
                <a:lnTo>
                  <a:pt x="9075" y="4016"/>
                </a:lnTo>
                <a:lnTo>
                  <a:pt x="9087" y="4020"/>
                </a:lnTo>
                <a:lnTo>
                  <a:pt x="9097" y="4022"/>
                </a:lnTo>
                <a:lnTo>
                  <a:pt x="9106" y="4024"/>
                </a:lnTo>
                <a:lnTo>
                  <a:pt x="9113" y="4024"/>
                </a:lnTo>
                <a:lnTo>
                  <a:pt x="9120" y="4022"/>
                </a:lnTo>
                <a:lnTo>
                  <a:pt x="9125" y="4020"/>
                </a:lnTo>
                <a:lnTo>
                  <a:pt x="9130" y="4017"/>
                </a:lnTo>
                <a:lnTo>
                  <a:pt x="9136" y="4014"/>
                </a:lnTo>
                <a:lnTo>
                  <a:pt x="9144" y="4005"/>
                </a:lnTo>
                <a:lnTo>
                  <a:pt x="9153" y="3994"/>
                </a:lnTo>
                <a:lnTo>
                  <a:pt x="9159" y="3989"/>
                </a:lnTo>
                <a:lnTo>
                  <a:pt x="9165" y="3984"/>
                </a:lnTo>
                <a:lnTo>
                  <a:pt x="9172" y="3979"/>
                </a:lnTo>
                <a:lnTo>
                  <a:pt x="9181" y="3974"/>
                </a:lnTo>
                <a:lnTo>
                  <a:pt x="9182" y="3984"/>
                </a:lnTo>
                <a:lnTo>
                  <a:pt x="9183" y="3992"/>
                </a:lnTo>
                <a:lnTo>
                  <a:pt x="9185" y="3999"/>
                </a:lnTo>
                <a:lnTo>
                  <a:pt x="9188" y="4006"/>
                </a:lnTo>
                <a:lnTo>
                  <a:pt x="9194" y="4017"/>
                </a:lnTo>
                <a:lnTo>
                  <a:pt x="9198" y="4026"/>
                </a:lnTo>
                <a:lnTo>
                  <a:pt x="9199" y="4030"/>
                </a:lnTo>
                <a:lnTo>
                  <a:pt x="9200" y="4034"/>
                </a:lnTo>
                <a:lnTo>
                  <a:pt x="9199" y="4038"/>
                </a:lnTo>
                <a:lnTo>
                  <a:pt x="9196" y="4043"/>
                </a:lnTo>
                <a:lnTo>
                  <a:pt x="9191" y="4048"/>
                </a:lnTo>
                <a:lnTo>
                  <a:pt x="9185" y="4054"/>
                </a:lnTo>
                <a:lnTo>
                  <a:pt x="9176" y="4060"/>
                </a:lnTo>
                <a:lnTo>
                  <a:pt x="9165" y="4068"/>
                </a:lnTo>
                <a:lnTo>
                  <a:pt x="9143" y="4081"/>
                </a:lnTo>
                <a:lnTo>
                  <a:pt x="9120" y="4092"/>
                </a:lnTo>
                <a:lnTo>
                  <a:pt x="9098" y="4103"/>
                </a:lnTo>
                <a:lnTo>
                  <a:pt x="9076" y="4110"/>
                </a:lnTo>
                <a:lnTo>
                  <a:pt x="9053" y="4115"/>
                </a:lnTo>
                <a:lnTo>
                  <a:pt x="9029" y="4119"/>
                </a:lnTo>
                <a:lnTo>
                  <a:pt x="9002" y="4121"/>
                </a:lnTo>
                <a:lnTo>
                  <a:pt x="8974" y="4122"/>
                </a:lnTo>
                <a:lnTo>
                  <a:pt x="8959" y="4123"/>
                </a:lnTo>
                <a:lnTo>
                  <a:pt x="8932" y="4126"/>
                </a:lnTo>
                <a:lnTo>
                  <a:pt x="8899" y="4131"/>
                </a:lnTo>
                <a:lnTo>
                  <a:pt x="8862" y="4135"/>
                </a:lnTo>
                <a:lnTo>
                  <a:pt x="8827" y="4138"/>
                </a:lnTo>
                <a:lnTo>
                  <a:pt x="8797" y="4140"/>
                </a:lnTo>
                <a:lnTo>
                  <a:pt x="8785" y="4139"/>
                </a:lnTo>
                <a:lnTo>
                  <a:pt x="8776" y="4138"/>
                </a:lnTo>
                <a:lnTo>
                  <a:pt x="8773" y="4137"/>
                </a:lnTo>
                <a:lnTo>
                  <a:pt x="8770" y="4135"/>
                </a:lnTo>
                <a:lnTo>
                  <a:pt x="8769" y="4134"/>
                </a:lnTo>
                <a:lnTo>
                  <a:pt x="8768" y="4132"/>
                </a:lnTo>
                <a:lnTo>
                  <a:pt x="8755" y="4132"/>
                </a:lnTo>
                <a:lnTo>
                  <a:pt x="8743" y="4131"/>
                </a:lnTo>
                <a:lnTo>
                  <a:pt x="8731" y="4129"/>
                </a:lnTo>
                <a:lnTo>
                  <a:pt x="8719" y="4127"/>
                </a:lnTo>
                <a:lnTo>
                  <a:pt x="8696" y="4121"/>
                </a:lnTo>
                <a:lnTo>
                  <a:pt x="8672" y="4114"/>
                </a:lnTo>
                <a:lnTo>
                  <a:pt x="8648" y="4107"/>
                </a:lnTo>
                <a:lnTo>
                  <a:pt x="8622" y="4100"/>
                </a:lnTo>
                <a:lnTo>
                  <a:pt x="8595" y="4093"/>
                </a:lnTo>
                <a:lnTo>
                  <a:pt x="8567" y="4089"/>
                </a:lnTo>
                <a:lnTo>
                  <a:pt x="8568" y="4083"/>
                </a:lnTo>
                <a:lnTo>
                  <a:pt x="8571" y="4075"/>
                </a:lnTo>
                <a:lnTo>
                  <a:pt x="8577" y="4067"/>
                </a:lnTo>
                <a:lnTo>
                  <a:pt x="8583" y="4058"/>
                </a:lnTo>
                <a:lnTo>
                  <a:pt x="8597" y="4039"/>
                </a:lnTo>
                <a:lnTo>
                  <a:pt x="8611" y="4020"/>
                </a:lnTo>
                <a:lnTo>
                  <a:pt x="8616" y="4011"/>
                </a:lnTo>
                <a:lnTo>
                  <a:pt x="8619" y="4002"/>
                </a:lnTo>
                <a:lnTo>
                  <a:pt x="8620" y="3998"/>
                </a:lnTo>
                <a:lnTo>
                  <a:pt x="8620" y="3995"/>
                </a:lnTo>
                <a:lnTo>
                  <a:pt x="8620" y="3991"/>
                </a:lnTo>
                <a:lnTo>
                  <a:pt x="8619" y="3988"/>
                </a:lnTo>
                <a:lnTo>
                  <a:pt x="8617" y="3985"/>
                </a:lnTo>
                <a:lnTo>
                  <a:pt x="8615" y="3982"/>
                </a:lnTo>
                <a:lnTo>
                  <a:pt x="8611" y="3980"/>
                </a:lnTo>
                <a:lnTo>
                  <a:pt x="8606" y="3978"/>
                </a:lnTo>
                <a:lnTo>
                  <a:pt x="8601" y="3976"/>
                </a:lnTo>
                <a:lnTo>
                  <a:pt x="8594" y="3975"/>
                </a:lnTo>
                <a:lnTo>
                  <a:pt x="8586" y="3974"/>
                </a:lnTo>
                <a:lnTo>
                  <a:pt x="8577" y="3974"/>
                </a:lnTo>
                <a:close/>
                <a:moveTo>
                  <a:pt x="13139" y="11127"/>
                </a:moveTo>
                <a:lnTo>
                  <a:pt x="13154" y="11140"/>
                </a:lnTo>
                <a:lnTo>
                  <a:pt x="13170" y="11154"/>
                </a:lnTo>
                <a:lnTo>
                  <a:pt x="13177" y="11160"/>
                </a:lnTo>
                <a:lnTo>
                  <a:pt x="13184" y="11166"/>
                </a:lnTo>
                <a:lnTo>
                  <a:pt x="13190" y="11170"/>
                </a:lnTo>
                <a:lnTo>
                  <a:pt x="13197" y="11174"/>
                </a:lnTo>
                <a:lnTo>
                  <a:pt x="13203" y="11176"/>
                </a:lnTo>
                <a:lnTo>
                  <a:pt x="13209" y="11176"/>
                </a:lnTo>
                <a:lnTo>
                  <a:pt x="13212" y="11176"/>
                </a:lnTo>
                <a:lnTo>
                  <a:pt x="13215" y="11175"/>
                </a:lnTo>
                <a:lnTo>
                  <a:pt x="13218" y="11173"/>
                </a:lnTo>
                <a:lnTo>
                  <a:pt x="13221" y="11171"/>
                </a:lnTo>
                <a:lnTo>
                  <a:pt x="13227" y="11164"/>
                </a:lnTo>
                <a:lnTo>
                  <a:pt x="13233" y="11155"/>
                </a:lnTo>
                <a:lnTo>
                  <a:pt x="13239" y="11142"/>
                </a:lnTo>
                <a:lnTo>
                  <a:pt x="13245" y="11127"/>
                </a:lnTo>
                <a:lnTo>
                  <a:pt x="13231" y="11124"/>
                </a:lnTo>
                <a:lnTo>
                  <a:pt x="13220" y="11121"/>
                </a:lnTo>
                <a:lnTo>
                  <a:pt x="13211" y="11117"/>
                </a:lnTo>
                <a:lnTo>
                  <a:pt x="13204" y="11113"/>
                </a:lnTo>
                <a:lnTo>
                  <a:pt x="13199" y="11109"/>
                </a:lnTo>
                <a:lnTo>
                  <a:pt x="13195" y="11104"/>
                </a:lnTo>
                <a:lnTo>
                  <a:pt x="13192" y="11099"/>
                </a:lnTo>
                <a:lnTo>
                  <a:pt x="13191" y="11093"/>
                </a:lnTo>
                <a:lnTo>
                  <a:pt x="13191" y="11086"/>
                </a:lnTo>
                <a:lnTo>
                  <a:pt x="13192" y="11079"/>
                </a:lnTo>
                <a:lnTo>
                  <a:pt x="13194" y="11071"/>
                </a:lnTo>
                <a:lnTo>
                  <a:pt x="13197" y="11063"/>
                </a:lnTo>
                <a:lnTo>
                  <a:pt x="13204" y="11044"/>
                </a:lnTo>
                <a:lnTo>
                  <a:pt x="13213" y="11021"/>
                </a:lnTo>
                <a:lnTo>
                  <a:pt x="13224" y="11028"/>
                </a:lnTo>
                <a:lnTo>
                  <a:pt x="13236" y="11034"/>
                </a:lnTo>
                <a:lnTo>
                  <a:pt x="13251" y="11041"/>
                </a:lnTo>
                <a:lnTo>
                  <a:pt x="13266" y="11047"/>
                </a:lnTo>
                <a:lnTo>
                  <a:pt x="13282" y="11052"/>
                </a:lnTo>
                <a:lnTo>
                  <a:pt x="13300" y="11056"/>
                </a:lnTo>
                <a:lnTo>
                  <a:pt x="13317" y="11059"/>
                </a:lnTo>
                <a:lnTo>
                  <a:pt x="13333" y="11061"/>
                </a:lnTo>
                <a:lnTo>
                  <a:pt x="13341" y="11062"/>
                </a:lnTo>
                <a:lnTo>
                  <a:pt x="13349" y="11061"/>
                </a:lnTo>
                <a:lnTo>
                  <a:pt x="13357" y="11061"/>
                </a:lnTo>
                <a:lnTo>
                  <a:pt x="13364" y="11059"/>
                </a:lnTo>
                <a:lnTo>
                  <a:pt x="13371" y="11058"/>
                </a:lnTo>
                <a:lnTo>
                  <a:pt x="13378" y="11055"/>
                </a:lnTo>
                <a:lnTo>
                  <a:pt x="13384" y="11052"/>
                </a:lnTo>
                <a:lnTo>
                  <a:pt x="13390" y="11048"/>
                </a:lnTo>
                <a:lnTo>
                  <a:pt x="13395" y="11044"/>
                </a:lnTo>
                <a:lnTo>
                  <a:pt x="13400" y="11039"/>
                </a:lnTo>
                <a:lnTo>
                  <a:pt x="13404" y="11033"/>
                </a:lnTo>
                <a:lnTo>
                  <a:pt x="13407" y="11026"/>
                </a:lnTo>
                <a:lnTo>
                  <a:pt x="13410" y="11018"/>
                </a:lnTo>
                <a:lnTo>
                  <a:pt x="13412" y="11009"/>
                </a:lnTo>
                <a:lnTo>
                  <a:pt x="13413" y="11000"/>
                </a:lnTo>
                <a:lnTo>
                  <a:pt x="13414" y="10990"/>
                </a:lnTo>
                <a:lnTo>
                  <a:pt x="13403" y="10989"/>
                </a:lnTo>
                <a:lnTo>
                  <a:pt x="13394" y="10987"/>
                </a:lnTo>
                <a:lnTo>
                  <a:pt x="13386" y="10985"/>
                </a:lnTo>
                <a:lnTo>
                  <a:pt x="13380" y="10981"/>
                </a:lnTo>
                <a:lnTo>
                  <a:pt x="13375" y="10977"/>
                </a:lnTo>
                <a:lnTo>
                  <a:pt x="13371" y="10972"/>
                </a:lnTo>
                <a:lnTo>
                  <a:pt x="13368" y="10966"/>
                </a:lnTo>
                <a:lnTo>
                  <a:pt x="13366" y="10960"/>
                </a:lnTo>
                <a:lnTo>
                  <a:pt x="13365" y="10954"/>
                </a:lnTo>
                <a:lnTo>
                  <a:pt x="13365" y="10947"/>
                </a:lnTo>
                <a:lnTo>
                  <a:pt x="13366" y="10940"/>
                </a:lnTo>
                <a:lnTo>
                  <a:pt x="13367" y="10933"/>
                </a:lnTo>
                <a:lnTo>
                  <a:pt x="13369" y="10926"/>
                </a:lnTo>
                <a:lnTo>
                  <a:pt x="13372" y="10919"/>
                </a:lnTo>
                <a:lnTo>
                  <a:pt x="13375" y="10912"/>
                </a:lnTo>
                <a:lnTo>
                  <a:pt x="13379" y="10905"/>
                </a:lnTo>
                <a:lnTo>
                  <a:pt x="13383" y="10898"/>
                </a:lnTo>
                <a:lnTo>
                  <a:pt x="13387" y="10892"/>
                </a:lnTo>
                <a:lnTo>
                  <a:pt x="13391" y="10887"/>
                </a:lnTo>
                <a:lnTo>
                  <a:pt x="13396" y="10882"/>
                </a:lnTo>
                <a:lnTo>
                  <a:pt x="13401" y="10879"/>
                </a:lnTo>
                <a:lnTo>
                  <a:pt x="13405" y="10876"/>
                </a:lnTo>
                <a:lnTo>
                  <a:pt x="13410" y="10874"/>
                </a:lnTo>
                <a:lnTo>
                  <a:pt x="13414" y="10873"/>
                </a:lnTo>
                <a:lnTo>
                  <a:pt x="13418" y="10873"/>
                </a:lnTo>
                <a:lnTo>
                  <a:pt x="13423" y="10875"/>
                </a:lnTo>
                <a:lnTo>
                  <a:pt x="13427" y="10877"/>
                </a:lnTo>
                <a:lnTo>
                  <a:pt x="13430" y="10882"/>
                </a:lnTo>
                <a:lnTo>
                  <a:pt x="13432" y="10888"/>
                </a:lnTo>
                <a:lnTo>
                  <a:pt x="13434" y="10895"/>
                </a:lnTo>
                <a:lnTo>
                  <a:pt x="13435" y="10905"/>
                </a:lnTo>
                <a:lnTo>
                  <a:pt x="13436" y="10916"/>
                </a:lnTo>
                <a:lnTo>
                  <a:pt x="13445" y="10916"/>
                </a:lnTo>
                <a:lnTo>
                  <a:pt x="13454" y="10915"/>
                </a:lnTo>
                <a:lnTo>
                  <a:pt x="13461" y="10913"/>
                </a:lnTo>
                <a:lnTo>
                  <a:pt x="13468" y="10910"/>
                </a:lnTo>
                <a:lnTo>
                  <a:pt x="13474" y="10907"/>
                </a:lnTo>
                <a:lnTo>
                  <a:pt x="13479" y="10904"/>
                </a:lnTo>
                <a:lnTo>
                  <a:pt x="13484" y="10898"/>
                </a:lnTo>
                <a:lnTo>
                  <a:pt x="13487" y="10894"/>
                </a:lnTo>
                <a:lnTo>
                  <a:pt x="13491" y="10888"/>
                </a:lnTo>
                <a:lnTo>
                  <a:pt x="13493" y="10883"/>
                </a:lnTo>
                <a:lnTo>
                  <a:pt x="13496" y="10877"/>
                </a:lnTo>
                <a:lnTo>
                  <a:pt x="13497" y="10871"/>
                </a:lnTo>
                <a:lnTo>
                  <a:pt x="13500" y="10857"/>
                </a:lnTo>
                <a:lnTo>
                  <a:pt x="13501" y="10843"/>
                </a:lnTo>
                <a:lnTo>
                  <a:pt x="13501" y="10813"/>
                </a:lnTo>
                <a:lnTo>
                  <a:pt x="13502" y="10784"/>
                </a:lnTo>
                <a:lnTo>
                  <a:pt x="13504" y="10769"/>
                </a:lnTo>
                <a:lnTo>
                  <a:pt x="13507" y="10756"/>
                </a:lnTo>
                <a:lnTo>
                  <a:pt x="13509" y="10750"/>
                </a:lnTo>
                <a:lnTo>
                  <a:pt x="13512" y="10745"/>
                </a:lnTo>
                <a:lnTo>
                  <a:pt x="13515" y="10740"/>
                </a:lnTo>
                <a:lnTo>
                  <a:pt x="13519" y="10735"/>
                </a:lnTo>
                <a:lnTo>
                  <a:pt x="13521" y="10760"/>
                </a:lnTo>
                <a:lnTo>
                  <a:pt x="13524" y="10792"/>
                </a:lnTo>
                <a:lnTo>
                  <a:pt x="13530" y="10827"/>
                </a:lnTo>
                <a:lnTo>
                  <a:pt x="13538" y="10863"/>
                </a:lnTo>
                <a:lnTo>
                  <a:pt x="13542" y="10880"/>
                </a:lnTo>
                <a:lnTo>
                  <a:pt x="13548" y="10896"/>
                </a:lnTo>
                <a:lnTo>
                  <a:pt x="13553" y="10913"/>
                </a:lnTo>
                <a:lnTo>
                  <a:pt x="13559" y="10926"/>
                </a:lnTo>
                <a:lnTo>
                  <a:pt x="13565" y="10938"/>
                </a:lnTo>
                <a:lnTo>
                  <a:pt x="13571" y="10947"/>
                </a:lnTo>
                <a:lnTo>
                  <a:pt x="13574" y="10951"/>
                </a:lnTo>
                <a:lnTo>
                  <a:pt x="13577" y="10954"/>
                </a:lnTo>
                <a:lnTo>
                  <a:pt x="13580" y="10957"/>
                </a:lnTo>
                <a:lnTo>
                  <a:pt x="13583" y="10958"/>
                </a:lnTo>
                <a:lnTo>
                  <a:pt x="13591" y="10965"/>
                </a:lnTo>
                <a:lnTo>
                  <a:pt x="13596" y="10972"/>
                </a:lnTo>
                <a:lnTo>
                  <a:pt x="13601" y="10978"/>
                </a:lnTo>
                <a:lnTo>
                  <a:pt x="13604" y="10984"/>
                </a:lnTo>
                <a:lnTo>
                  <a:pt x="13607" y="10990"/>
                </a:lnTo>
                <a:lnTo>
                  <a:pt x="13608" y="10996"/>
                </a:lnTo>
                <a:lnTo>
                  <a:pt x="13609" y="11001"/>
                </a:lnTo>
                <a:lnTo>
                  <a:pt x="13608" y="11007"/>
                </a:lnTo>
                <a:lnTo>
                  <a:pt x="13607" y="11012"/>
                </a:lnTo>
                <a:lnTo>
                  <a:pt x="13605" y="11017"/>
                </a:lnTo>
                <a:lnTo>
                  <a:pt x="13603" y="11022"/>
                </a:lnTo>
                <a:lnTo>
                  <a:pt x="13600" y="11027"/>
                </a:lnTo>
                <a:lnTo>
                  <a:pt x="13592" y="11036"/>
                </a:lnTo>
                <a:lnTo>
                  <a:pt x="13583" y="11045"/>
                </a:lnTo>
                <a:lnTo>
                  <a:pt x="13562" y="11062"/>
                </a:lnTo>
                <a:lnTo>
                  <a:pt x="13541" y="11079"/>
                </a:lnTo>
                <a:lnTo>
                  <a:pt x="13532" y="11088"/>
                </a:lnTo>
                <a:lnTo>
                  <a:pt x="13525" y="11097"/>
                </a:lnTo>
                <a:lnTo>
                  <a:pt x="13523" y="11102"/>
                </a:lnTo>
                <a:lnTo>
                  <a:pt x="13521" y="11106"/>
                </a:lnTo>
                <a:lnTo>
                  <a:pt x="13520" y="11111"/>
                </a:lnTo>
                <a:lnTo>
                  <a:pt x="13519" y="11117"/>
                </a:lnTo>
                <a:lnTo>
                  <a:pt x="13513" y="11121"/>
                </a:lnTo>
                <a:lnTo>
                  <a:pt x="13507" y="11126"/>
                </a:lnTo>
                <a:lnTo>
                  <a:pt x="13503" y="11132"/>
                </a:lnTo>
                <a:lnTo>
                  <a:pt x="13499" y="11139"/>
                </a:lnTo>
                <a:lnTo>
                  <a:pt x="13496" y="11147"/>
                </a:lnTo>
                <a:lnTo>
                  <a:pt x="13493" y="11156"/>
                </a:lnTo>
                <a:lnTo>
                  <a:pt x="13491" y="11165"/>
                </a:lnTo>
                <a:lnTo>
                  <a:pt x="13490" y="11174"/>
                </a:lnTo>
                <a:lnTo>
                  <a:pt x="13488" y="11192"/>
                </a:lnTo>
                <a:lnTo>
                  <a:pt x="13488" y="11208"/>
                </a:lnTo>
                <a:lnTo>
                  <a:pt x="13488" y="11222"/>
                </a:lnTo>
                <a:lnTo>
                  <a:pt x="13488" y="11233"/>
                </a:lnTo>
                <a:lnTo>
                  <a:pt x="13475" y="11233"/>
                </a:lnTo>
                <a:lnTo>
                  <a:pt x="13462" y="11233"/>
                </a:lnTo>
                <a:lnTo>
                  <a:pt x="13449" y="11233"/>
                </a:lnTo>
                <a:lnTo>
                  <a:pt x="13436" y="11233"/>
                </a:lnTo>
                <a:lnTo>
                  <a:pt x="13434" y="11253"/>
                </a:lnTo>
                <a:lnTo>
                  <a:pt x="13432" y="11272"/>
                </a:lnTo>
                <a:lnTo>
                  <a:pt x="13429" y="11293"/>
                </a:lnTo>
                <a:lnTo>
                  <a:pt x="13425" y="11314"/>
                </a:lnTo>
                <a:lnTo>
                  <a:pt x="13415" y="11354"/>
                </a:lnTo>
                <a:lnTo>
                  <a:pt x="13406" y="11393"/>
                </a:lnTo>
                <a:lnTo>
                  <a:pt x="13397" y="11433"/>
                </a:lnTo>
                <a:lnTo>
                  <a:pt x="13389" y="11471"/>
                </a:lnTo>
                <a:lnTo>
                  <a:pt x="13386" y="11489"/>
                </a:lnTo>
                <a:lnTo>
                  <a:pt x="13384" y="11506"/>
                </a:lnTo>
                <a:lnTo>
                  <a:pt x="13383" y="11523"/>
                </a:lnTo>
                <a:lnTo>
                  <a:pt x="13382" y="11540"/>
                </a:lnTo>
                <a:lnTo>
                  <a:pt x="13378" y="11541"/>
                </a:lnTo>
                <a:lnTo>
                  <a:pt x="13374" y="11542"/>
                </a:lnTo>
                <a:lnTo>
                  <a:pt x="13370" y="11545"/>
                </a:lnTo>
                <a:lnTo>
                  <a:pt x="13367" y="11548"/>
                </a:lnTo>
                <a:lnTo>
                  <a:pt x="13364" y="11552"/>
                </a:lnTo>
                <a:lnTo>
                  <a:pt x="13361" y="11557"/>
                </a:lnTo>
                <a:lnTo>
                  <a:pt x="13359" y="11562"/>
                </a:lnTo>
                <a:lnTo>
                  <a:pt x="13357" y="11569"/>
                </a:lnTo>
                <a:lnTo>
                  <a:pt x="13353" y="11583"/>
                </a:lnTo>
                <a:lnTo>
                  <a:pt x="13350" y="11600"/>
                </a:lnTo>
                <a:lnTo>
                  <a:pt x="13348" y="11619"/>
                </a:lnTo>
                <a:lnTo>
                  <a:pt x="13347" y="11639"/>
                </a:lnTo>
                <a:lnTo>
                  <a:pt x="13345" y="11684"/>
                </a:lnTo>
                <a:lnTo>
                  <a:pt x="13345" y="11731"/>
                </a:lnTo>
                <a:lnTo>
                  <a:pt x="13344" y="11778"/>
                </a:lnTo>
                <a:lnTo>
                  <a:pt x="13343" y="11824"/>
                </a:lnTo>
                <a:lnTo>
                  <a:pt x="13324" y="11850"/>
                </a:lnTo>
                <a:lnTo>
                  <a:pt x="13305" y="11877"/>
                </a:lnTo>
                <a:lnTo>
                  <a:pt x="13285" y="11904"/>
                </a:lnTo>
                <a:lnTo>
                  <a:pt x="13266" y="11931"/>
                </a:lnTo>
                <a:lnTo>
                  <a:pt x="13242" y="11932"/>
                </a:lnTo>
                <a:lnTo>
                  <a:pt x="13221" y="11929"/>
                </a:lnTo>
                <a:lnTo>
                  <a:pt x="13202" y="11922"/>
                </a:lnTo>
                <a:lnTo>
                  <a:pt x="13184" y="11911"/>
                </a:lnTo>
                <a:lnTo>
                  <a:pt x="13168" y="11896"/>
                </a:lnTo>
                <a:lnTo>
                  <a:pt x="13153" y="11879"/>
                </a:lnTo>
                <a:lnTo>
                  <a:pt x="13140" y="11859"/>
                </a:lnTo>
                <a:lnTo>
                  <a:pt x="13130" y="11837"/>
                </a:lnTo>
                <a:lnTo>
                  <a:pt x="13120" y="11812"/>
                </a:lnTo>
                <a:lnTo>
                  <a:pt x="13112" y="11784"/>
                </a:lnTo>
                <a:lnTo>
                  <a:pt x="13105" y="11754"/>
                </a:lnTo>
                <a:lnTo>
                  <a:pt x="13100" y="11724"/>
                </a:lnTo>
                <a:lnTo>
                  <a:pt x="13095" y="11692"/>
                </a:lnTo>
                <a:lnTo>
                  <a:pt x="13092" y="11658"/>
                </a:lnTo>
                <a:lnTo>
                  <a:pt x="13090" y="11623"/>
                </a:lnTo>
                <a:lnTo>
                  <a:pt x="13089" y="11588"/>
                </a:lnTo>
                <a:lnTo>
                  <a:pt x="13088" y="11553"/>
                </a:lnTo>
                <a:lnTo>
                  <a:pt x="13089" y="11516"/>
                </a:lnTo>
                <a:lnTo>
                  <a:pt x="13090" y="11480"/>
                </a:lnTo>
                <a:lnTo>
                  <a:pt x="13092" y="11445"/>
                </a:lnTo>
                <a:lnTo>
                  <a:pt x="13094" y="11410"/>
                </a:lnTo>
                <a:lnTo>
                  <a:pt x="13097" y="11375"/>
                </a:lnTo>
                <a:lnTo>
                  <a:pt x="13101" y="11342"/>
                </a:lnTo>
                <a:lnTo>
                  <a:pt x="13104" y="11310"/>
                </a:lnTo>
                <a:lnTo>
                  <a:pt x="13113" y="11250"/>
                </a:lnTo>
                <a:lnTo>
                  <a:pt x="13122" y="11199"/>
                </a:lnTo>
                <a:lnTo>
                  <a:pt x="13126" y="11177"/>
                </a:lnTo>
                <a:lnTo>
                  <a:pt x="13130" y="11158"/>
                </a:lnTo>
                <a:lnTo>
                  <a:pt x="13135" y="11140"/>
                </a:lnTo>
                <a:lnTo>
                  <a:pt x="13139" y="11127"/>
                </a:lnTo>
                <a:close/>
                <a:moveTo>
                  <a:pt x="14524" y="7522"/>
                </a:moveTo>
                <a:lnTo>
                  <a:pt x="14491" y="7522"/>
                </a:lnTo>
                <a:lnTo>
                  <a:pt x="14457" y="7520"/>
                </a:lnTo>
                <a:lnTo>
                  <a:pt x="14422" y="7516"/>
                </a:lnTo>
                <a:lnTo>
                  <a:pt x="14389" y="7511"/>
                </a:lnTo>
                <a:lnTo>
                  <a:pt x="14359" y="7506"/>
                </a:lnTo>
                <a:lnTo>
                  <a:pt x="14332" y="7500"/>
                </a:lnTo>
                <a:lnTo>
                  <a:pt x="14310" y="7492"/>
                </a:lnTo>
                <a:lnTo>
                  <a:pt x="14292" y="7487"/>
                </a:lnTo>
                <a:lnTo>
                  <a:pt x="14272" y="7486"/>
                </a:lnTo>
                <a:lnTo>
                  <a:pt x="14253" y="7484"/>
                </a:lnTo>
                <a:lnTo>
                  <a:pt x="14233" y="7482"/>
                </a:lnTo>
                <a:lnTo>
                  <a:pt x="14214" y="7478"/>
                </a:lnTo>
                <a:lnTo>
                  <a:pt x="14195" y="7474"/>
                </a:lnTo>
                <a:lnTo>
                  <a:pt x="14176" y="7469"/>
                </a:lnTo>
                <a:lnTo>
                  <a:pt x="14157" y="7463"/>
                </a:lnTo>
                <a:lnTo>
                  <a:pt x="14138" y="7456"/>
                </a:lnTo>
                <a:lnTo>
                  <a:pt x="14101" y="7442"/>
                </a:lnTo>
                <a:lnTo>
                  <a:pt x="14064" y="7427"/>
                </a:lnTo>
                <a:lnTo>
                  <a:pt x="14027" y="7410"/>
                </a:lnTo>
                <a:lnTo>
                  <a:pt x="13990" y="7394"/>
                </a:lnTo>
                <a:lnTo>
                  <a:pt x="13954" y="7379"/>
                </a:lnTo>
                <a:lnTo>
                  <a:pt x="13917" y="7364"/>
                </a:lnTo>
                <a:lnTo>
                  <a:pt x="13898" y="7358"/>
                </a:lnTo>
                <a:lnTo>
                  <a:pt x="13880" y="7352"/>
                </a:lnTo>
                <a:lnTo>
                  <a:pt x="13861" y="7347"/>
                </a:lnTo>
                <a:lnTo>
                  <a:pt x="13843" y="7343"/>
                </a:lnTo>
                <a:lnTo>
                  <a:pt x="13824" y="7340"/>
                </a:lnTo>
                <a:lnTo>
                  <a:pt x="13806" y="7338"/>
                </a:lnTo>
                <a:lnTo>
                  <a:pt x="13786" y="7336"/>
                </a:lnTo>
                <a:lnTo>
                  <a:pt x="13767" y="7336"/>
                </a:lnTo>
                <a:lnTo>
                  <a:pt x="13748" y="7337"/>
                </a:lnTo>
                <a:lnTo>
                  <a:pt x="13729" y="7340"/>
                </a:lnTo>
                <a:lnTo>
                  <a:pt x="13709" y="7343"/>
                </a:lnTo>
                <a:lnTo>
                  <a:pt x="13690" y="7349"/>
                </a:lnTo>
                <a:lnTo>
                  <a:pt x="13690" y="7345"/>
                </a:lnTo>
                <a:lnTo>
                  <a:pt x="13691" y="7342"/>
                </a:lnTo>
                <a:lnTo>
                  <a:pt x="13690" y="7340"/>
                </a:lnTo>
                <a:lnTo>
                  <a:pt x="13689" y="7338"/>
                </a:lnTo>
                <a:lnTo>
                  <a:pt x="13688" y="7337"/>
                </a:lnTo>
                <a:lnTo>
                  <a:pt x="13685" y="7337"/>
                </a:lnTo>
                <a:lnTo>
                  <a:pt x="13682" y="7337"/>
                </a:lnTo>
                <a:lnTo>
                  <a:pt x="13679" y="7338"/>
                </a:lnTo>
                <a:lnTo>
                  <a:pt x="13680" y="7333"/>
                </a:lnTo>
                <a:lnTo>
                  <a:pt x="13680" y="7326"/>
                </a:lnTo>
                <a:lnTo>
                  <a:pt x="13679" y="7318"/>
                </a:lnTo>
                <a:lnTo>
                  <a:pt x="13677" y="7309"/>
                </a:lnTo>
                <a:lnTo>
                  <a:pt x="13674" y="7298"/>
                </a:lnTo>
                <a:lnTo>
                  <a:pt x="13669" y="7287"/>
                </a:lnTo>
                <a:lnTo>
                  <a:pt x="13665" y="7275"/>
                </a:lnTo>
                <a:lnTo>
                  <a:pt x="13659" y="7263"/>
                </a:lnTo>
                <a:lnTo>
                  <a:pt x="13647" y="7236"/>
                </a:lnTo>
                <a:lnTo>
                  <a:pt x="13632" y="7209"/>
                </a:lnTo>
                <a:lnTo>
                  <a:pt x="13615" y="7182"/>
                </a:lnTo>
                <a:lnTo>
                  <a:pt x="13596" y="7156"/>
                </a:lnTo>
                <a:lnTo>
                  <a:pt x="13587" y="7144"/>
                </a:lnTo>
                <a:lnTo>
                  <a:pt x="13577" y="7133"/>
                </a:lnTo>
                <a:lnTo>
                  <a:pt x="13567" y="7122"/>
                </a:lnTo>
                <a:lnTo>
                  <a:pt x="13557" y="7111"/>
                </a:lnTo>
                <a:lnTo>
                  <a:pt x="13546" y="7102"/>
                </a:lnTo>
                <a:lnTo>
                  <a:pt x="13535" y="7095"/>
                </a:lnTo>
                <a:lnTo>
                  <a:pt x="13525" y="7089"/>
                </a:lnTo>
                <a:lnTo>
                  <a:pt x="13515" y="7084"/>
                </a:lnTo>
                <a:lnTo>
                  <a:pt x="13505" y="7081"/>
                </a:lnTo>
                <a:lnTo>
                  <a:pt x="13495" y="7079"/>
                </a:lnTo>
                <a:lnTo>
                  <a:pt x="13486" y="7080"/>
                </a:lnTo>
                <a:lnTo>
                  <a:pt x="13477" y="7082"/>
                </a:lnTo>
                <a:lnTo>
                  <a:pt x="13468" y="7087"/>
                </a:lnTo>
                <a:lnTo>
                  <a:pt x="13460" y="7093"/>
                </a:lnTo>
                <a:lnTo>
                  <a:pt x="13452" y="7102"/>
                </a:lnTo>
                <a:lnTo>
                  <a:pt x="13445" y="7113"/>
                </a:lnTo>
                <a:lnTo>
                  <a:pt x="13443" y="7117"/>
                </a:lnTo>
                <a:lnTo>
                  <a:pt x="13442" y="7122"/>
                </a:lnTo>
                <a:lnTo>
                  <a:pt x="13442" y="7127"/>
                </a:lnTo>
                <a:lnTo>
                  <a:pt x="13442" y="7132"/>
                </a:lnTo>
                <a:lnTo>
                  <a:pt x="13443" y="7144"/>
                </a:lnTo>
                <a:lnTo>
                  <a:pt x="13447" y="7156"/>
                </a:lnTo>
                <a:lnTo>
                  <a:pt x="13451" y="7170"/>
                </a:lnTo>
                <a:lnTo>
                  <a:pt x="13457" y="7185"/>
                </a:lnTo>
                <a:lnTo>
                  <a:pt x="13464" y="7200"/>
                </a:lnTo>
                <a:lnTo>
                  <a:pt x="13472" y="7215"/>
                </a:lnTo>
                <a:lnTo>
                  <a:pt x="13481" y="7230"/>
                </a:lnTo>
                <a:lnTo>
                  <a:pt x="13490" y="7246"/>
                </a:lnTo>
                <a:lnTo>
                  <a:pt x="13499" y="7260"/>
                </a:lnTo>
                <a:lnTo>
                  <a:pt x="13508" y="7273"/>
                </a:lnTo>
                <a:lnTo>
                  <a:pt x="13517" y="7284"/>
                </a:lnTo>
                <a:lnTo>
                  <a:pt x="13526" y="7294"/>
                </a:lnTo>
                <a:lnTo>
                  <a:pt x="13534" y="7301"/>
                </a:lnTo>
                <a:lnTo>
                  <a:pt x="13541" y="7307"/>
                </a:lnTo>
                <a:lnTo>
                  <a:pt x="13541" y="7319"/>
                </a:lnTo>
                <a:lnTo>
                  <a:pt x="13544" y="7334"/>
                </a:lnTo>
                <a:lnTo>
                  <a:pt x="13549" y="7349"/>
                </a:lnTo>
                <a:lnTo>
                  <a:pt x="13554" y="7366"/>
                </a:lnTo>
                <a:lnTo>
                  <a:pt x="13560" y="7383"/>
                </a:lnTo>
                <a:lnTo>
                  <a:pt x="13567" y="7399"/>
                </a:lnTo>
                <a:lnTo>
                  <a:pt x="13571" y="7405"/>
                </a:lnTo>
                <a:lnTo>
                  <a:pt x="13575" y="7412"/>
                </a:lnTo>
                <a:lnTo>
                  <a:pt x="13579" y="7417"/>
                </a:lnTo>
                <a:lnTo>
                  <a:pt x="13584" y="7422"/>
                </a:lnTo>
                <a:lnTo>
                  <a:pt x="13594" y="7433"/>
                </a:lnTo>
                <a:lnTo>
                  <a:pt x="13601" y="7443"/>
                </a:lnTo>
                <a:lnTo>
                  <a:pt x="13605" y="7452"/>
                </a:lnTo>
                <a:lnTo>
                  <a:pt x="13607" y="7460"/>
                </a:lnTo>
                <a:lnTo>
                  <a:pt x="13608" y="7468"/>
                </a:lnTo>
                <a:lnTo>
                  <a:pt x="13607" y="7475"/>
                </a:lnTo>
                <a:lnTo>
                  <a:pt x="13604" y="7482"/>
                </a:lnTo>
                <a:lnTo>
                  <a:pt x="13601" y="7489"/>
                </a:lnTo>
                <a:lnTo>
                  <a:pt x="13594" y="7502"/>
                </a:lnTo>
                <a:lnTo>
                  <a:pt x="13586" y="7514"/>
                </a:lnTo>
                <a:lnTo>
                  <a:pt x="13584" y="7520"/>
                </a:lnTo>
                <a:lnTo>
                  <a:pt x="13582" y="7526"/>
                </a:lnTo>
                <a:lnTo>
                  <a:pt x="13582" y="7533"/>
                </a:lnTo>
                <a:lnTo>
                  <a:pt x="13583" y="7540"/>
                </a:lnTo>
                <a:lnTo>
                  <a:pt x="13597" y="7540"/>
                </a:lnTo>
                <a:lnTo>
                  <a:pt x="13609" y="7539"/>
                </a:lnTo>
                <a:lnTo>
                  <a:pt x="13618" y="7538"/>
                </a:lnTo>
                <a:lnTo>
                  <a:pt x="13627" y="7536"/>
                </a:lnTo>
                <a:lnTo>
                  <a:pt x="13633" y="7533"/>
                </a:lnTo>
                <a:lnTo>
                  <a:pt x="13639" y="7529"/>
                </a:lnTo>
                <a:lnTo>
                  <a:pt x="13644" y="7525"/>
                </a:lnTo>
                <a:lnTo>
                  <a:pt x="13648" y="7519"/>
                </a:lnTo>
                <a:lnTo>
                  <a:pt x="13651" y="7511"/>
                </a:lnTo>
                <a:lnTo>
                  <a:pt x="13653" y="7503"/>
                </a:lnTo>
                <a:lnTo>
                  <a:pt x="13655" y="7491"/>
                </a:lnTo>
                <a:lnTo>
                  <a:pt x="13658" y="7480"/>
                </a:lnTo>
                <a:lnTo>
                  <a:pt x="13662" y="7450"/>
                </a:lnTo>
                <a:lnTo>
                  <a:pt x="13668" y="7413"/>
                </a:lnTo>
                <a:lnTo>
                  <a:pt x="13674" y="7417"/>
                </a:lnTo>
                <a:lnTo>
                  <a:pt x="13678" y="7421"/>
                </a:lnTo>
                <a:lnTo>
                  <a:pt x="13682" y="7423"/>
                </a:lnTo>
                <a:lnTo>
                  <a:pt x="13690" y="7423"/>
                </a:lnTo>
                <a:lnTo>
                  <a:pt x="13686" y="7439"/>
                </a:lnTo>
                <a:lnTo>
                  <a:pt x="13685" y="7454"/>
                </a:lnTo>
                <a:lnTo>
                  <a:pt x="13685" y="7469"/>
                </a:lnTo>
                <a:lnTo>
                  <a:pt x="13687" y="7484"/>
                </a:lnTo>
                <a:lnTo>
                  <a:pt x="13690" y="7499"/>
                </a:lnTo>
                <a:lnTo>
                  <a:pt x="13695" y="7513"/>
                </a:lnTo>
                <a:lnTo>
                  <a:pt x="13701" y="7527"/>
                </a:lnTo>
                <a:lnTo>
                  <a:pt x="13709" y="7540"/>
                </a:lnTo>
                <a:lnTo>
                  <a:pt x="13721" y="7560"/>
                </a:lnTo>
                <a:lnTo>
                  <a:pt x="13730" y="7575"/>
                </a:lnTo>
                <a:lnTo>
                  <a:pt x="13736" y="7586"/>
                </a:lnTo>
                <a:lnTo>
                  <a:pt x="13739" y="7593"/>
                </a:lnTo>
                <a:lnTo>
                  <a:pt x="13740" y="7597"/>
                </a:lnTo>
                <a:lnTo>
                  <a:pt x="13739" y="7600"/>
                </a:lnTo>
                <a:lnTo>
                  <a:pt x="13736" y="7600"/>
                </a:lnTo>
                <a:lnTo>
                  <a:pt x="13733" y="7599"/>
                </a:lnTo>
                <a:lnTo>
                  <a:pt x="13729" y="7599"/>
                </a:lnTo>
                <a:lnTo>
                  <a:pt x="13724" y="7598"/>
                </a:lnTo>
                <a:lnTo>
                  <a:pt x="13720" y="7598"/>
                </a:lnTo>
                <a:lnTo>
                  <a:pt x="13717" y="7600"/>
                </a:lnTo>
                <a:lnTo>
                  <a:pt x="13716" y="7601"/>
                </a:lnTo>
                <a:lnTo>
                  <a:pt x="13715" y="7604"/>
                </a:lnTo>
                <a:lnTo>
                  <a:pt x="13715" y="7607"/>
                </a:lnTo>
                <a:lnTo>
                  <a:pt x="13715" y="7610"/>
                </a:lnTo>
                <a:lnTo>
                  <a:pt x="13717" y="7620"/>
                </a:lnTo>
                <a:lnTo>
                  <a:pt x="13721" y="7635"/>
                </a:lnTo>
                <a:lnTo>
                  <a:pt x="13741" y="7635"/>
                </a:lnTo>
                <a:lnTo>
                  <a:pt x="13761" y="7633"/>
                </a:lnTo>
                <a:lnTo>
                  <a:pt x="13781" y="7629"/>
                </a:lnTo>
                <a:lnTo>
                  <a:pt x="13801" y="7624"/>
                </a:lnTo>
                <a:lnTo>
                  <a:pt x="13820" y="7617"/>
                </a:lnTo>
                <a:lnTo>
                  <a:pt x="13838" y="7609"/>
                </a:lnTo>
                <a:lnTo>
                  <a:pt x="13856" y="7600"/>
                </a:lnTo>
                <a:lnTo>
                  <a:pt x="13874" y="7589"/>
                </a:lnTo>
                <a:lnTo>
                  <a:pt x="13890" y="7577"/>
                </a:lnTo>
                <a:lnTo>
                  <a:pt x="13907" y="7563"/>
                </a:lnTo>
                <a:lnTo>
                  <a:pt x="13922" y="7547"/>
                </a:lnTo>
                <a:lnTo>
                  <a:pt x="13937" y="7530"/>
                </a:lnTo>
                <a:lnTo>
                  <a:pt x="13951" y="7512"/>
                </a:lnTo>
                <a:lnTo>
                  <a:pt x="13963" y="7490"/>
                </a:lnTo>
                <a:lnTo>
                  <a:pt x="13975" y="7468"/>
                </a:lnTo>
                <a:lnTo>
                  <a:pt x="13986" y="7444"/>
                </a:lnTo>
                <a:lnTo>
                  <a:pt x="13992" y="7450"/>
                </a:lnTo>
                <a:lnTo>
                  <a:pt x="13997" y="7456"/>
                </a:lnTo>
                <a:lnTo>
                  <a:pt x="14000" y="7463"/>
                </a:lnTo>
                <a:lnTo>
                  <a:pt x="14002" y="7469"/>
                </a:lnTo>
                <a:lnTo>
                  <a:pt x="14003" y="7476"/>
                </a:lnTo>
                <a:lnTo>
                  <a:pt x="14003" y="7482"/>
                </a:lnTo>
                <a:lnTo>
                  <a:pt x="14002" y="7489"/>
                </a:lnTo>
                <a:lnTo>
                  <a:pt x="14001" y="7495"/>
                </a:lnTo>
                <a:lnTo>
                  <a:pt x="14001" y="7503"/>
                </a:lnTo>
                <a:lnTo>
                  <a:pt x="14000" y="7509"/>
                </a:lnTo>
                <a:lnTo>
                  <a:pt x="14000" y="7515"/>
                </a:lnTo>
                <a:lnTo>
                  <a:pt x="14001" y="7521"/>
                </a:lnTo>
                <a:lnTo>
                  <a:pt x="14003" y="7526"/>
                </a:lnTo>
                <a:lnTo>
                  <a:pt x="14006" y="7531"/>
                </a:lnTo>
                <a:lnTo>
                  <a:pt x="14010" y="7536"/>
                </a:lnTo>
                <a:lnTo>
                  <a:pt x="14017" y="7540"/>
                </a:lnTo>
                <a:lnTo>
                  <a:pt x="14042" y="7567"/>
                </a:lnTo>
                <a:lnTo>
                  <a:pt x="14063" y="7591"/>
                </a:lnTo>
                <a:lnTo>
                  <a:pt x="14066" y="7598"/>
                </a:lnTo>
                <a:lnTo>
                  <a:pt x="14069" y="7604"/>
                </a:lnTo>
                <a:lnTo>
                  <a:pt x="14071" y="7610"/>
                </a:lnTo>
                <a:lnTo>
                  <a:pt x="14071" y="7617"/>
                </a:lnTo>
                <a:lnTo>
                  <a:pt x="14071" y="7625"/>
                </a:lnTo>
                <a:lnTo>
                  <a:pt x="14070" y="7633"/>
                </a:lnTo>
                <a:lnTo>
                  <a:pt x="14068" y="7641"/>
                </a:lnTo>
                <a:lnTo>
                  <a:pt x="14064" y="7650"/>
                </a:lnTo>
                <a:lnTo>
                  <a:pt x="14063" y="7653"/>
                </a:lnTo>
                <a:lnTo>
                  <a:pt x="14063" y="7656"/>
                </a:lnTo>
                <a:lnTo>
                  <a:pt x="14063" y="7659"/>
                </a:lnTo>
                <a:lnTo>
                  <a:pt x="14064" y="7663"/>
                </a:lnTo>
                <a:lnTo>
                  <a:pt x="14067" y="7670"/>
                </a:lnTo>
                <a:lnTo>
                  <a:pt x="14072" y="7676"/>
                </a:lnTo>
                <a:lnTo>
                  <a:pt x="14078" y="7683"/>
                </a:lnTo>
                <a:lnTo>
                  <a:pt x="14085" y="7688"/>
                </a:lnTo>
                <a:lnTo>
                  <a:pt x="14093" y="7692"/>
                </a:lnTo>
                <a:lnTo>
                  <a:pt x="14101" y="7695"/>
                </a:lnTo>
                <a:lnTo>
                  <a:pt x="14105" y="7695"/>
                </a:lnTo>
                <a:lnTo>
                  <a:pt x="14109" y="7696"/>
                </a:lnTo>
                <a:lnTo>
                  <a:pt x="14113" y="7695"/>
                </a:lnTo>
                <a:lnTo>
                  <a:pt x="14116" y="7694"/>
                </a:lnTo>
                <a:lnTo>
                  <a:pt x="14120" y="7693"/>
                </a:lnTo>
                <a:lnTo>
                  <a:pt x="14123" y="7691"/>
                </a:lnTo>
                <a:lnTo>
                  <a:pt x="14126" y="7688"/>
                </a:lnTo>
                <a:lnTo>
                  <a:pt x="14129" y="7684"/>
                </a:lnTo>
                <a:lnTo>
                  <a:pt x="14131" y="7680"/>
                </a:lnTo>
                <a:lnTo>
                  <a:pt x="14133" y="7675"/>
                </a:lnTo>
                <a:lnTo>
                  <a:pt x="14135" y="7669"/>
                </a:lnTo>
                <a:lnTo>
                  <a:pt x="14135" y="7662"/>
                </a:lnTo>
                <a:lnTo>
                  <a:pt x="14136" y="7654"/>
                </a:lnTo>
                <a:lnTo>
                  <a:pt x="14136" y="7646"/>
                </a:lnTo>
                <a:lnTo>
                  <a:pt x="14135" y="7636"/>
                </a:lnTo>
                <a:lnTo>
                  <a:pt x="14133" y="7625"/>
                </a:lnTo>
                <a:lnTo>
                  <a:pt x="14144" y="7628"/>
                </a:lnTo>
                <a:lnTo>
                  <a:pt x="14153" y="7632"/>
                </a:lnTo>
                <a:lnTo>
                  <a:pt x="14162" y="7637"/>
                </a:lnTo>
                <a:lnTo>
                  <a:pt x="14170" y="7642"/>
                </a:lnTo>
                <a:lnTo>
                  <a:pt x="14179" y="7648"/>
                </a:lnTo>
                <a:lnTo>
                  <a:pt x="14185" y="7654"/>
                </a:lnTo>
                <a:lnTo>
                  <a:pt x="14191" y="7660"/>
                </a:lnTo>
                <a:lnTo>
                  <a:pt x="14196" y="7667"/>
                </a:lnTo>
                <a:lnTo>
                  <a:pt x="14201" y="7674"/>
                </a:lnTo>
                <a:lnTo>
                  <a:pt x="14205" y="7682"/>
                </a:lnTo>
                <a:lnTo>
                  <a:pt x="14208" y="7689"/>
                </a:lnTo>
                <a:lnTo>
                  <a:pt x="14210" y="7698"/>
                </a:lnTo>
                <a:lnTo>
                  <a:pt x="14212" y="7706"/>
                </a:lnTo>
                <a:lnTo>
                  <a:pt x="14213" y="7714"/>
                </a:lnTo>
                <a:lnTo>
                  <a:pt x="14214" y="7723"/>
                </a:lnTo>
                <a:lnTo>
                  <a:pt x="14214" y="7732"/>
                </a:lnTo>
                <a:lnTo>
                  <a:pt x="14214" y="7740"/>
                </a:lnTo>
                <a:lnTo>
                  <a:pt x="14213" y="7750"/>
                </a:lnTo>
                <a:lnTo>
                  <a:pt x="14211" y="7759"/>
                </a:lnTo>
                <a:lnTo>
                  <a:pt x="14209" y="7768"/>
                </a:lnTo>
                <a:lnTo>
                  <a:pt x="14206" y="7777"/>
                </a:lnTo>
                <a:lnTo>
                  <a:pt x="14203" y="7785"/>
                </a:lnTo>
                <a:lnTo>
                  <a:pt x="14199" y="7794"/>
                </a:lnTo>
                <a:lnTo>
                  <a:pt x="14195" y="7802"/>
                </a:lnTo>
                <a:lnTo>
                  <a:pt x="14190" y="7810"/>
                </a:lnTo>
                <a:lnTo>
                  <a:pt x="14185" y="7818"/>
                </a:lnTo>
                <a:lnTo>
                  <a:pt x="14180" y="7825"/>
                </a:lnTo>
                <a:lnTo>
                  <a:pt x="14172" y="7832"/>
                </a:lnTo>
                <a:lnTo>
                  <a:pt x="14166" y="7839"/>
                </a:lnTo>
                <a:lnTo>
                  <a:pt x="14159" y="7845"/>
                </a:lnTo>
                <a:lnTo>
                  <a:pt x="14152" y="7851"/>
                </a:lnTo>
                <a:lnTo>
                  <a:pt x="14144" y="7857"/>
                </a:lnTo>
                <a:lnTo>
                  <a:pt x="14144" y="7867"/>
                </a:lnTo>
                <a:lnTo>
                  <a:pt x="14142" y="7876"/>
                </a:lnTo>
                <a:lnTo>
                  <a:pt x="14139" y="7884"/>
                </a:lnTo>
                <a:lnTo>
                  <a:pt x="14136" y="7892"/>
                </a:lnTo>
                <a:lnTo>
                  <a:pt x="14127" y="7905"/>
                </a:lnTo>
                <a:lnTo>
                  <a:pt x="14118" y="7917"/>
                </a:lnTo>
                <a:lnTo>
                  <a:pt x="14113" y="7924"/>
                </a:lnTo>
                <a:lnTo>
                  <a:pt x="14108" y="7931"/>
                </a:lnTo>
                <a:lnTo>
                  <a:pt x="14104" y="7938"/>
                </a:lnTo>
                <a:lnTo>
                  <a:pt x="14100" y="7946"/>
                </a:lnTo>
                <a:lnTo>
                  <a:pt x="14096" y="7955"/>
                </a:lnTo>
                <a:lnTo>
                  <a:pt x="14094" y="7965"/>
                </a:lnTo>
                <a:lnTo>
                  <a:pt x="14092" y="7977"/>
                </a:lnTo>
                <a:lnTo>
                  <a:pt x="14091" y="7989"/>
                </a:lnTo>
                <a:lnTo>
                  <a:pt x="14091" y="7998"/>
                </a:lnTo>
                <a:lnTo>
                  <a:pt x="14090" y="8009"/>
                </a:lnTo>
                <a:lnTo>
                  <a:pt x="14088" y="8019"/>
                </a:lnTo>
                <a:lnTo>
                  <a:pt x="14085" y="8030"/>
                </a:lnTo>
                <a:lnTo>
                  <a:pt x="14082" y="8041"/>
                </a:lnTo>
                <a:lnTo>
                  <a:pt x="14079" y="8051"/>
                </a:lnTo>
                <a:lnTo>
                  <a:pt x="14074" y="8062"/>
                </a:lnTo>
                <a:lnTo>
                  <a:pt x="14069" y="8073"/>
                </a:lnTo>
                <a:lnTo>
                  <a:pt x="14064" y="8083"/>
                </a:lnTo>
                <a:lnTo>
                  <a:pt x="14058" y="8093"/>
                </a:lnTo>
                <a:lnTo>
                  <a:pt x="14052" y="8102"/>
                </a:lnTo>
                <a:lnTo>
                  <a:pt x="14045" y="8110"/>
                </a:lnTo>
                <a:lnTo>
                  <a:pt x="14038" y="8117"/>
                </a:lnTo>
                <a:lnTo>
                  <a:pt x="14031" y="8123"/>
                </a:lnTo>
                <a:lnTo>
                  <a:pt x="14024" y="8129"/>
                </a:lnTo>
                <a:lnTo>
                  <a:pt x="14017" y="8133"/>
                </a:lnTo>
                <a:lnTo>
                  <a:pt x="14016" y="8136"/>
                </a:lnTo>
                <a:lnTo>
                  <a:pt x="14013" y="8139"/>
                </a:lnTo>
                <a:lnTo>
                  <a:pt x="14009" y="8143"/>
                </a:lnTo>
                <a:lnTo>
                  <a:pt x="14003" y="8148"/>
                </a:lnTo>
                <a:lnTo>
                  <a:pt x="13988" y="8159"/>
                </a:lnTo>
                <a:lnTo>
                  <a:pt x="13968" y="8171"/>
                </a:lnTo>
                <a:lnTo>
                  <a:pt x="13918" y="8200"/>
                </a:lnTo>
                <a:lnTo>
                  <a:pt x="13862" y="8232"/>
                </a:lnTo>
                <a:lnTo>
                  <a:pt x="13834" y="8249"/>
                </a:lnTo>
                <a:lnTo>
                  <a:pt x="13807" y="8267"/>
                </a:lnTo>
                <a:lnTo>
                  <a:pt x="13781" y="8283"/>
                </a:lnTo>
                <a:lnTo>
                  <a:pt x="13759" y="8300"/>
                </a:lnTo>
                <a:lnTo>
                  <a:pt x="13749" y="8307"/>
                </a:lnTo>
                <a:lnTo>
                  <a:pt x="13741" y="8315"/>
                </a:lnTo>
                <a:lnTo>
                  <a:pt x="13734" y="8322"/>
                </a:lnTo>
                <a:lnTo>
                  <a:pt x="13728" y="8329"/>
                </a:lnTo>
                <a:lnTo>
                  <a:pt x="13724" y="8336"/>
                </a:lnTo>
                <a:lnTo>
                  <a:pt x="13721" y="8343"/>
                </a:lnTo>
                <a:lnTo>
                  <a:pt x="13720" y="8349"/>
                </a:lnTo>
                <a:lnTo>
                  <a:pt x="13721" y="8354"/>
                </a:lnTo>
                <a:lnTo>
                  <a:pt x="13709" y="8355"/>
                </a:lnTo>
                <a:lnTo>
                  <a:pt x="13695" y="8357"/>
                </a:lnTo>
                <a:lnTo>
                  <a:pt x="13677" y="8360"/>
                </a:lnTo>
                <a:lnTo>
                  <a:pt x="13657" y="8364"/>
                </a:lnTo>
                <a:lnTo>
                  <a:pt x="13637" y="8369"/>
                </a:lnTo>
                <a:lnTo>
                  <a:pt x="13616" y="8375"/>
                </a:lnTo>
                <a:lnTo>
                  <a:pt x="13593" y="8384"/>
                </a:lnTo>
                <a:lnTo>
                  <a:pt x="13571" y="8392"/>
                </a:lnTo>
                <a:lnTo>
                  <a:pt x="13549" y="8401"/>
                </a:lnTo>
                <a:lnTo>
                  <a:pt x="13526" y="8410"/>
                </a:lnTo>
                <a:lnTo>
                  <a:pt x="13506" y="8421"/>
                </a:lnTo>
                <a:lnTo>
                  <a:pt x="13487" y="8432"/>
                </a:lnTo>
                <a:lnTo>
                  <a:pt x="13470" y="8443"/>
                </a:lnTo>
                <a:lnTo>
                  <a:pt x="13456" y="8455"/>
                </a:lnTo>
                <a:lnTo>
                  <a:pt x="13449" y="8462"/>
                </a:lnTo>
                <a:lnTo>
                  <a:pt x="13444" y="8468"/>
                </a:lnTo>
                <a:lnTo>
                  <a:pt x="13439" y="8475"/>
                </a:lnTo>
                <a:lnTo>
                  <a:pt x="13436" y="8481"/>
                </a:lnTo>
                <a:lnTo>
                  <a:pt x="13427" y="8482"/>
                </a:lnTo>
                <a:lnTo>
                  <a:pt x="13415" y="8484"/>
                </a:lnTo>
                <a:lnTo>
                  <a:pt x="13402" y="8487"/>
                </a:lnTo>
                <a:lnTo>
                  <a:pt x="13387" y="8490"/>
                </a:lnTo>
                <a:lnTo>
                  <a:pt x="13355" y="8500"/>
                </a:lnTo>
                <a:lnTo>
                  <a:pt x="13320" y="8514"/>
                </a:lnTo>
                <a:lnTo>
                  <a:pt x="13303" y="8520"/>
                </a:lnTo>
                <a:lnTo>
                  <a:pt x="13286" y="8527"/>
                </a:lnTo>
                <a:lnTo>
                  <a:pt x="13271" y="8534"/>
                </a:lnTo>
                <a:lnTo>
                  <a:pt x="13257" y="8541"/>
                </a:lnTo>
                <a:lnTo>
                  <a:pt x="13245" y="8548"/>
                </a:lnTo>
                <a:lnTo>
                  <a:pt x="13235" y="8554"/>
                </a:lnTo>
                <a:lnTo>
                  <a:pt x="13228" y="8561"/>
                </a:lnTo>
                <a:lnTo>
                  <a:pt x="13223" y="8566"/>
                </a:lnTo>
                <a:lnTo>
                  <a:pt x="13206" y="8566"/>
                </a:lnTo>
                <a:lnTo>
                  <a:pt x="13190" y="8564"/>
                </a:lnTo>
                <a:lnTo>
                  <a:pt x="13174" y="8560"/>
                </a:lnTo>
                <a:lnTo>
                  <a:pt x="13159" y="8556"/>
                </a:lnTo>
                <a:lnTo>
                  <a:pt x="13147" y="8551"/>
                </a:lnTo>
                <a:lnTo>
                  <a:pt x="13135" y="8545"/>
                </a:lnTo>
                <a:lnTo>
                  <a:pt x="13124" y="8538"/>
                </a:lnTo>
                <a:lnTo>
                  <a:pt x="13114" y="8530"/>
                </a:lnTo>
                <a:lnTo>
                  <a:pt x="13105" y="8522"/>
                </a:lnTo>
                <a:lnTo>
                  <a:pt x="13096" y="8513"/>
                </a:lnTo>
                <a:lnTo>
                  <a:pt x="13089" y="8502"/>
                </a:lnTo>
                <a:lnTo>
                  <a:pt x="13082" y="8492"/>
                </a:lnTo>
                <a:lnTo>
                  <a:pt x="13069" y="8471"/>
                </a:lnTo>
                <a:lnTo>
                  <a:pt x="13059" y="8450"/>
                </a:lnTo>
                <a:lnTo>
                  <a:pt x="13039" y="8407"/>
                </a:lnTo>
                <a:lnTo>
                  <a:pt x="13021" y="8369"/>
                </a:lnTo>
                <a:lnTo>
                  <a:pt x="13016" y="8362"/>
                </a:lnTo>
                <a:lnTo>
                  <a:pt x="13011" y="8355"/>
                </a:lnTo>
                <a:lnTo>
                  <a:pt x="13005" y="8348"/>
                </a:lnTo>
                <a:lnTo>
                  <a:pt x="12999" y="8343"/>
                </a:lnTo>
                <a:lnTo>
                  <a:pt x="12993" y="8339"/>
                </a:lnTo>
                <a:lnTo>
                  <a:pt x="12986" y="8336"/>
                </a:lnTo>
                <a:lnTo>
                  <a:pt x="12978" y="8334"/>
                </a:lnTo>
                <a:lnTo>
                  <a:pt x="12970" y="8333"/>
                </a:lnTo>
                <a:lnTo>
                  <a:pt x="12971" y="8326"/>
                </a:lnTo>
                <a:lnTo>
                  <a:pt x="12971" y="8320"/>
                </a:lnTo>
                <a:lnTo>
                  <a:pt x="12970" y="8313"/>
                </a:lnTo>
                <a:lnTo>
                  <a:pt x="12969" y="8308"/>
                </a:lnTo>
                <a:lnTo>
                  <a:pt x="12966" y="8296"/>
                </a:lnTo>
                <a:lnTo>
                  <a:pt x="12960" y="8286"/>
                </a:lnTo>
                <a:lnTo>
                  <a:pt x="12945" y="8264"/>
                </a:lnTo>
                <a:lnTo>
                  <a:pt x="12928" y="8238"/>
                </a:lnTo>
                <a:lnTo>
                  <a:pt x="12932" y="8236"/>
                </a:lnTo>
                <a:lnTo>
                  <a:pt x="12935" y="8232"/>
                </a:lnTo>
                <a:lnTo>
                  <a:pt x="12937" y="8226"/>
                </a:lnTo>
                <a:lnTo>
                  <a:pt x="12937" y="8218"/>
                </a:lnTo>
                <a:lnTo>
                  <a:pt x="12935" y="8207"/>
                </a:lnTo>
                <a:lnTo>
                  <a:pt x="12932" y="8194"/>
                </a:lnTo>
                <a:lnTo>
                  <a:pt x="12928" y="8180"/>
                </a:lnTo>
                <a:lnTo>
                  <a:pt x="12923" y="8164"/>
                </a:lnTo>
                <a:lnTo>
                  <a:pt x="12909" y="8128"/>
                </a:lnTo>
                <a:lnTo>
                  <a:pt x="12893" y="8086"/>
                </a:lnTo>
                <a:lnTo>
                  <a:pt x="12875" y="8042"/>
                </a:lnTo>
                <a:lnTo>
                  <a:pt x="12855" y="7995"/>
                </a:lnTo>
                <a:lnTo>
                  <a:pt x="12813" y="7901"/>
                </a:lnTo>
                <a:lnTo>
                  <a:pt x="12775" y="7813"/>
                </a:lnTo>
                <a:lnTo>
                  <a:pt x="12759" y="7776"/>
                </a:lnTo>
                <a:lnTo>
                  <a:pt x="12747" y="7742"/>
                </a:lnTo>
                <a:lnTo>
                  <a:pt x="12743" y="7728"/>
                </a:lnTo>
                <a:lnTo>
                  <a:pt x="12740" y="7716"/>
                </a:lnTo>
                <a:lnTo>
                  <a:pt x="12738" y="7706"/>
                </a:lnTo>
                <a:lnTo>
                  <a:pt x="12737" y="7698"/>
                </a:lnTo>
                <a:lnTo>
                  <a:pt x="12730" y="7693"/>
                </a:lnTo>
                <a:lnTo>
                  <a:pt x="12722" y="7686"/>
                </a:lnTo>
                <a:lnTo>
                  <a:pt x="12715" y="7677"/>
                </a:lnTo>
                <a:lnTo>
                  <a:pt x="12707" y="7666"/>
                </a:lnTo>
                <a:lnTo>
                  <a:pt x="12700" y="7653"/>
                </a:lnTo>
                <a:lnTo>
                  <a:pt x="12692" y="7640"/>
                </a:lnTo>
                <a:lnTo>
                  <a:pt x="12685" y="7625"/>
                </a:lnTo>
                <a:lnTo>
                  <a:pt x="12678" y="7609"/>
                </a:lnTo>
                <a:lnTo>
                  <a:pt x="12666" y="7577"/>
                </a:lnTo>
                <a:lnTo>
                  <a:pt x="12654" y="7547"/>
                </a:lnTo>
                <a:lnTo>
                  <a:pt x="12646" y="7520"/>
                </a:lnTo>
                <a:lnTo>
                  <a:pt x="12641" y="7498"/>
                </a:lnTo>
                <a:lnTo>
                  <a:pt x="12631" y="7490"/>
                </a:lnTo>
                <a:lnTo>
                  <a:pt x="12622" y="7481"/>
                </a:lnTo>
                <a:lnTo>
                  <a:pt x="12612" y="7470"/>
                </a:lnTo>
                <a:lnTo>
                  <a:pt x="12603" y="7459"/>
                </a:lnTo>
                <a:lnTo>
                  <a:pt x="12593" y="7446"/>
                </a:lnTo>
                <a:lnTo>
                  <a:pt x="12584" y="7432"/>
                </a:lnTo>
                <a:lnTo>
                  <a:pt x="12575" y="7418"/>
                </a:lnTo>
                <a:lnTo>
                  <a:pt x="12567" y="7403"/>
                </a:lnTo>
                <a:lnTo>
                  <a:pt x="12551" y="7372"/>
                </a:lnTo>
                <a:lnTo>
                  <a:pt x="12535" y="7341"/>
                </a:lnTo>
                <a:lnTo>
                  <a:pt x="12523" y="7312"/>
                </a:lnTo>
                <a:lnTo>
                  <a:pt x="12514" y="7286"/>
                </a:lnTo>
                <a:lnTo>
                  <a:pt x="12503" y="7278"/>
                </a:lnTo>
                <a:lnTo>
                  <a:pt x="12491" y="7268"/>
                </a:lnTo>
                <a:lnTo>
                  <a:pt x="12478" y="7255"/>
                </a:lnTo>
                <a:lnTo>
                  <a:pt x="12464" y="7239"/>
                </a:lnTo>
                <a:lnTo>
                  <a:pt x="12449" y="7223"/>
                </a:lnTo>
                <a:lnTo>
                  <a:pt x="12433" y="7206"/>
                </a:lnTo>
                <a:lnTo>
                  <a:pt x="12418" y="7187"/>
                </a:lnTo>
                <a:lnTo>
                  <a:pt x="12401" y="7168"/>
                </a:lnTo>
                <a:lnTo>
                  <a:pt x="12386" y="7148"/>
                </a:lnTo>
                <a:lnTo>
                  <a:pt x="12372" y="7128"/>
                </a:lnTo>
                <a:lnTo>
                  <a:pt x="12358" y="7108"/>
                </a:lnTo>
                <a:lnTo>
                  <a:pt x="12346" y="7088"/>
                </a:lnTo>
                <a:lnTo>
                  <a:pt x="12335" y="7070"/>
                </a:lnTo>
                <a:lnTo>
                  <a:pt x="12326" y="7052"/>
                </a:lnTo>
                <a:lnTo>
                  <a:pt x="12319" y="7036"/>
                </a:lnTo>
                <a:lnTo>
                  <a:pt x="12313" y="7021"/>
                </a:lnTo>
                <a:lnTo>
                  <a:pt x="12343" y="7025"/>
                </a:lnTo>
                <a:lnTo>
                  <a:pt x="12375" y="7027"/>
                </a:lnTo>
                <a:lnTo>
                  <a:pt x="12391" y="7028"/>
                </a:lnTo>
                <a:lnTo>
                  <a:pt x="12406" y="7027"/>
                </a:lnTo>
                <a:lnTo>
                  <a:pt x="12423" y="7026"/>
                </a:lnTo>
                <a:lnTo>
                  <a:pt x="12437" y="7024"/>
                </a:lnTo>
                <a:lnTo>
                  <a:pt x="12451" y="7021"/>
                </a:lnTo>
                <a:lnTo>
                  <a:pt x="12464" y="7016"/>
                </a:lnTo>
                <a:lnTo>
                  <a:pt x="12469" y="7013"/>
                </a:lnTo>
                <a:lnTo>
                  <a:pt x="12475" y="7010"/>
                </a:lnTo>
                <a:lnTo>
                  <a:pt x="12480" y="7006"/>
                </a:lnTo>
                <a:lnTo>
                  <a:pt x="12485" y="7001"/>
                </a:lnTo>
                <a:lnTo>
                  <a:pt x="12489" y="6997"/>
                </a:lnTo>
                <a:lnTo>
                  <a:pt x="12492" y="6990"/>
                </a:lnTo>
                <a:lnTo>
                  <a:pt x="12496" y="6985"/>
                </a:lnTo>
                <a:lnTo>
                  <a:pt x="12498" y="6978"/>
                </a:lnTo>
                <a:lnTo>
                  <a:pt x="12501" y="6971"/>
                </a:lnTo>
                <a:lnTo>
                  <a:pt x="12502" y="6964"/>
                </a:lnTo>
                <a:lnTo>
                  <a:pt x="12503" y="6956"/>
                </a:lnTo>
                <a:lnTo>
                  <a:pt x="12504" y="6947"/>
                </a:lnTo>
                <a:lnTo>
                  <a:pt x="12494" y="6946"/>
                </a:lnTo>
                <a:lnTo>
                  <a:pt x="12486" y="6944"/>
                </a:lnTo>
                <a:lnTo>
                  <a:pt x="12480" y="6941"/>
                </a:lnTo>
                <a:lnTo>
                  <a:pt x="12474" y="6937"/>
                </a:lnTo>
                <a:lnTo>
                  <a:pt x="12469" y="6932"/>
                </a:lnTo>
                <a:lnTo>
                  <a:pt x="12465" y="6927"/>
                </a:lnTo>
                <a:lnTo>
                  <a:pt x="12463" y="6921"/>
                </a:lnTo>
                <a:lnTo>
                  <a:pt x="12461" y="6915"/>
                </a:lnTo>
                <a:lnTo>
                  <a:pt x="12461" y="6910"/>
                </a:lnTo>
                <a:lnTo>
                  <a:pt x="12462" y="6904"/>
                </a:lnTo>
                <a:lnTo>
                  <a:pt x="12464" y="6899"/>
                </a:lnTo>
                <a:lnTo>
                  <a:pt x="12467" y="6894"/>
                </a:lnTo>
                <a:lnTo>
                  <a:pt x="12472" y="6890"/>
                </a:lnTo>
                <a:lnTo>
                  <a:pt x="12478" y="6887"/>
                </a:lnTo>
                <a:lnTo>
                  <a:pt x="12485" y="6885"/>
                </a:lnTo>
                <a:lnTo>
                  <a:pt x="12493" y="6884"/>
                </a:lnTo>
                <a:lnTo>
                  <a:pt x="12491" y="6872"/>
                </a:lnTo>
                <a:lnTo>
                  <a:pt x="12490" y="6860"/>
                </a:lnTo>
                <a:lnTo>
                  <a:pt x="12490" y="6849"/>
                </a:lnTo>
                <a:lnTo>
                  <a:pt x="12492" y="6838"/>
                </a:lnTo>
                <a:lnTo>
                  <a:pt x="12494" y="6827"/>
                </a:lnTo>
                <a:lnTo>
                  <a:pt x="12498" y="6817"/>
                </a:lnTo>
                <a:lnTo>
                  <a:pt x="12501" y="6807"/>
                </a:lnTo>
                <a:lnTo>
                  <a:pt x="12506" y="6797"/>
                </a:lnTo>
                <a:lnTo>
                  <a:pt x="12515" y="6778"/>
                </a:lnTo>
                <a:lnTo>
                  <a:pt x="12524" y="6759"/>
                </a:lnTo>
                <a:lnTo>
                  <a:pt x="12528" y="6750"/>
                </a:lnTo>
                <a:lnTo>
                  <a:pt x="12532" y="6740"/>
                </a:lnTo>
                <a:lnTo>
                  <a:pt x="12535" y="6730"/>
                </a:lnTo>
                <a:lnTo>
                  <a:pt x="12539" y="6721"/>
                </a:lnTo>
                <a:lnTo>
                  <a:pt x="12544" y="6697"/>
                </a:lnTo>
                <a:lnTo>
                  <a:pt x="12550" y="6670"/>
                </a:lnTo>
                <a:lnTo>
                  <a:pt x="12557" y="6641"/>
                </a:lnTo>
                <a:lnTo>
                  <a:pt x="12563" y="6611"/>
                </a:lnTo>
                <a:lnTo>
                  <a:pt x="12569" y="6580"/>
                </a:lnTo>
                <a:lnTo>
                  <a:pt x="12574" y="6550"/>
                </a:lnTo>
                <a:lnTo>
                  <a:pt x="12577" y="6521"/>
                </a:lnTo>
                <a:lnTo>
                  <a:pt x="12578" y="6493"/>
                </a:lnTo>
                <a:lnTo>
                  <a:pt x="12553" y="6493"/>
                </a:lnTo>
                <a:lnTo>
                  <a:pt x="12531" y="6495"/>
                </a:lnTo>
                <a:lnTo>
                  <a:pt x="12514" y="6497"/>
                </a:lnTo>
                <a:lnTo>
                  <a:pt x="12498" y="6501"/>
                </a:lnTo>
                <a:lnTo>
                  <a:pt x="12467" y="6511"/>
                </a:lnTo>
                <a:lnTo>
                  <a:pt x="12430" y="6524"/>
                </a:lnTo>
                <a:lnTo>
                  <a:pt x="12430" y="6528"/>
                </a:lnTo>
                <a:lnTo>
                  <a:pt x="12428" y="6531"/>
                </a:lnTo>
                <a:lnTo>
                  <a:pt x="12427" y="6534"/>
                </a:lnTo>
                <a:lnTo>
                  <a:pt x="12424" y="6536"/>
                </a:lnTo>
                <a:lnTo>
                  <a:pt x="12421" y="6538"/>
                </a:lnTo>
                <a:lnTo>
                  <a:pt x="12418" y="6539"/>
                </a:lnTo>
                <a:lnTo>
                  <a:pt x="12414" y="6540"/>
                </a:lnTo>
                <a:lnTo>
                  <a:pt x="12409" y="6540"/>
                </a:lnTo>
                <a:lnTo>
                  <a:pt x="12399" y="6540"/>
                </a:lnTo>
                <a:lnTo>
                  <a:pt x="12387" y="6539"/>
                </a:lnTo>
                <a:lnTo>
                  <a:pt x="12375" y="6537"/>
                </a:lnTo>
                <a:lnTo>
                  <a:pt x="12363" y="6535"/>
                </a:lnTo>
                <a:lnTo>
                  <a:pt x="12313" y="6521"/>
                </a:lnTo>
                <a:lnTo>
                  <a:pt x="12281" y="6513"/>
                </a:lnTo>
                <a:lnTo>
                  <a:pt x="12278" y="6509"/>
                </a:lnTo>
                <a:lnTo>
                  <a:pt x="12274" y="6505"/>
                </a:lnTo>
                <a:lnTo>
                  <a:pt x="12269" y="6502"/>
                </a:lnTo>
                <a:lnTo>
                  <a:pt x="12263" y="6500"/>
                </a:lnTo>
                <a:lnTo>
                  <a:pt x="12257" y="6499"/>
                </a:lnTo>
                <a:lnTo>
                  <a:pt x="12249" y="6499"/>
                </a:lnTo>
                <a:lnTo>
                  <a:pt x="12241" y="6499"/>
                </a:lnTo>
                <a:lnTo>
                  <a:pt x="12233" y="6500"/>
                </a:lnTo>
                <a:lnTo>
                  <a:pt x="12194" y="6506"/>
                </a:lnTo>
                <a:lnTo>
                  <a:pt x="12149" y="6514"/>
                </a:lnTo>
                <a:lnTo>
                  <a:pt x="12127" y="6518"/>
                </a:lnTo>
                <a:lnTo>
                  <a:pt x="12104" y="6520"/>
                </a:lnTo>
                <a:lnTo>
                  <a:pt x="12093" y="6521"/>
                </a:lnTo>
                <a:lnTo>
                  <a:pt x="12082" y="6520"/>
                </a:lnTo>
                <a:lnTo>
                  <a:pt x="12071" y="6520"/>
                </a:lnTo>
                <a:lnTo>
                  <a:pt x="12061" y="6518"/>
                </a:lnTo>
                <a:lnTo>
                  <a:pt x="12051" y="6516"/>
                </a:lnTo>
                <a:lnTo>
                  <a:pt x="12042" y="6513"/>
                </a:lnTo>
                <a:lnTo>
                  <a:pt x="12032" y="6509"/>
                </a:lnTo>
                <a:lnTo>
                  <a:pt x="12023" y="6504"/>
                </a:lnTo>
                <a:lnTo>
                  <a:pt x="12015" y="6497"/>
                </a:lnTo>
                <a:lnTo>
                  <a:pt x="12008" y="6490"/>
                </a:lnTo>
                <a:lnTo>
                  <a:pt x="12002" y="6480"/>
                </a:lnTo>
                <a:lnTo>
                  <a:pt x="11996" y="6470"/>
                </a:lnTo>
                <a:lnTo>
                  <a:pt x="11980" y="6455"/>
                </a:lnTo>
                <a:lnTo>
                  <a:pt x="11967" y="6440"/>
                </a:lnTo>
                <a:lnTo>
                  <a:pt x="11956" y="6426"/>
                </a:lnTo>
                <a:lnTo>
                  <a:pt x="11947" y="6411"/>
                </a:lnTo>
                <a:lnTo>
                  <a:pt x="11940" y="6397"/>
                </a:lnTo>
                <a:lnTo>
                  <a:pt x="11934" y="6382"/>
                </a:lnTo>
                <a:lnTo>
                  <a:pt x="11929" y="6368"/>
                </a:lnTo>
                <a:lnTo>
                  <a:pt x="11925" y="6352"/>
                </a:lnTo>
                <a:lnTo>
                  <a:pt x="11920" y="6320"/>
                </a:lnTo>
                <a:lnTo>
                  <a:pt x="11915" y="6287"/>
                </a:lnTo>
                <a:lnTo>
                  <a:pt x="11913" y="6269"/>
                </a:lnTo>
                <a:lnTo>
                  <a:pt x="11909" y="6250"/>
                </a:lnTo>
                <a:lnTo>
                  <a:pt x="11905" y="6229"/>
                </a:lnTo>
                <a:lnTo>
                  <a:pt x="11900" y="6207"/>
                </a:lnTo>
                <a:lnTo>
                  <a:pt x="11896" y="6197"/>
                </a:lnTo>
                <a:lnTo>
                  <a:pt x="11891" y="6188"/>
                </a:lnTo>
                <a:lnTo>
                  <a:pt x="11885" y="6180"/>
                </a:lnTo>
                <a:lnTo>
                  <a:pt x="11878" y="6173"/>
                </a:lnTo>
                <a:lnTo>
                  <a:pt x="11870" y="6167"/>
                </a:lnTo>
                <a:lnTo>
                  <a:pt x="11861" y="6162"/>
                </a:lnTo>
                <a:lnTo>
                  <a:pt x="11851" y="6157"/>
                </a:lnTo>
                <a:lnTo>
                  <a:pt x="11841" y="6153"/>
                </a:lnTo>
                <a:lnTo>
                  <a:pt x="11819" y="6147"/>
                </a:lnTo>
                <a:lnTo>
                  <a:pt x="11797" y="6143"/>
                </a:lnTo>
                <a:lnTo>
                  <a:pt x="11775" y="6139"/>
                </a:lnTo>
                <a:lnTo>
                  <a:pt x="11756" y="6136"/>
                </a:lnTo>
                <a:lnTo>
                  <a:pt x="11743" y="6134"/>
                </a:lnTo>
                <a:lnTo>
                  <a:pt x="11733" y="6133"/>
                </a:lnTo>
                <a:lnTo>
                  <a:pt x="11723" y="6134"/>
                </a:lnTo>
                <a:lnTo>
                  <a:pt x="11715" y="6135"/>
                </a:lnTo>
                <a:lnTo>
                  <a:pt x="11707" y="6138"/>
                </a:lnTo>
                <a:lnTo>
                  <a:pt x="11701" y="6141"/>
                </a:lnTo>
                <a:lnTo>
                  <a:pt x="11696" y="6145"/>
                </a:lnTo>
                <a:lnTo>
                  <a:pt x="11692" y="6151"/>
                </a:lnTo>
                <a:lnTo>
                  <a:pt x="11688" y="6156"/>
                </a:lnTo>
                <a:lnTo>
                  <a:pt x="11686" y="6163"/>
                </a:lnTo>
                <a:lnTo>
                  <a:pt x="11684" y="6170"/>
                </a:lnTo>
                <a:lnTo>
                  <a:pt x="11683" y="6178"/>
                </a:lnTo>
                <a:lnTo>
                  <a:pt x="11683" y="6195"/>
                </a:lnTo>
                <a:lnTo>
                  <a:pt x="11684" y="6213"/>
                </a:lnTo>
                <a:lnTo>
                  <a:pt x="11687" y="6232"/>
                </a:lnTo>
                <a:lnTo>
                  <a:pt x="11692" y="6252"/>
                </a:lnTo>
                <a:lnTo>
                  <a:pt x="11696" y="6271"/>
                </a:lnTo>
                <a:lnTo>
                  <a:pt x="11701" y="6289"/>
                </a:lnTo>
                <a:lnTo>
                  <a:pt x="11705" y="6306"/>
                </a:lnTo>
                <a:lnTo>
                  <a:pt x="11709" y="6321"/>
                </a:lnTo>
                <a:lnTo>
                  <a:pt x="11710" y="6334"/>
                </a:lnTo>
                <a:lnTo>
                  <a:pt x="11710" y="6343"/>
                </a:lnTo>
                <a:lnTo>
                  <a:pt x="11717" y="6344"/>
                </a:lnTo>
                <a:lnTo>
                  <a:pt x="11723" y="6345"/>
                </a:lnTo>
                <a:lnTo>
                  <a:pt x="11728" y="6346"/>
                </a:lnTo>
                <a:lnTo>
                  <a:pt x="11732" y="6348"/>
                </a:lnTo>
                <a:lnTo>
                  <a:pt x="11735" y="6351"/>
                </a:lnTo>
                <a:lnTo>
                  <a:pt x="11737" y="6353"/>
                </a:lnTo>
                <a:lnTo>
                  <a:pt x="11737" y="6357"/>
                </a:lnTo>
                <a:lnTo>
                  <a:pt x="11737" y="6361"/>
                </a:lnTo>
                <a:lnTo>
                  <a:pt x="11735" y="6370"/>
                </a:lnTo>
                <a:lnTo>
                  <a:pt x="11730" y="6380"/>
                </a:lnTo>
                <a:lnTo>
                  <a:pt x="11724" y="6391"/>
                </a:lnTo>
                <a:lnTo>
                  <a:pt x="11715" y="6403"/>
                </a:lnTo>
                <a:lnTo>
                  <a:pt x="11696" y="6429"/>
                </a:lnTo>
                <a:lnTo>
                  <a:pt x="11677" y="6455"/>
                </a:lnTo>
                <a:lnTo>
                  <a:pt x="11669" y="6468"/>
                </a:lnTo>
                <a:lnTo>
                  <a:pt x="11663" y="6480"/>
                </a:lnTo>
                <a:lnTo>
                  <a:pt x="11661" y="6486"/>
                </a:lnTo>
                <a:lnTo>
                  <a:pt x="11659" y="6492"/>
                </a:lnTo>
                <a:lnTo>
                  <a:pt x="11658" y="6498"/>
                </a:lnTo>
                <a:lnTo>
                  <a:pt x="11657" y="6503"/>
                </a:lnTo>
                <a:lnTo>
                  <a:pt x="11644" y="6500"/>
                </a:lnTo>
                <a:lnTo>
                  <a:pt x="11632" y="6496"/>
                </a:lnTo>
                <a:lnTo>
                  <a:pt x="11621" y="6491"/>
                </a:lnTo>
                <a:lnTo>
                  <a:pt x="11612" y="6485"/>
                </a:lnTo>
                <a:lnTo>
                  <a:pt x="11603" y="6479"/>
                </a:lnTo>
                <a:lnTo>
                  <a:pt x="11595" y="6473"/>
                </a:lnTo>
                <a:lnTo>
                  <a:pt x="11587" y="6466"/>
                </a:lnTo>
                <a:lnTo>
                  <a:pt x="11581" y="6459"/>
                </a:lnTo>
                <a:lnTo>
                  <a:pt x="11575" y="6451"/>
                </a:lnTo>
                <a:lnTo>
                  <a:pt x="11569" y="6443"/>
                </a:lnTo>
                <a:lnTo>
                  <a:pt x="11564" y="6435"/>
                </a:lnTo>
                <a:lnTo>
                  <a:pt x="11560" y="6427"/>
                </a:lnTo>
                <a:lnTo>
                  <a:pt x="11552" y="6409"/>
                </a:lnTo>
                <a:lnTo>
                  <a:pt x="11546" y="6391"/>
                </a:lnTo>
                <a:lnTo>
                  <a:pt x="11534" y="6353"/>
                </a:lnTo>
                <a:lnTo>
                  <a:pt x="11521" y="6320"/>
                </a:lnTo>
                <a:lnTo>
                  <a:pt x="11517" y="6312"/>
                </a:lnTo>
                <a:lnTo>
                  <a:pt x="11513" y="6304"/>
                </a:lnTo>
                <a:lnTo>
                  <a:pt x="11508" y="6297"/>
                </a:lnTo>
                <a:lnTo>
                  <a:pt x="11503" y="6291"/>
                </a:lnTo>
                <a:lnTo>
                  <a:pt x="11498" y="6285"/>
                </a:lnTo>
                <a:lnTo>
                  <a:pt x="11491" y="6279"/>
                </a:lnTo>
                <a:lnTo>
                  <a:pt x="11485" y="6274"/>
                </a:lnTo>
                <a:lnTo>
                  <a:pt x="11477" y="6270"/>
                </a:lnTo>
                <a:lnTo>
                  <a:pt x="11473" y="6262"/>
                </a:lnTo>
                <a:lnTo>
                  <a:pt x="11470" y="6255"/>
                </a:lnTo>
                <a:lnTo>
                  <a:pt x="11467" y="6248"/>
                </a:lnTo>
                <a:lnTo>
                  <a:pt x="11465" y="6241"/>
                </a:lnTo>
                <a:lnTo>
                  <a:pt x="11462" y="6227"/>
                </a:lnTo>
                <a:lnTo>
                  <a:pt x="11458" y="6217"/>
                </a:lnTo>
                <a:lnTo>
                  <a:pt x="11456" y="6212"/>
                </a:lnTo>
                <a:lnTo>
                  <a:pt x="11453" y="6208"/>
                </a:lnTo>
                <a:lnTo>
                  <a:pt x="11450" y="6204"/>
                </a:lnTo>
                <a:lnTo>
                  <a:pt x="11445" y="6201"/>
                </a:lnTo>
                <a:lnTo>
                  <a:pt x="11440" y="6199"/>
                </a:lnTo>
                <a:lnTo>
                  <a:pt x="11433" y="6197"/>
                </a:lnTo>
                <a:lnTo>
                  <a:pt x="11424" y="6196"/>
                </a:lnTo>
                <a:lnTo>
                  <a:pt x="11414" y="6196"/>
                </a:lnTo>
                <a:lnTo>
                  <a:pt x="11415" y="6173"/>
                </a:lnTo>
                <a:lnTo>
                  <a:pt x="11418" y="6147"/>
                </a:lnTo>
                <a:lnTo>
                  <a:pt x="11420" y="6120"/>
                </a:lnTo>
                <a:lnTo>
                  <a:pt x="11422" y="6092"/>
                </a:lnTo>
                <a:lnTo>
                  <a:pt x="11421" y="6079"/>
                </a:lnTo>
                <a:lnTo>
                  <a:pt x="11420" y="6067"/>
                </a:lnTo>
                <a:lnTo>
                  <a:pt x="11417" y="6055"/>
                </a:lnTo>
                <a:lnTo>
                  <a:pt x="11414" y="6045"/>
                </a:lnTo>
                <a:lnTo>
                  <a:pt x="11411" y="6040"/>
                </a:lnTo>
                <a:lnTo>
                  <a:pt x="11409" y="6035"/>
                </a:lnTo>
                <a:lnTo>
                  <a:pt x="11405" y="6031"/>
                </a:lnTo>
                <a:lnTo>
                  <a:pt x="11401" y="6027"/>
                </a:lnTo>
                <a:lnTo>
                  <a:pt x="11397" y="6024"/>
                </a:lnTo>
                <a:lnTo>
                  <a:pt x="11392" y="6021"/>
                </a:lnTo>
                <a:lnTo>
                  <a:pt x="11387" y="6018"/>
                </a:lnTo>
                <a:lnTo>
                  <a:pt x="11382" y="6016"/>
                </a:lnTo>
                <a:lnTo>
                  <a:pt x="11381" y="6013"/>
                </a:lnTo>
                <a:lnTo>
                  <a:pt x="11380" y="6011"/>
                </a:lnTo>
                <a:lnTo>
                  <a:pt x="11379" y="6009"/>
                </a:lnTo>
                <a:lnTo>
                  <a:pt x="11377" y="6006"/>
                </a:lnTo>
                <a:lnTo>
                  <a:pt x="11371" y="6002"/>
                </a:lnTo>
                <a:lnTo>
                  <a:pt x="11363" y="5998"/>
                </a:lnTo>
                <a:lnTo>
                  <a:pt x="11343" y="5990"/>
                </a:lnTo>
                <a:lnTo>
                  <a:pt x="11320" y="5981"/>
                </a:lnTo>
                <a:lnTo>
                  <a:pt x="11296" y="5973"/>
                </a:lnTo>
                <a:lnTo>
                  <a:pt x="11273" y="5964"/>
                </a:lnTo>
                <a:lnTo>
                  <a:pt x="11263" y="5959"/>
                </a:lnTo>
                <a:lnTo>
                  <a:pt x="11255" y="5954"/>
                </a:lnTo>
                <a:lnTo>
                  <a:pt x="11249" y="5948"/>
                </a:lnTo>
                <a:lnTo>
                  <a:pt x="11244" y="5941"/>
                </a:lnTo>
                <a:lnTo>
                  <a:pt x="11237" y="5941"/>
                </a:lnTo>
                <a:lnTo>
                  <a:pt x="11229" y="5938"/>
                </a:lnTo>
                <a:lnTo>
                  <a:pt x="11221" y="5934"/>
                </a:lnTo>
                <a:lnTo>
                  <a:pt x="11212" y="5929"/>
                </a:lnTo>
                <a:lnTo>
                  <a:pt x="11203" y="5923"/>
                </a:lnTo>
                <a:lnTo>
                  <a:pt x="11193" y="5916"/>
                </a:lnTo>
                <a:lnTo>
                  <a:pt x="11183" y="5907"/>
                </a:lnTo>
                <a:lnTo>
                  <a:pt x="11173" y="5898"/>
                </a:lnTo>
                <a:lnTo>
                  <a:pt x="11128" y="5855"/>
                </a:lnTo>
                <a:lnTo>
                  <a:pt x="11083" y="5810"/>
                </a:lnTo>
                <a:lnTo>
                  <a:pt x="11061" y="5789"/>
                </a:lnTo>
                <a:lnTo>
                  <a:pt x="11040" y="5769"/>
                </a:lnTo>
                <a:lnTo>
                  <a:pt x="11029" y="5761"/>
                </a:lnTo>
                <a:lnTo>
                  <a:pt x="11018" y="5753"/>
                </a:lnTo>
                <a:lnTo>
                  <a:pt x="11008" y="5746"/>
                </a:lnTo>
                <a:lnTo>
                  <a:pt x="10998" y="5741"/>
                </a:lnTo>
                <a:lnTo>
                  <a:pt x="10989" y="5736"/>
                </a:lnTo>
                <a:lnTo>
                  <a:pt x="10980" y="5732"/>
                </a:lnTo>
                <a:lnTo>
                  <a:pt x="10972" y="5731"/>
                </a:lnTo>
                <a:lnTo>
                  <a:pt x="10964" y="5731"/>
                </a:lnTo>
                <a:lnTo>
                  <a:pt x="10957" y="5734"/>
                </a:lnTo>
                <a:lnTo>
                  <a:pt x="10950" y="5738"/>
                </a:lnTo>
                <a:lnTo>
                  <a:pt x="10944" y="5744"/>
                </a:lnTo>
                <a:lnTo>
                  <a:pt x="10939" y="5752"/>
                </a:lnTo>
                <a:lnTo>
                  <a:pt x="10934" y="5763"/>
                </a:lnTo>
                <a:lnTo>
                  <a:pt x="10930" y="5773"/>
                </a:lnTo>
                <a:lnTo>
                  <a:pt x="10929" y="5782"/>
                </a:lnTo>
                <a:lnTo>
                  <a:pt x="10929" y="5790"/>
                </a:lnTo>
                <a:lnTo>
                  <a:pt x="10931" y="5798"/>
                </a:lnTo>
                <a:lnTo>
                  <a:pt x="10934" y="5805"/>
                </a:lnTo>
                <a:lnTo>
                  <a:pt x="10937" y="5812"/>
                </a:lnTo>
                <a:lnTo>
                  <a:pt x="10942" y="5819"/>
                </a:lnTo>
                <a:lnTo>
                  <a:pt x="10952" y="5832"/>
                </a:lnTo>
                <a:lnTo>
                  <a:pt x="10963" y="5846"/>
                </a:lnTo>
                <a:lnTo>
                  <a:pt x="10968" y="5853"/>
                </a:lnTo>
                <a:lnTo>
                  <a:pt x="10973" y="5861"/>
                </a:lnTo>
                <a:lnTo>
                  <a:pt x="10977" y="5870"/>
                </a:lnTo>
                <a:lnTo>
                  <a:pt x="10980" y="5879"/>
                </a:lnTo>
                <a:lnTo>
                  <a:pt x="10990" y="5877"/>
                </a:lnTo>
                <a:lnTo>
                  <a:pt x="10999" y="5877"/>
                </a:lnTo>
                <a:lnTo>
                  <a:pt x="11007" y="5878"/>
                </a:lnTo>
                <a:lnTo>
                  <a:pt x="11015" y="5880"/>
                </a:lnTo>
                <a:lnTo>
                  <a:pt x="11023" y="5883"/>
                </a:lnTo>
                <a:lnTo>
                  <a:pt x="11031" y="5887"/>
                </a:lnTo>
                <a:lnTo>
                  <a:pt x="11038" y="5892"/>
                </a:lnTo>
                <a:lnTo>
                  <a:pt x="11044" y="5897"/>
                </a:lnTo>
                <a:lnTo>
                  <a:pt x="11056" y="5910"/>
                </a:lnTo>
                <a:lnTo>
                  <a:pt x="11066" y="5925"/>
                </a:lnTo>
                <a:lnTo>
                  <a:pt x="11077" y="5941"/>
                </a:lnTo>
                <a:lnTo>
                  <a:pt x="11087" y="5958"/>
                </a:lnTo>
                <a:lnTo>
                  <a:pt x="11098" y="5974"/>
                </a:lnTo>
                <a:lnTo>
                  <a:pt x="11109" y="5991"/>
                </a:lnTo>
                <a:lnTo>
                  <a:pt x="11115" y="5999"/>
                </a:lnTo>
                <a:lnTo>
                  <a:pt x="11121" y="6006"/>
                </a:lnTo>
                <a:lnTo>
                  <a:pt x="11128" y="6013"/>
                </a:lnTo>
                <a:lnTo>
                  <a:pt x="11135" y="6019"/>
                </a:lnTo>
                <a:lnTo>
                  <a:pt x="11142" y="6024"/>
                </a:lnTo>
                <a:lnTo>
                  <a:pt x="11150" y="6029"/>
                </a:lnTo>
                <a:lnTo>
                  <a:pt x="11160" y="6033"/>
                </a:lnTo>
                <a:lnTo>
                  <a:pt x="11169" y="6036"/>
                </a:lnTo>
                <a:lnTo>
                  <a:pt x="11179" y="6038"/>
                </a:lnTo>
                <a:lnTo>
                  <a:pt x="11189" y="6039"/>
                </a:lnTo>
                <a:lnTo>
                  <a:pt x="11201" y="6038"/>
                </a:lnTo>
                <a:lnTo>
                  <a:pt x="11213" y="6037"/>
                </a:lnTo>
                <a:lnTo>
                  <a:pt x="11213" y="6058"/>
                </a:lnTo>
                <a:lnTo>
                  <a:pt x="11215" y="6079"/>
                </a:lnTo>
                <a:lnTo>
                  <a:pt x="11219" y="6100"/>
                </a:lnTo>
                <a:lnTo>
                  <a:pt x="11223" y="6122"/>
                </a:lnTo>
                <a:lnTo>
                  <a:pt x="11232" y="6120"/>
                </a:lnTo>
                <a:lnTo>
                  <a:pt x="11240" y="6119"/>
                </a:lnTo>
                <a:lnTo>
                  <a:pt x="11248" y="6119"/>
                </a:lnTo>
                <a:lnTo>
                  <a:pt x="11255" y="6119"/>
                </a:lnTo>
                <a:lnTo>
                  <a:pt x="11262" y="6119"/>
                </a:lnTo>
                <a:lnTo>
                  <a:pt x="11268" y="6120"/>
                </a:lnTo>
                <a:lnTo>
                  <a:pt x="11274" y="6122"/>
                </a:lnTo>
                <a:lnTo>
                  <a:pt x="11280" y="6124"/>
                </a:lnTo>
                <a:lnTo>
                  <a:pt x="11289" y="6129"/>
                </a:lnTo>
                <a:lnTo>
                  <a:pt x="11297" y="6135"/>
                </a:lnTo>
                <a:lnTo>
                  <a:pt x="11304" y="6142"/>
                </a:lnTo>
                <a:lnTo>
                  <a:pt x="11311" y="6150"/>
                </a:lnTo>
                <a:lnTo>
                  <a:pt x="11322" y="6166"/>
                </a:lnTo>
                <a:lnTo>
                  <a:pt x="11332" y="6181"/>
                </a:lnTo>
                <a:lnTo>
                  <a:pt x="11338" y="6187"/>
                </a:lnTo>
                <a:lnTo>
                  <a:pt x="11345" y="6191"/>
                </a:lnTo>
                <a:lnTo>
                  <a:pt x="11348" y="6193"/>
                </a:lnTo>
                <a:lnTo>
                  <a:pt x="11352" y="6194"/>
                </a:lnTo>
                <a:lnTo>
                  <a:pt x="11356" y="6195"/>
                </a:lnTo>
                <a:lnTo>
                  <a:pt x="11361" y="6196"/>
                </a:lnTo>
                <a:lnTo>
                  <a:pt x="11357" y="6200"/>
                </a:lnTo>
                <a:lnTo>
                  <a:pt x="11353" y="6203"/>
                </a:lnTo>
                <a:lnTo>
                  <a:pt x="11349" y="6205"/>
                </a:lnTo>
                <a:lnTo>
                  <a:pt x="11344" y="6206"/>
                </a:lnTo>
                <a:lnTo>
                  <a:pt x="11339" y="6207"/>
                </a:lnTo>
                <a:lnTo>
                  <a:pt x="11334" y="6207"/>
                </a:lnTo>
                <a:lnTo>
                  <a:pt x="11328" y="6206"/>
                </a:lnTo>
                <a:lnTo>
                  <a:pt x="11323" y="6205"/>
                </a:lnTo>
                <a:lnTo>
                  <a:pt x="11311" y="6202"/>
                </a:lnTo>
                <a:lnTo>
                  <a:pt x="11299" y="6198"/>
                </a:lnTo>
                <a:lnTo>
                  <a:pt x="11287" y="6193"/>
                </a:lnTo>
                <a:lnTo>
                  <a:pt x="11275" y="6188"/>
                </a:lnTo>
                <a:lnTo>
                  <a:pt x="11265" y="6184"/>
                </a:lnTo>
                <a:lnTo>
                  <a:pt x="11255" y="6182"/>
                </a:lnTo>
                <a:lnTo>
                  <a:pt x="11251" y="6181"/>
                </a:lnTo>
                <a:lnTo>
                  <a:pt x="11248" y="6181"/>
                </a:lnTo>
                <a:lnTo>
                  <a:pt x="11244" y="6181"/>
                </a:lnTo>
                <a:lnTo>
                  <a:pt x="11241" y="6182"/>
                </a:lnTo>
                <a:lnTo>
                  <a:pt x="11239" y="6184"/>
                </a:lnTo>
                <a:lnTo>
                  <a:pt x="11237" y="6186"/>
                </a:lnTo>
                <a:lnTo>
                  <a:pt x="11236" y="6190"/>
                </a:lnTo>
                <a:lnTo>
                  <a:pt x="11236" y="6194"/>
                </a:lnTo>
                <a:lnTo>
                  <a:pt x="11236" y="6200"/>
                </a:lnTo>
                <a:lnTo>
                  <a:pt x="11237" y="6207"/>
                </a:lnTo>
                <a:lnTo>
                  <a:pt x="11238" y="6214"/>
                </a:lnTo>
                <a:lnTo>
                  <a:pt x="11241" y="6224"/>
                </a:lnTo>
                <a:lnTo>
                  <a:pt x="11244" y="6235"/>
                </a:lnTo>
                <a:lnTo>
                  <a:pt x="11246" y="6247"/>
                </a:lnTo>
                <a:lnTo>
                  <a:pt x="11248" y="6258"/>
                </a:lnTo>
                <a:lnTo>
                  <a:pt x="11249" y="6269"/>
                </a:lnTo>
                <a:lnTo>
                  <a:pt x="11248" y="6279"/>
                </a:lnTo>
                <a:lnTo>
                  <a:pt x="11247" y="6290"/>
                </a:lnTo>
                <a:lnTo>
                  <a:pt x="11245" y="6300"/>
                </a:lnTo>
                <a:lnTo>
                  <a:pt x="11242" y="6311"/>
                </a:lnTo>
                <a:lnTo>
                  <a:pt x="11238" y="6321"/>
                </a:lnTo>
                <a:lnTo>
                  <a:pt x="11232" y="6332"/>
                </a:lnTo>
                <a:lnTo>
                  <a:pt x="11225" y="6342"/>
                </a:lnTo>
                <a:lnTo>
                  <a:pt x="11217" y="6353"/>
                </a:lnTo>
                <a:lnTo>
                  <a:pt x="11208" y="6364"/>
                </a:lnTo>
                <a:lnTo>
                  <a:pt x="11197" y="6375"/>
                </a:lnTo>
                <a:lnTo>
                  <a:pt x="11184" y="6386"/>
                </a:lnTo>
                <a:lnTo>
                  <a:pt x="11171" y="6397"/>
                </a:lnTo>
                <a:lnTo>
                  <a:pt x="11170" y="6368"/>
                </a:lnTo>
                <a:lnTo>
                  <a:pt x="11169" y="6331"/>
                </a:lnTo>
                <a:lnTo>
                  <a:pt x="11167" y="6311"/>
                </a:lnTo>
                <a:lnTo>
                  <a:pt x="11165" y="6291"/>
                </a:lnTo>
                <a:lnTo>
                  <a:pt x="11163" y="6271"/>
                </a:lnTo>
                <a:lnTo>
                  <a:pt x="11159" y="6251"/>
                </a:lnTo>
                <a:lnTo>
                  <a:pt x="11155" y="6231"/>
                </a:lnTo>
                <a:lnTo>
                  <a:pt x="11149" y="6213"/>
                </a:lnTo>
                <a:lnTo>
                  <a:pt x="11143" y="6196"/>
                </a:lnTo>
                <a:lnTo>
                  <a:pt x="11136" y="6182"/>
                </a:lnTo>
                <a:lnTo>
                  <a:pt x="11133" y="6176"/>
                </a:lnTo>
                <a:lnTo>
                  <a:pt x="11128" y="6170"/>
                </a:lnTo>
                <a:lnTo>
                  <a:pt x="11124" y="6165"/>
                </a:lnTo>
                <a:lnTo>
                  <a:pt x="11119" y="6161"/>
                </a:lnTo>
                <a:lnTo>
                  <a:pt x="11114" y="6158"/>
                </a:lnTo>
                <a:lnTo>
                  <a:pt x="11108" y="6155"/>
                </a:lnTo>
                <a:lnTo>
                  <a:pt x="11102" y="6154"/>
                </a:lnTo>
                <a:lnTo>
                  <a:pt x="11096" y="6153"/>
                </a:lnTo>
                <a:lnTo>
                  <a:pt x="11092" y="6145"/>
                </a:lnTo>
                <a:lnTo>
                  <a:pt x="11087" y="6137"/>
                </a:lnTo>
                <a:lnTo>
                  <a:pt x="11081" y="6130"/>
                </a:lnTo>
                <a:lnTo>
                  <a:pt x="11075" y="6124"/>
                </a:lnTo>
                <a:lnTo>
                  <a:pt x="11068" y="6117"/>
                </a:lnTo>
                <a:lnTo>
                  <a:pt x="11062" y="6112"/>
                </a:lnTo>
                <a:lnTo>
                  <a:pt x="11054" y="6106"/>
                </a:lnTo>
                <a:lnTo>
                  <a:pt x="11047" y="6101"/>
                </a:lnTo>
                <a:lnTo>
                  <a:pt x="11031" y="6092"/>
                </a:lnTo>
                <a:lnTo>
                  <a:pt x="11014" y="6085"/>
                </a:lnTo>
                <a:lnTo>
                  <a:pt x="10996" y="6078"/>
                </a:lnTo>
                <a:lnTo>
                  <a:pt x="10979" y="6071"/>
                </a:lnTo>
                <a:lnTo>
                  <a:pt x="10961" y="6065"/>
                </a:lnTo>
                <a:lnTo>
                  <a:pt x="10943" y="6058"/>
                </a:lnTo>
                <a:lnTo>
                  <a:pt x="10926" y="6051"/>
                </a:lnTo>
                <a:lnTo>
                  <a:pt x="10909" y="6043"/>
                </a:lnTo>
                <a:lnTo>
                  <a:pt x="10892" y="6034"/>
                </a:lnTo>
                <a:lnTo>
                  <a:pt x="10878" y="6023"/>
                </a:lnTo>
                <a:lnTo>
                  <a:pt x="10871" y="6017"/>
                </a:lnTo>
                <a:lnTo>
                  <a:pt x="10864" y="6010"/>
                </a:lnTo>
                <a:lnTo>
                  <a:pt x="10858" y="6003"/>
                </a:lnTo>
                <a:lnTo>
                  <a:pt x="10852" y="5995"/>
                </a:lnTo>
                <a:lnTo>
                  <a:pt x="10848" y="5995"/>
                </a:lnTo>
                <a:lnTo>
                  <a:pt x="10844" y="5993"/>
                </a:lnTo>
                <a:lnTo>
                  <a:pt x="10840" y="5991"/>
                </a:lnTo>
                <a:lnTo>
                  <a:pt x="10836" y="5989"/>
                </a:lnTo>
                <a:lnTo>
                  <a:pt x="10828" y="5980"/>
                </a:lnTo>
                <a:lnTo>
                  <a:pt x="10821" y="5971"/>
                </a:lnTo>
                <a:lnTo>
                  <a:pt x="10806" y="5947"/>
                </a:lnTo>
                <a:lnTo>
                  <a:pt x="10792" y="5919"/>
                </a:lnTo>
                <a:lnTo>
                  <a:pt x="10784" y="5905"/>
                </a:lnTo>
                <a:lnTo>
                  <a:pt x="10775" y="5891"/>
                </a:lnTo>
                <a:lnTo>
                  <a:pt x="10765" y="5878"/>
                </a:lnTo>
                <a:lnTo>
                  <a:pt x="10755" y="5866"/>
                </a:lnTo>
                <a:lnTo>
                  <a:pt x="10750" y="5860"/>
                </a:lnTo>
                <a:lnTo>
                  <a:pt x="10744" y="5854"/>
                </a:lnTo>
                <a:lnTo>
                  <a:pt x="10738" y="5849"/>
                </a:lnTo>
                <a:lnTo>
                  <a:pt x="10732" y="5845"/>
                </a:lnTo>
                <a:lnTo>
                  <a:pt x="10726" y="5842"/>
                </a:lnTo>
                <a:lnTo>
                  <a:pt x="10719" y="5839"/>
                </a:lnTo>
                <a:lnTo>
                  <a:pt x="10712" y="5837"/>
                </a:lnTo>
                <a:lnTo>
                  <a:pt x="10705" y="5836"/>
                </a:lnTo>
                <a:lnTo>
                  <a:pt x="10701" y="5840"/>
                </a:lnTo>
                <a:lnTo>
                  <a:pt x="10697" y="5844"/>
                </a:lnTo>
                <a:lnTo>
                  <a:pt x="10692" y="5847"/>
                </a:lnTo>
                <a:lnTo>
                  <a:pt x="10687" y="5851"/>
                </a:lnTo>
                <a:lnTo>
                  <a:pt x="10674" y="5858"/>
                </a:lnTo>
                <a:lnTo>
                  <a:pt x="10660" y="5866"/>
                </a:lnTo>
                <a:lnTo>
                  <a:pt x="10645" y="5871"/>
                </a:lnTo>
                <a:lnTo>
                  <a:pt x="10631" y="5875"/>
                </a:lnTo>
                <a:lnTo>
                  <a:pt x="10619" y="5878"/>
                </a:lnTo>
                <a:lnTo>
                  <a:pt x="10609" y="5879"/>
                </a:lnTo>
                <a:lnTo>
                  <a:pt x="10604" y="5886"/>
                </a:lnTo>
                <a:lnTo>
                  <a:pt x="10599" y="5893"/>
                </a:lnTo>
                <a:lnTo>
                  <a:pt x="10592" y="5899"/>
                </a:lnTo>
                <a:lnTo>
                  <a:pt x="10584" y="5905"/>
                </a:lnTo>
                <a:lnTo>
                  <a:pt x="10575" y="5909"/>
                </a:lnTo>
                <a:lnTo>
                  <a:pt x="10566" y="5912"/>
                </a:lnTo>
                <a:lnTo>
                  <a:pt x="10555" y="5915"/>
                </a:lnTo>
                <a:lnTo>
                  <a:pt x="10545" y="5918"/>
                </a:lnTo>
                <a:lnTo>
                  <a:pt x="10533" y="5919"/>
                </a:lnTo>
                <a:lnTo>
                  <a:pt x="10522" y="5920"/>
                </a:lnTo>
                <a:lnTo>
                  <a:pt x="10508" y="5921"/>
                </a:lnTo>
                <a:lnTo>
                  <a:pt x="10496" y="5921"/>
                </a:lnTo>
                <a:lnTo>
                  <a:pt x="10470" y="5920"/>
                </a:lnTo>
                <a:lnTo>
                  <a:pt x="10445" y="5918"/>
                </a:lnTo>
                <a:lnTo>
                  <a:pt x="10396" y="5911"/>
                </a:lnTo>
                <a:lnTo>
                  <a:pt x="10353" y="5904"/>
                </a:lnTo>
                <a:lnTo>
                  <a:pt x="10337" y="5901"/>
                </a:lnTo>
                <a:lnTo>
                  <a:pt x="10324" y="5899"/>
                </a:lnTo>
                <a:lnTo>
                  <a:pt x="10320" y="5898"/>
                </a:lnTo>
                <a:lnTo>
                  <a:pt x="10316" y="5898"/>
                </a:lnTo>
                <a:lnTo>
                  <a:pt x="10314" y="5899"/>
                </a:lnTo>
                <a:lnTo>
                  <a:pt x="10306" y="5914"/>
                </a:lnTo>
                <a:lnTo>
                  <a:pt x="10290" y="5953"/>
                </a:lnTo>
                <a:lnTo>
                  <a:pt x="10266" y="6009"/>
                </a:lnTo>
                <a:lnTo>
                  <a:pt x="10240" y="6073"/>
                </a:lnTo>
                <a:lnTo>
                  <a:pt x="10214" y="6141"/>
                </a:lnTo>
                <a:lnTo>
                  <a:pt x="10191" y="6202"/>
                </a:lnTo>
                <a:lnTo>
                  <a:pt x="10181" y="6228"/>
                </a:lnTo>
                <a:lnTo>
                  <a:pt x="10174" y="6251"/>
                </a:lnTo>
                <a:lnTo>
                  <a:pt x="10168" y="6269"/>
                </a:lnTo>
                <a:lnTo>
                  <a:pt x="10165" y="6280"/>
                </a:lnTo>
                <a:lnTo>
                  <a:pt x="10162" y="6297"/>
                </a:lnTo>
                <a:lnTo>
                  <a:pt x="10157" y="6312"/>
                </a:lnTo>
                <a:lnTo>
                  <a:pt x="10151" y="6325"/>
                </a:lnTo>
                <a:lnTo>
                  <a:pt x="10144" y="6336"/>
                </a:lnTo>
                <a:lnTo>
                  <a:pt x="10135" y="6347"/>
                </a:lnTo>
                <a:lnTo>
                  <a:pt x="10127" y="6357"/>
                </a:lnTo>
                <a:lnTo>
                  <a:pt x="10119" y="6367"/>
                </a:lnTo>
                <a:lnTo>
                  <a:pt x="10110" y="6376"/>
                </a:lnTo>
                <a:lnTo>
                  <a:pt x="10092" y="6394"/>
                </a:lnTo>
                <a:lnTo>
                  <a:pt x="10075" y="6413"/>
                </a:lnTo>
                <a:lnTo>
                  <a:pt x="10068" y="6424"/>
                </a:lnTo>
                <a:lnTo>
                  <a:pt x="10061" y="6437"/>
                </a:lnTo>
                <a:lnTo>
                  <a:pt x="10055" y="6451"/>
                </a:lnTo>
                <a:lnTo>
                  <a:pt x="10050" y="6467"/>
                </a:lnTo>
                <a:lnTo>
                  <a:pt x="10048" y="6471"/>
                </a:lnTo>
                <a:lnTo>
                  <a:pt x="10045" y="6474"/>
                </a:lnTo>
                <a:lnTo>
                  <a:pt x="10041" y="6478"/>
                </a:lnTo>
                <a:lnTo>
                  <a:pt x="10035" y="6481"/>
                </a:lnTo>
                <a:lnTo>
                  <a:pt x="10020" y="6486"/>
                </a:lnTo>
                <a:lnTo>
                  <a:pt x="10000" y="6491"/>
                </a:lnTo>
                <a:lnTo>
                  <a:pt x="9978" y="6494"/>
                </a:lnTo>
                <a:lnTo>
                  <a:pt x="9954" y="6496"/>
                </a:lnTo>
                <a:lnTo>
                  <a:pt x="9929" y="6499"/>
                </a:lnTo>
                <a:lnTo>
                  <a:pt x="9902" y="6500"/>
                </a:lnTo>
                <a:lnTo>
                  <a:pt x="9850" y="6504"/>
                </a:lnTo>
                <a:lnTo>
                  <a:pt x="9806" y="6508"/>
                </a:lnTo>
                <a:lnTo>
                  <a:pt x="9788" y="6511"/>
                </a:lnTo>
                <a:lnTo>
                  <a:pt x="9775" y="6514"/>
                </a:lnTo>
                <a:lnTo>
                  <a:pt x="9770" y="6516"/>
                </a:lnTo>
                <a:lnTo>
                  <a:pt x="9766" y="6519"/>
                </a:lnTo>
                <a:lnTo>
                  <a:pt x="9763" y="6521"/>
                </a:lnTo>
                <a:lnTo>
                  <a:pt x="9762" y="6524"/>
                </a:lnTo>
                <a:lnTo>
                  <a:pt x="9740" y="6516"/>
                </a:lnTo>
                <a:lnTo>
                  <a:pt x="9719" y="6507"/>
                </a:lnTo>
                <a:lnTo>
                  <a:pt x="9698" y="6497"/>
                </a:lnTo>
                <a:lnTo>
                  <a:pt x="9678" y="6485"/>
                </a:lnTo>
                <a:lnTo>
                  <a:pt x="9659" y="6473"/>
                </a:lnTo>
                <a:lnTo>
                  <a:pt x="9641" y="6460"/>
                </a:lnTo>
                <a:lnTo>
                  <a:pt x="9623" y="6446"/>
                </a:lnTo>
                <a:lnTo>
                  <a:pt x="9607" y="6431"/>
                </a:lnTo>
                <a:lnTo>
                  <a:pt x="9592" y="6415"/>
                </a:lnTo>
                <a:lnTo>
                  <a:pt x="9579" y="6397"/>
                </a:lnTo>
                <a:lnTo>
                  <a:pt x="9574" y="6388"/>
                </a:lnTo>
                <a:lnTo>
                  <a:pt x="9568" y="6379"/>
                </a:lnTo>
                <a:lnTo>
                  <a:pt x="9563" y="6369"/>
                </a:lnTo>
                <a:lnTo>
                  <a:pt x="9559" y="6359"/>
                </a:lnTo>
                <a:lnTo>
                  <a:pt x="9555" y="6348"/>
                </a:lnTo>
                <a:lnTo>
                  <a:pt x="9551" y="6338"/>
                </a:lnTo>
                <a:lnTo>
                  <a:pt x="9548" y="6327"/>
                </a:lnTo>
                <a:lnTo>
                  <a:pt x="9545" y="6317"/>
                </a:lnTo>
                <a:lnTo>
                  <a:pt x="9543" y="6305"/>
                </a:lnTo>
                <a:lnTo>
                  <a:pt x="9542" y="6294"/>
                </a:lnTo>
                <a:lnTo>
                  <a:pt x="9541" y="6282"/>
                </a:lnTo>
                <a:lnTo>
                  <a:pt x="9541" y="6270"/>
                </a:lnTo>
                <a:lnTo>
                  <a:pt x="9539" y="6266"/>
                </a:lnTo>
                <a:lnTo>
                  <a:pt x="9539" y="6256"/>
                </a:lnTo>
                <a:lnTo>
                  <a:pt x="9539" y="6239"/>
                </a:lnTo>
                <a:lnTo>
                  <a:pt x="9540" y="6217"/>
                </a:lnTo>
                <a:lnTo>
                  <a:pt x="9545" y="6162"/>
                </a:lnTo>
                <a:lnTo>
                  <a:pt x="9551" y="6097"/>
                </a:lnTo>
                <a:lnTo>
                  <a:pt x="9558" y="6031"/>
                </a:lnTo>
                <a:lnTo>
                  <a:pt x="9567" y="5968"/>
                </a:lnTo>
                <a:lnTo>
                  <a:pt x="9571" y="5942"/>
                </a:lnTo>
                <a:lnTo>
                  <a:pt x="9575" y="5919"/>
                </a:lnTo>
                <a:lnTo>
                  <a:pt x="9579" y="5901"/>
                </a:lnTo>
                <a:lnTo>
                  <a:pt x="9583" y="5889"/>
                </a:lnTo>
                <a:lnTo>
                  <a:pt x="9591" y="5892"/>
                </a:lnTo>
                <a:lnTo>
                  <a:pt x="9598" y="5895"/>
                </a:lnTo>
                <a:lnTo>
                  <a:pt x="9603" y="5898"/>
                </a:lnTo>
                <a:lnTo>
                  <a:pt x="9608" y="5902"/>
                </a:lnTo>
                <a:lnTo>
                  <a:pt x="9612" y="5908"/>
                </a:lnTo>
                <a:lnTo>
                  <a:pt x="9616" y="5914"/>
                </a:lnTo>
                <a:lnTo>
                  <a:pt x="9620" y="5922"/>
                </a:lnTo>
                <a:lnTo>
                  <a:pt x="9625" y="5931"/>
                </a:lnTo>
                <a:lnTo>
                  <a:pt x="9641" y="5927"/>
                </a:lnTo>
                <a:lnTo>
                  <a:pt x="9657" y="5924"/>
                </a:lnTo>
                <a:lnTo>
                  <a:pt x="9675" y="5922"/>
                </a:lnTo>
                <a:lnTo>
                  <a:pt x="9694" y="5921"/>
                </a:lnTo>
                <a:lnTo>
                  <a:pt x="9734" y="5921"/>
                </a:lnTo>
                <a:lnTo>
                  <a:pt x="9775" y="5920"/>
                </a:lnTo>
                <a:lnTo>
                  <a:pt x="9794" y="5919"/>
                </a:lnTo>
                <a:lnTo>
                  <a:pt x="9811" y="5916"/>
                </a:lnTo>
                <a:lnTo>
                  <a:pt x="9827" y="5913"/>
                </a:lnTo>
                <a:lnTo>
                  <a:pt x="9841" y="5908"/>
                </a:lnTo>
                <a:lnTo>
                  <a:pt x="9847" y="5905"/>
                </a:lnTo>
                <a:lnTo>
                  <a:pt x="9852" y="5902"/>
                </a:lnTo>
                <a:lnTo>
                  <a:pt x="9857" y="5898"/>
                </a:lnTo>
                <a:lnTo>
                  <a:pt x="9861" y="5893"/>
                </a:lnTo>
                <a:lnTo>
                  <a:pt x="9864" y="5888"/>
                </a:lnTo>
                <a:lnTo>
                  <a:pt x="9866" y="5882"/>
                </a:lnTo>
                <a:lnTo>
                  <a:pt x="9868" y="5875"/>
                </a:lnTo>
                <a:lnTo>
                  <a:pt x="9868" y="5868"/>
                </a:lnTo>
                <a:lnTo>
                  <a:pt x="9881" y="5869"/>
                </a:lnTo>
                <a:lnTo>
                  <a:pt x="9893" y="5870"/>
                </a:lnTo>
                <a:lnTo>
                  <a:pt x="9904" y="5872"/>
                </a:lnTo>
                <a:lnTo>
                  <a:pt x="9913" y="5874"/>
                </a:lnTo>
                <a:lnTo>
                  <a:pt x="9921" y="5877"/>
                </a:lnTo>
                <a:lnTo>
                  <a:pt x="9928" y="5881"/>
                </a:lnTo>
                <a:lnTo>
                  <a:pt x="9933" y="5886"/>
                </a:lnTo>
                <a:lnTo>
                  <a:pt x="9938" y="5891"/>
                </a:lnTo>
                <a:lnTo>
                  <a:pt x="9941" y="5896"/>
                </a:lnTo>
                <a:lnTo>
                  <a:pt x="9943" y="5902"/>
                </a:lnTo>
                <a:lnTo>
                  <a:pt x="9944" y="5909"/>
                </a:lnTo>
                <a:lnTo>
                  <a:pt x="9944" y="5916"/>
                </a:lnTo>
                <a:lnTo>
                  <a:pt x="9943" y="5924"/>
                </a:lnTo>
                <a:lnTo>
                  <a:pt x="9941" y="5933"/>
                </a:lnTo>
                <a:lnTo>
                  <a:pt x="9937" y="5942"/>
                </a:lnTo>
                <a:lnTo>
                  <a:pt x="9932" y="5952"/>
                </a:lnTo>
                <a:lnTo>
                  <a:pt x="9959" y="5957"/>
                </a:lnTo>
                <a:lnTo>
                  <a:pt x="9988" y="5960"/>
                </a:lnTo>
                <a:lnTo>
                  <a:pt x="10003" y="5962"/>
                </a:lnTo>
                <a:lnTo>
                  <a:pt x="10019" y="5962"/>
                </a:lnTo>
                <a:lnTo>
                  <a:pt x="10033" y="5961"/>
                </a:lnTo>
                <a:lnTo>
                  <a:pt x="10047" y="5960"/>
                </a:lnTo>
                <a:lnTo>
                  <a:pt x="10060" y="5957"/>
                </a:lnTo>
                <a:lnTo>
                  <a:pt x="10073" y="5953"/>
                </a:lnTo>
                <a:lnTo>
                  <a:pt x="10078" y="5950"/>
                </a:lnTo>
                <a:lnTo>
                  <a:pt x="10084" y="5947"/>
                </a:lnTo>
                <a:lnTo>
                  <a:pt x="10089" y="5944"/>
                </a:lnTo>
                <a:lnTo>
                  <a:pt x="10093" y="5940"/>
                </a:lnTo>
                <a:lnTo>
                  <a:pt x="10097" y="5935"/>
                </a:lnTo>
                <a:lnTo>
                  <a:pt x="10101" y="5930"/>
                </a:lnTo>
                <a:lnTo>
                  <a:pt x="10104" y="5925"/>
                </a:lnTo>
                <a:lnTo>
                  <a:pt x="10107" y="5919"/>
                </a:lnTo>
                <a:lnTo>
                  <a:pt x="10109" y="5912"/>
                </a:lnTo>
                <a:lnTo>
                  <a:pt x="10111" y="5905"/>
                </a:lnTo>
                <a:lnTo>
                  <a:pt x="10112" y="5897"/>
                </a:lnTo>
                <a:lnTo>
                  <a:pt x="10112" y="5889"/>
                </a:lnTo>
                <a:lnTo>
                  <a:pt x="10099" y="5889"/>
                </a:lnTo>
                <a:lnTo>
                  <a:pt x="10089" y="5888"/>
                </a:lnTo>
                <a:lnTo>
                  <a:pt x="10085" y="5887"/>
                </a:lnTo>
                <a:lnTo>
                  <a:pt x="10082" y="5886"/>
                </a:lnTo>
                <a:lnTo>
                  <a:pt x="10079" y="5884"/>
                </a:lnTo>
                <a:lnTo>
                  <a:pt x="10076" y="5882"/>
                </a:lnTo>
                <a:lnTo>
                  <a:pt x="10074" y="5880"/>
                </a:lnTo>
                <a:lnTo>
                  <a:pt x="10073" y="5877"/>
                </a:lnTo>
                <a:lnTo>
                  <a:pt x="10072" y="5874"/>
                </a:lnTo>
                <a:lnTo>
                  <a:pt x="10071" y="5870"/>
                </a:lnTo>
                <a:lnTo>
                  <a:pt x="10070" y="5860"/>
                </a:lnTo>
                <a:lnTo>
                  <a:pt x="10070" y="5846"/>
                </a:lnTo>
                <a:lnTo>
                  <a:pt x="10081" y="5834"/>
                </a:lnTo>
                <a:lnTo>
                  <a:pt x="10089" y="5822"/>
                </a:lnTo>
                <a:lnTo>
                  <a:pt x="10096" y="5809"/>
                </a:lnTo>
                <a:lnTo>
                  <a:pt x="10102" y="5797"/>
                </a:lnTo>
                <a:lnTo>
                  <a:pt x="10105" y="5786"/>
                </a:lnTo>
                <a:lnTo>
                  <a:pt x="10108" y="5774"/>
                </a:lnTo>
                <a:lnTo>
                  <a:pt x="10108" y="5762"/>
                </a:lnTo>
                <a:lnTo>
                  <a:pt x="10108" y="5751"/>
                </a:lnTo>
                <a:lnTo>
                  <a:pt x="10106" y="5739"/>
                </a:lnTo>
                <a:lnTo>
                  <a:pt x="10103" y="5727"/>
                </a:lnTo>
                <a:lnTo>
                  <a:pt x="10100" y="5716"/>
                </a:lnTo>
                <a:lnTo>
                  <a:pt x="10095" y="5705"/>
                </a:lnTo>
                <a:lnTo>
                  <a:pt x="10089" y="5694"/>
                </a:lnTo>
                <a:lnTo>
                  <a:pt x="10083" y="5684"/>
                </a:lnTo>
                <a:lnTo>
                  <a:pt x="10077" y="5673"/>
                </a:lnTo>
                <a:lnTo>
                  <a:pt x="10070" y="5663"/>
                </a:lnTo>
                <a:lnTo>
                  <a:pt x="10038" y="5624"/>
                </a:lnTo>
                <a:lnTo>
                  <a:pt x="10007" y="5587"/>
                </a:lnTo>
                <a:lnTo>
                  <a:pt x="9994" y="5571"/>
                </a:lnTo>
                <a:lnTo>
                  <a:pt x="9983" y="5556"/>
                </a:lnTo>
                <a:lnTo>
                  <a:pt x="9980" y="5549"/>
                </a:lnTo>
                <a:lnTo>
                  <a:pt x="9977" y="5542"/>
                </a:lnTo>
                <a:lnTo>
                  <a:pt x="9975" y="5535"/>
                </a:lnTo>
                <a:lnTo>
                  <a:pt x="9974" y="5529"/>
                </a:lnTo>
                <a:lnTo>
                  <a:pt x="9965" y="5525"/>
                </a:lnTo>
                <a:lnTo>
                  <a:pt x="9956" y="5520"/>
                </a:lnTo>
                <a:lnTo>
                  <a:pt x="9946" y="5514"/>
                </a:lnTo>
                <a:lnTo>
                  <a:pt x="9936" y="5506"/>
                </a:lnTo>
                <a:lnTo>
                  <a:pt x="9916" y="5489"/>
                </a:lnTo>
                <a:lnTo>
                  <a:pt x="9898" y="5471"/>
                </a:lnTo>
                <a:lnTo>
                  <a:pt x="9890" y="5463"/>
                </a:lnTo>
                <a:lnTo>
                  <a:pt x="9885" y="5457"/>
                </a:lnTo>
                <a:lnTo>
                  <a:pt x="9882" y="5451"/>
                </a:lnTo>
                <a:lnTo>
                  <a:pt x="9880" y="5447"/>
                </a:lnTo>
                <a:lnTo>
                  <a:pt x="9881" y="5446"/>
                </a:lnTo>
                <a:lnTo>
                  <a:pt x="9881" y="5445"/>
                </a:lnTo>
                <a:lnTo>
                  <a:pt x="9883" y="5445"/>
                </a:lnTo>
                <a:lnTo>
                  <a:pt x="9885" y="5445"/>
                </a:lnTo>
                <a:lnTo>
                  <a:pt x="9893" y="5447"/>
                </a:lnTo>
                <a:lnTo>
                  <a:pt x="9904" y="5453"/>
                </a:lnTo>
                <a:lnTo>
                  <a:pt x="9915" y="5459"/>
                </a:lnTo>
                <a:lnTo>
                  <a:pt x="9930" y="5465"/>
                </a:lnTo>
                <a:lnTo>
                  <a:pt x="9947" y="5472"/>
                </a:lnTo>
                <a:lnTo>
                  <a:pt x="9965" y="5478"/>
                </a:lnTo>
                <a:lnTo>
                  <a:pt x="9984" y="5485"/>
                </a:lnTo>
                <a:lnTo>
                  <a:pt x="10004" y="5490"/>
                </a:lnTo>
                <a:lnTo>
                  <a:pt x="10024" y="5493"/>
                </a:lnTo>
                <a:lnTo>
                  <a:pt x="10042" y="5495"/>
                </a:lnTo>
                <a:lnTo>
                  <a:pt x="10051" y="5495"/>
                </a:lnTo>
                <a:lnTo>
                  <a:pt x="10059" y="5495"/>
                </a:lnTo>
                <a:lnTo>
                  <a:pt x="10067" y="5494"/>
                </a:lnTo>
                <a:lnTo>
                  <a:pt x="10074" y="5493"/>
                </a:lnTo>
                <a:lnTo>
                  <a:pt x="10080" y="5491"/>
                </a:lnTo>
                <a:lnTo>
                  <a:pt x="10085" y="5488"/>
                </a:lnTo>
                <a:lnTo>
                  <a:pt x="10090" y="5485"/>
                </a:lnTo>
                <a:lnTo>
                  <a:pt x="10094" y="5479"/>
                </a:lnTo>
                <a:lnTo>
                  <a:pt x="10096" y="5474"/>
                </a:lnTo>
                <a:lnTo>
                  <a:pt x="10098" y="5468"/>
                </a:lnTo>
                <a:lnTo>
                  <a:pt x="10098" y="5461"/>
                </a:lnTo>
                <a:lnTo>
                  <a:pt x="10097" y="5454"/>
                </a:lnTo>
                <a:lnTo>
                  <a:pt x="10095" y="5445"/>
                </a:lnTo>
                <a:lnTo>
                  <a:pt x="10092" y="5435"/>
                </a:lnTo>
                <a:lnTo>
                  <a:pt x="10087" y="5424"/>
                </a:lnTo>
                <a:lnTo>
                  <a:pt x="10080" y="5412"/>
                </a:lnTo>
                <a:lnTo>
                  <a:pt x="10084" y="5411"/>
                </a:lnTo>
                <a:lnTo>
                  <a:pt x="10087" y="5409"/>
                </a:lnTo>
                <a:lnTo>
                  <a:pt x="10089" y="5406"/>
                </a:lnTo>
                <a:lnTo>
                  <a:pt x="10091" y="5402"/>
                </a:lnTo>
                <a:lnTo>
                  <a:pt x="10102" y="5411"/>
                </a:lnTo>
                <a:lnTo>
                  <a:pt x="10118" y="5425"/>
                </a:lnTo>
                <a:lnTo>
                  <a:pt x="10127" y="5433"/>
                </a:lnTo>
                <a:lnTo>
                  <a:pt x="10137" y="5440"/>
                </a:lnTo>
                <a:lnTo>
                  <a:pt x="10148" y="5447"/>
                </a:lnTo>
                <a:lnTo>
                  <a:pt x="10158" y="5453"/>
                </a:lnTo>
                <a:lnTo>
                  <a:pt x="10167" y="5458"/>
                </a:lnTo>
                <a:lnTo>
                  <a:pt x="10176" y="5461"/>
                </a:lnTo>
                <a:lnTo>
                  <a:pt x="10181" y="5462"/>
                </a:lnTo>
                <a:lnTo>
                  <a:pt x="10185" y="5462"/>
                </a:lnTo>
                <a:lnTo>
                  <a:pt x="10189" y="5462"/>
                </a:lnTo>
                <a:lnTo>
                  <a:pt x="10192" y="5461"/>
                </a:lnTo>
                <a:lnTo>
                  <a:pt x="10196" y="5459"/>
                </a:lnTo>
                <a:lnTo>
                  <a:pt x="10198" y="5457"/>
                </a:lnTo>
                <a:lnTo>
                  <a:pt x="10201" y="5453"/>
                </a:lnTo>
                <a:lnTo>
                  <a:pt x="10203" y="5449"/>
                </a:lnTo>
                <a:lnTo>
                  <a:pt x="10205" y="5444"/>
                </a:lnTo>
                <a:lnTo>
                  <a:pt x="10206" y="5438"/>
                </a:lnTo>
                <a:lnTo>
                  <a:pt x="10207" y="5431"/>
                </a:lnTo>
                <a:lnTo>
                  <a:pt x="10207" y="5423"/>
                </a:lnTo>
                <a:lnTo>
                  <a:pt x="10213" y="5422"/>
                </a:lnTo>
                <a:lnTo>
                  <a:pt x="10220" y="5420"/>
                </a:lnTo>
                <a:lnTo>
                  <a:pt x="10228" y="5417"/>
                </a:lnTo>
                <a:lnTo>
                  <a:pt x="10237" y="5413"/>
                </a:lnTo>
                <a:lnTo>
                  <a:pt x="10245" y="5408"/>
                </a:lnTo>
                <a:lnTo>
                  <a:pt x="10254" y="5403"/>
                </a:lnTo>
                <a:lnTo>
                  <a:pt x="10262" y="5397"/>
                </a:lnTo>
                <a:lnTo>
                  <a:pt x="10270" y="5392"/>
                </a:lnTo>
                <a:lnTo>
                  <a:pt x="10276" y="5386"/>
                </a:lnTo>
                <a:lnTo>
                  <a:pt x="10281" y="5380"/>
                </a:lnTo>
                <a:lnTo>
                  <a:pt x="10282" y="5377"/>
                </a:lnTo>
                <a:lnTo>
                  <a:pt x="10283" y="5375"/>
                </a:lnTo>
                <a:lnTo>
                  <a:pt x="10283" y="5372"/>
                </a:lnTo>
                <a:lnTo>
                  <a:pt x="10283" y="5370"/>
                </a:lnTo>
                <a:lnTo>
                  <a:pt x="10282" y="5368"/>
                </a:lnTo>
                <a:lnTo>
                  <a:pt x="10280" y="5366"/>
                </a:lnTo>
                <a:lnTo>
                  <a:pt x="10277" y="5364"/>
                </a:lnTo>
                <a:lnTo>
                  <a:pt x="10274" y="5363"/>
                </a:lnTo>
                <a:lnTo>
                  <a:pt x="10263" y="5361"/>
                </a:lnTo>
                <a:lnTo>
                  <a:pt x="10249" y="5360"/>
                </a:lnTo>
                <a:lnTo>
                  <a:pt x="10254" y="5325"/>
                </a:lnTo>
                <a:lnTo>
                  <a:pt x="10256" y="5295"/>
                </a:lnTo>
                <a:lnTo>
                  <a:pt x="10257" y="5267"/>
                </a:lnTo>
                <a:lnTo>
                  <a:pt x="10260" y="5243"/>
                </a:lnTo>
                <a:lnTo>
                  <a:pt x="10283" y="5255"/>
                </a:lnTo>
                <a:lnTo>
                  <a:pt x="10302" y="5262"/>
                </a:lnTo>
                <a:lnTo>
                  <a:pt x="10309" y="5264"/>
                </a:lnTo>
                <a:lnTo>
                  <a:pt x="10316" y="5265"/>
                </a:lnTo>
                <a:lnTo>
                  <a:pt x="10322" y="5266"/>
                </a:lnTo>
                <a:lnTo>
                  <a:pt x="10327" y="5265"/>
                </a:lnTo>
                <a:lnTo>
                  <a:pt x="10331" y="5264"/>
                </a:lnTo>
                <a:lnTo>
                  <a:pt x="10335" y="5263"/>
                </a:lnTo>
                <a:lnTo>
                  <a:pt x="10338" y="5260"/>
                </a:lnTo>
                <a:lnTo>
                  <a:pt x="10341" y="5257"/>
                </a:lnTo>
                <a:lnTo>
                  <a:pt x="10345" y="5250"/>
                </a:lnTo>
                <a:lnTo>
                  <a:pt x="10348" y="5240"/>
                </a:lnTo>
                <a:lnTo>
                  <a:pt x="10352" y="5217"/>
                </a:lnTo>
                <a:lnTo>
                  <a:pt x="10357" y="5192"/>
                </a:lnTo>
                <a:lnTo>
                  <a:pt x="10361" y="5180"/>
                </a:lnTo>
                <a:lnTo>
                  <a:pt x="10367" y="5168"/>
                </a:lnTo>
                <a:lnTo>
                  <a:pt x="10371" y="5163"/>
                </a:lnTo>
                <a:lnTo>
                  <a:pt x="10376" y="5158"/>
                </a:lnTo>
                <a:lnTo>
                  <a:pt x="10381" y="5153"/>
                </a:lnTo>
                <a:lnTo>
                  <a:pt x="10387" y="5148"/>
                </a:lnTo>
                <a:lnTo>
                  <a:pt x="10387" y="5156"/>
                </a:lnTo>
                <a:lnTo>
                  <a:pt x="10388" y="5162"/>
                </a:lnTo>
                <a:lnTo>
                  <a:pt x="10389" y="5167"/>
                </a:lnTo>
                <a:lnTo>
                  <a:pt x="10390" y="5171"/>
                </a:lnTo>
                <a:lnTo>
                  <a:pt x="10392" y="5175"/>
                </a:lnTo>
                <a:lnTo>
                  <a:pt x="10394" y="5177"/>
                </a:lnTo>
                <a:lnTo>
                  <a:pt x="10397" y="5178"/>
                </a:lnTo>
                <a:lnTo>
                  <a:pt x="10400" y="5178"/>
                </a:lnTo>
                <a:lnTo>
                  <a:pt x="10406" y="5177"/>
                </a:lnTo>
                <a:lnTo>
                  <a:pt x="10413" y="5173"/>
                </a:lnTo>
                <a:lnTo>
                  <a:pt x="10421" y="5167"/>
                </a:lnTo>
                <a:lnTo>
                  <a:pt x="10429" y="5160"/>
                </a:lnTo>
                <a:lnTo>
                  <a:pt x="10448" y="5143"/>
                </a:lnTo>
                <a:lnTo>
                  <a:pt x="10467" y="5125"/>
                </a:lnTo>
                <a:lnTo>
                  <a:pt x="10476" y="5118"/>
                </a:lnTo>
                <a:lnTo>
                  <a:pt x="10486" y="5112"/>
                </a:lnTo>
                <a:lnTo>
                  <a:pt x="10490" y="5109"/>
                </a:lnTo>
                <a:lnTo>
                  <a:pt x="10495" y="5108"/>
                </a:lnTo>
                <a:lnTo>
                  <a:pt x="10499" y="5107"/>
                </a:lnTo>
                <a:lnTo>
                  <a:pt x="10503" y="5106"/>
                </a:lnTo>
                <a:lnTo>
                  <a:pt x="10508" y="5098"/>
                </a:lnTo>
                <a:lnTo>
                  <a:pt x="10514" y="5092"/>
                </a:lnTo>
                <a:lnTo>
                  <a:pt x="10520" y="5087"/>
                </a:lnTo>
                <a:lnTo>
                  <a:pt x="10526" y="5082"/>
                </a:lnTo>
                <a:lnTo>
                  <a:pt x="10533" y="5078"/>
                </a:lnTo>
                <a:lnTo>
                  <a:pt x="10539" y="5074"/>
                </a:lnTo>
                <a:lnTo>
                  <a:pt x="10546" y="5071"/>
                </a:lnTo>
                <a:lnTo>
                  <a:pt x="10553" y="5068"/>
                </a:lnTo>
                <a:lnTo>
                  <a:pt x="10568" y="5064"/>
                </a:lnTo>
                <a:lnTo>
                  <a:pt x="10582" y="5061"/>
                </a:lnTo>
                <a:lnTo>
                  <a:pt x="10597" y="5058"/>
                </a:lnTo>
                <a:lnTo>
                  <a:pt x="10612" y="5056"/>
                </a:lnTo>
                <a:lnTo>
                  <a:pt x="10627" y="5054"/>
                </a:lnTo>
                <a:lnTo>
                  <a:pt x="10641" y="5051"/>
                </a:lnTo>
                <a:lnTo>
                  <a:pt x="10656" y="5048"/>
                </a:lnTo>
                <a:lnTo>
                  <a:pt x="10668" y="5042"/>
                </a:lnTo>
                <a:lnTo>
                  <a:pt x="10674" y="5039"/>
                </a:lnTo>
                <a:lnTo>
                  <a:pt x="10680" y="5036"/>
                </a:lnTo>
                <a:lnTo>
                  <a:pt x="10685" y="5031"/>
                </a:lnTo>
                <a:lnTo>
                  <a:pt x="10690" y="5026"/>
                </a:lnTo>
                <a:lnTo>
                  <a:pt x="10694" y="5021"/>
                </a:lnTo>
                <a:lnTo>
                  <a:pt x="10698" y="5015"/>
                </a:lnTo>
                <a:lnTo>
                  <a:pt x="10702" y="5008"/>
                </a:lnTo>
                <a:lnTo>
                  <a:pt x="10705" y="5000"/>
                </a:lnTo>
                <a:lnTo>
                  <a:pt x="10699" y="4997"/>
                </a:lnTo>
                <a:lnTo>
                  <a:pt x="10693" y="4994"/>
                </a:lnTo>
                <a:lnTo>
                  <a:pt x="10688" y="4990"/>
                </a:lnTo>
                <a:lnTo>
                  <a:pt x="10684" y="4986"/>
                </a:lnTo>
                <a:lnTo>
                  <a:pt x="10680" y="4981"/>
                </a:lnTo>
                <a:lnTo>
                  <a:pt x="10676" y="4974"/>
                </a:lnTo>
                <a:lnTo>
                  <a:pt x="10672" y="4967"/>
                </a:lnTo>
                <a:lnTo>
                  <a:pt x="10669" y="4960"/>
                </a:lnTo>
                <a:lnTo>
                  <a:pt x="10664" y="4945"/>
                </a:lnTo>
                <a:lnTo>
                  <a:pt x="10660" y="4929"/>
                </a:lnTo>
                <a:lnTo>
                  <a:pt x="10657" y="4911"/>
                </a:lnTo>
                <a:lnTo>
                  <a:pt x="10654" y="4892"/>
                </a:lnTo>
                <a:lnTo>
                  <a:pt x="10652" y="4854"/>
                </a:lnTo>
                <a:lnTo>
                  <a:pt x="10651" y="4816"/>
                </a:lnTo>
                <a:lnTo>
                  <a:pt x="10652" y="4783"/>
                </a:lnTo>
                <a:lnTo>
                  <a:pt x="10652" y="4757"/>
                </a:lnTo>
                <a:lnTo>
                  <a:pt x="10660" y="4758"/>
                </a:lnTo>
                <a:lnTo>
                  <a:pt x="10667" y="4758"/>
                </a:lnTo>
                <a:lnTo>
                  <a:pt x="10674" y="4757"/>
                </a:lnTo>
                <a:lnTo>
                  <a:pt x="10681" y="4756"/>
                </a:lnTo>
                <a:lnTo>
                  <a:pt x="10696" y="4752"/>
                </a:lnTo>
                <a:lnTo>
                  <a:pt x="10710" y="4747"/>
                </a:lnTo>
                <a:lnTo>
                  <a:pt x="10738" y="4733"/>
                </a:lnTo>
                <a:lnTo>
                  <a:pt x="10764" y="4718"/>
                </a:lnTo>
                <a:lnTo>
                  <a:pt x="10777" y="4712"/>
                </a:lnTo>
                <a:lnTo>
                  <a:pt x="10788" y="4707"/>
                </a:lnTo>
                <a:lnTo>
                  <a:pt x="10798" y="4704"/>
                </a:lnTo>
                <a:lnTo>
                  <a:pt x="10807" y="4703"/>
                </a:lnTo>
                <a:lnTo>
                  <a:pt x="10811" y="4704"/>
                </a:lnTo>
                <a:lnTo>
                  <a:pt x="10814" y="4705"/>
                </a:lnTo>
                <a:lnTo>
                  <a:pt x="10818" y="4707"/>
                </a:lnTo>
                <a:lnTo>
                  <a:pt x="10821" y="4710"/>
                </a:lnTo>
                <a:lnTo>
                  <a:pt x="10823" y="4714"/>
                </a:lnTo>
                <a:lnTo>
                  <a:pt x="10825" y="4719"/>
                </a:lnTo>
                <a:lnTo>
                  <a:pt x="10827" y="4726"/>
                </a:lnTo>
                <a:lnTo>
                  <a:pt x="10828" y="4733"/>
                </a:lnTo>
                <a:lnTo>
                  <a:pt x="10832" y="4764"/>
                </a:lnTo>
                <a:lnTo>
                  <a:pt x="10836" y="4804"/>
                </a:lnTo>
                <a:lnTo>
                  <a:pt x="10839" y="4824"/>
                </a:lnTo>
                <a:lnTo>
                  <a:pt x="10843" y="4841"/>
                </a:lnTo>
                <a:lnTo>
                  <a:pt x="10845" y="4848"/>
                </a:lnTo>
                <a:lnTo>
                  <a:pt x="10847" y="4855"/>
                </a:lnTo>
                <a:lnTo>
                  <a:pt x="10850" y="4860"/>
                </a:lnTo>
                <a:lnTo>
                  <a:pt x="10852" y="4863"/>
                </a:lnTo>
                <a:lnTo>
                  <a:pt x="10872" y="4872"/>
                </a:lnTo>
                <a:lnTo>
                  <a:pt x="10889" y="4878"/>
                </a:lnTo>
                <a:lnTo>
                  <a:pt x="10896" y="4880"/>
                </a:lnTo>
                <a:lnTo>
                  <a:pt x="10904" y="4881"/>
                </a:lnTo>
                <a:lnTo>
                  <a:pt x="10910" y="4882"/>
                </a:lnTo>
                <a:lnTo>
                  <a:pt x="10915" y="4882"/>
                </a:lnTo>
                <a:lnTo>
                  <a:pt x="10920" y="4881"/>
                </a:lnTo>
                <a:lnTo>
                  <a:pt x="10924" y="4879"/>
                </a:lnTo>
                <a:lnTo>
                  <a:pt x="10927" y="4877"/>
                </a:lnTo>
                <a:lnTo>
                  <a:pt x="10931" y="4875"/>
                </a:lnTo>
                <a:lnTo>
                  <a:pt x="10933" y="4872"/>
                </a:lnTo>
                <a:lnTo>
                  <a:pt x="10935" y="4869"/>
                </a:lnTo>
                <a:lnTo>
                  <a:pt x="10937" y="4865"/>
                </a:lnTo>
                <a:lnTo>
                  <a:pt x="10939" y="4860"/>
                </a:lnTo>
                <a:lnTo>
                  <a:pt x="10941" y="4850"/>
                </a:lnTo>
                <a:lnTo>
                  <a:pt x="10941" y="4839"/>
                </a:lnTo>
                <a:lnTo>
                  <a:pt x="10941" y="4828"/>
                </a:lnTo>
                <a:lnTo>
                  <a:pt x="10941" y="4816"/>
                </a:lnTo>
                <a:lnTo>
                  <a:pt x="10939" y="4791"/>
                </a:lnTo>
                <a:lnTo>
                  <a:pt x="10938" y="4767"/>
                </a:lnTo>
                <a:lnTo>
                  <a:pt x="10934" y="4767"/>
                </a:lnTo>
                <a:lnTo>
                  <a:pt x="10931" y="4766"/>
                </a:lnTo>
                <a:lnTo>
                  <a:pt x="10927" y="4764"/>
                </a:lnTo>
                <a:lnTo>
                  <a:pt x="10923" y="4761"/>
                </a:lnTo>
                <a:lnTo>
                  <a:pt x="10915" y="4754"/>
                </a:lnTo>
                <a:lnTo>
                  <a:pt x="10908" y="4745"/>
                </a:lnTo>
                <a:lnTo>
                  <a:pt x="10900" y="4734"/>
                </a:lnTo>
                <a:lnTo>
                  <a:pt x="10891" y="4720"/>
                </a:lnTo>
                <a:lnTo>
                  <a:pt x="10884" y="4706"/>
                </a:lnTo>
                <a:lnTo>
                  <a:pt x="10877" y="4691"/>
                </a:lnTo>
                <a:lnTo>
                  <a:pt x="10870" y="4675"/>
                </a:lnTo>
                <a:lnTo>
                  <a:pt x="10864" y="4658"/>
                </a:lnTo>
                <a:lnTo>
                  <a:pt x="10859" y="4642"/>
                </a:lnTo>
                <a:lnTo>
                  <a:pt x="10854" y="4625"/>
                </a:lnTo>
                <a:lnTo>
                  <a:pt x="10850" y="4609"/>
                </a:lnTo>
                <a:lnTo>
                  <a:pt x="10846" y="4593"/>
                </a:lnTo>
                <a:lnTo>
                  <a:pt x="10844" y="4578"/>
                </a:lnTo>
                <a:lnTo>
                  <a:pt x="10842" y="4566"/>
                </a:lnTo>
                <a:lnTo>
                  <a:pt x="10829" y="4568"/>
                </a:lnTo>
                <a:lnTo>
                  <a:pt x="10816" y="4571"/>
                </a:lnTo>
                <a:lnTo>
                  <a:pt x="10802" y="4574"/>
                </a:lnTo>
                <a:lnTo>
                  <a:pt x="10788" y="4579"/>
                </a:lnTo>
                <a:lnTo>
                  <a:pt x="10775" y="4585"/>
                </a:lnTo>
                <a:lnTo>
                  <a:pt x="10762" y="4591"/>
                </a:lnTo>
                <a:lnTo>
                  <a:pt x="10757" y="4595"/>
                </a:lnTo>
                <a:lnTo>
                  <a:pt x="10753" y="4600"/>
                </a:lnTo>
                <a:lnTo>
                  <a:pt x="10749" y="4604"/>
                </a:lnTo>
                <a:lnTo>
                  <a:pt x="10746" y="4608"/>
                </a:lnTo>
                <a:lnTo>
                  <a:pt x="10725" y="4608"/>
                </a:lnTo>
                <a:lnTo>
                  <a:pt x="10705" y="4607"/>
                </a:lnTo>
                <a:lnTo>
                  <a:pt x="10686" y="4605"/>
                </a:lnTo>
                <a:lnTo>
                  <a:pt x="10667" y="4602"/>
                </a:lnTo>
                <a:lnTo>
                  <a:pt x="10629" y="4594"/>
                </a:lnTo>
                <a:lnTo>
                  <a:pt x="10595" y="4587"/>
                </a:lnTo>
                <a:lnTo>
                  <a:pt x="10562" y="4579"/>
                </a:lnTo>
                <a:lnTo>
                  <a:pt x="10529" y="4572"/>
                </a:lnTo>
                <a:lnTo>
                  <a:pt x="10511" y="4569"/>
                </a:lnTo>
                <a:lnTo>
                  <a:pt x="10495" y="4567"/>
                </a:lnTo>
                <a:lnTo>
                  <a:pt x="10478" y="4566"/>
                </a:lnTo>
                <a:lnTo>
                  <a:pt x="10461" y="4566"/>
                </a:lnTo>
                <a:lnTo>
                  <a:pt x="10440" y="4538"/>
                </a:lnTo>
                <a:lnTo>
                  <a:pt x="10402" y="4492"/>
                </a:lnTo>
                <a:lnTo>
                  <a:pt x="10382" y="4467"/>
                </a:lnTo>
                <a:lnTo>
                  <a:pt x="10366" y="4447"/>
                </a:lnTo>
                <a:lnTo>
                  <a:pt x="10360" y="4439"/>
                </a:lnTo>
                <a:lnTo>
                  <a:pt x="10356" y="4433"/>
                </a:lnTo>
                <a:lnTo>
                  <a:pt x="10354" y="4429"/>
                </a:lnTo>
                <a:lnTo>
                  <a:pt x="10355" y="4428"/>
                </a:lnTo>
                <a:lnTo>
                  <a:pt x="10350" y="4418"/>
                </a:lnTo>
                <a:lnTo>
                  <a:pt x="10345" y="4409"/>
                </a:lnTo>
                <a:lnTo>
                  <a:pt x="10342" y="4400"/>
                </a:lnTo>
                <a:lnTo>
                  <a:pt x="10340" y="4393"/>
                </a:lnTo>
                <a:lnTo>
                  <a:pt x="10338" y="4386"/>
                </a:lnTo>
                <a:lnTo>
                  <a:pt x="10338" y="4380"/>
                </a:lnTo>
                <a:lnTo>
                  <a:pt x="10338" y="4374"/>
                </a:lnTo>
                <a:lnTo>
                  <a:pt x="10339" y="4369"/>
                </a:lnTo>
                <a:lnTo>
                  <a:pt x="10340" y="4365"/>
                </a:lnTo>
                <a:lnTo>
                  <a:pt x="10342" y="4361"/>
                </a:lnTo>
                <a:lnTo>
                  <a:pt x="10345" y="4357"/>
                </a:lnTo>
                <a:lnTo>
                  <a:pt x="10349" y="4354"/>
                </a:lnTo>
                <a:lnTo>
                  <a:pt x="10356" y="4350"/>
                </a:lnTo>
                <a:lnTo>
                  <a:pt x="10366" y="4346"/>
                </a:lnTo>
                <a:lnTo>
                  <a:pt x="10376" y="4344"/>
                </a:lnTo>
                <a:lnTo>
                  <a:pt x="10387" y="4343"/>
                </a:lnTo>
                <a:lnTo>
                  <a:pt x="10399" y="4343"/>
                </a:lnTo>
                <a:lnTo>
                  <a:pt x="10410" y="4343"/>
                </a:lnTo>
                <a:lnTo>
                  <a:pt x="10428" y="4344"/>
                </a:lnTo>
                <a:lnTo>
                  <a:pt x="10440" y="4344"/>
                </a:lnTo>
                <a:lnTo>
                  <a:pt x="10442" y="4334"/>
                </a:lnTo>
                <a:lnTo>
                  <a:pt x="10445" y="4325"/>
                </a:lnTo>
                <a:lnTo>
                  <a:pt x="10451" y="4317"/>
                </a:lnTo>
                <a:lnTo>
                  <a:pt x="10459" y="4309"/>
                </a:lnTo>
                <a:lnTo>
                  <a:pt x="10469" y="4302"/>
                </a:lnTo>
                <a:lnTo>
                  <a:pt x="10480" y="4296"/>
                </a:lnTo>
                <a:lnTo>
                  <a:pt x="10494" y="4289"/>
                </a:lnTo>
                <a:lnTo>
                  <a:pt x="10508" y="4283"/>
                </a:lnTo>
                <a:lnTo>
                  <a:pt x="10542" y="4272"/>
                </a:lnTo>
                <a:lnTo>
                  <a:pt x="10579" y="4261"/>
                </a:lnTo>
                <a:lnTo>
                  <a:pt x="10619" y="4251"/>
                </a:lnTo>
                <a:lnTo>
                  <a:pt x="10661" y="4240"/>
                </a:lnTo>
                <a:lnTo>
                  <a:pt x="10703" y="4229"/>
                </a:lnTo>
                <a:lnTo>
                  <a:pt x="10743" y="4215"/>
                </a:lnTo>
                <a:lnTo>
                  <a:pt x="10762" y="4209"/>
                </a:lnTo>
                <a:lnTo>
                  <a:pt x="10782" y="4201"/>
                </a:lnTo>
                <a:lnTo>
                  <a:pt x="10800" y="4193"/>
                </a:lnTo>
                <a:lnTo>
                  <a:pt x="10816" y="4185"/>
                </a:lnTo>
                <a:lnTo>
                  <a:pt x="10832" y="4176"/>
                </a:lnTo>
                <a:lnTo>
                  <a:pt x="10846" y="4166"/>
                </a:lnTo>
                <a:lnTo>
                  <a:pt x="10859" y="4156"/>
                </a:lnTo>
                <a:lnTo>
                  <a:pt x="10870" y="4144"/>
                </a:lnTo>
                <a:lnTo>
                  <a:pt x="10879" y="4132"/>
                </a:lnTo>
                <a:lnTo>
                  <a:pt x="10887" y="4119"/>
                </a:lnTo>
                <a:lnTo>
                  <a:pt x="10892" y="4105"/>
                </a:lnTo>
                <a:lnTo>
                  <a:pt x="10895" y="4089"/>
                </a:lnTo>
                <a:lnTo>
                  <a:pt x="10883" y="4088"/>
                </a:lnTo>
                <a:lnTo>
                  <a:pt x="10873" y="4086"/>
                </a:lnTo>
                <a:lnTo>
                  <a:pt x="10866" y="4083"/>
                </a:lnTo>
                <a:lnTo>
                  <a:pt x="10860" y="4079"/>
                </a:lnTo>
                <a:lnTo>
                  <a:pt x="10857" y="4073"/>
                </a:lnTo>
                <a:lnTo>
                  <a:pt x="10856" y="4067"/>
                </a:lnTo>
                <a:lnTo>
                  <a:pt x="10856" y="4059"/>
                </a:lnTo>
                <a:lnTo>
                  <a:pt x="10858" y="4051"/>
                </a:lnTo>
                <a:lnTo>
                  <a:pt x="10861" y="4042"/>
                </a:lnTo>
                <a:lnTo>
                  <a:pt x="10866" y="4033"/>
                </a:lnTo>
                <a:lnTo>
                  <a:pt x="10872" y="4023"/>
                </a:lnTo>
                <a:lnTo>
                  <a:pt x="10879" y="4012"/>
                </a:lnTo>
                <a:lnTo>
                  <a:pt x="10895" y="3991"/>
                </a:lnTo>
                <a:lnTo>
                  <a:pt x="10916" y="3967"/>
                </a:lnTo>
                <a:lnTo>
                  <a:pt x="10937" y="3945"/>
                </a:lnTo>
                <a:lnTo>
                  <a:pt x="10959" y="3923"/>
                </a:lnTo>
                <a:lnTo>
                  <a:pt x="10980" y="3902"/>
                </a:lnTo>
                <a:lnTo>
                  <a:pt x="11000" y="3884"/>
                </a:lnTo>
                <a:lnTo>
                  <a:pt x="11031" y="3857"/>
                </a:lnTo>
                <a:lnTo>
                  <a:pt x="11044" y="3847"/>
                </a:lnTo>
                <a:lnTo>
                  <a:pt x="11078" y="3816"/>
                </a:lnTo>
                <a:lnTo>
                  <a:pt x="11109" y="3787"/>
                </a:lnTo>
                <a:lnTo>
                  <a:pt x="11124" y="3773"/>
                </a:lnTo>
                <a:lnTo>
                  <a:pt x="11139" y="3760"/>
                </a:lnTo>
                <a:lnTo>
                  <a:pt x="11155" y="3748"/>
                </a:lnTo>
                <a:lnTo>
                  <a:pt x="11170" y="3737"/>
                </a:lnTo>
                <a:lnTo>
                  <a:pt x="11185" y="3726"/>
                </a:lnTo>
                <a:lnTo>
                  <a:pt x="11200" y="3716"/>
                </a:lnTo>
                <a:lnTo>
                  <a:pt x="11216" y="3707"/>
                </a:lnTo>
                <a:lnTo>
                  <a:pt x="11233" y="3699"/>
                </a:lnTo>
                <a:lnTo>
                  <a:pt x="11251" y="3693"/>
                </a:lnTo>
                <a:lnTo>
                  <a:pt x="11270" y="3688"/>
                </a:lnTo>
                <a:lnTo>
                  <a:pt x="11292" y="3684"/>
                </a:lnTo>
                <a:lnTo>
                  <a:pt x="11313" y="3682"/>
                </a:lnTo>
                <a:lnTo>
                  <a:pt x="11329" y="3679"/>
                </a:lnTo>
                <a:lnTo>
                  <a:pt x="11354" y="3674"/>
                </a:lnTo>
                <a:lnTo>
                  <a:pt x="11389" y="3666"/>
                </a:lnTo>
                <a:lnTo>
                  <a:pt x="11432" y="3656"/>
                </a:lnTo>
                <a:lnTo>
                  <a:pt x="11532" y="3633"/>
                </a:lnTo>
                <a:lnTo>
                  <a:pt x="11642" y="3609"/>
                </a:lnTo>
                <a:lnTo>
                  <a:pt x="11697" y="3599"/>
                </a:lnTo>
                <a:lnTo>
                  <a:pt x="11750" y="3588"/>
                </a:lnTo>
                <a:lnTo>
                  <a:pt x="11799" y="3580"/>
                </a:lnTo>
                <a:lnTo>
                  <a:pt x="11843" y="3575"/>
                </a:lnTo>
                <a:lnTo>
                  <a:pt x="11862" y="3574"/>
                </a:lnTo>
                <a:lnTo>
                  <a:pt x="11879" y="3573"/>
                </a:lnTo>
                <a:lnTo>
                  <a:pt x="11894" y="3574"/>
                </a:lnTo>
                <a:lnTo>
                  <a:pt x="11908" y="3575"/>
                </a:lnTo>
                <a:lnTo>
                  <a:pt x="11919" y="3578"/>
                </a:lnTo>
                <a:lnTo>
                  <a:pt x="11926" y="3581"/>
                </a:lnTo>
                <a:lnTo>
                  <a:pt x="11931" y="3586"/>
                </a:lnTo>
                <a:lnTo>
                  <a:pt x="11933" y="3593"/>
                </a:lnTo>
                <a:lnTo>
                  <a:pt x="11966" y="3593"/>
                </a:lnTo>
                <a:lnTo>
                  <a:pt x="12020" y="3594"/>
                </a:lnTo>
                <a:lnTo>
                  <a:pt x="12088" y="3596"/>
                </a:lnTo>
                <a:lnTo>
                  <a:pt x="12160" y="3599"/>
                </a:lnTo>
                <a:lnTo>
                  <a:pt x="12196" y="3601"/>
                </a:lnTo>
                <a:lnTo>
                  <a:pt x="12229" y="3604"/>
                </a:lnTo>
                <a:lnTo>
                  <a:pt x="12261" y="3607"/>
                </a:lnTo>
                <a:lnTo>
                  <a:pt x="12289" y="3611"/>
                </a:lnTo>
                <a:lnTo>
                  <a:pt x="12301" y="3613"/>
                </a:lnTo>
                <a:lnTo>
                  <a:pt x="12312" y="3616"/>
                </a:lnTo>
                <a:lnTo>
                  <a:pt x="12322" y="3618"/>
                </a:lnTo>
                <a:lnTo>
                  <a:pt x="12330" y="3621"/>
                </a:lnTo>
                <a:lnTo>
                  <a:pt x="12337" y="3624"/>
                </a:lnTo>
                <a:lnTo>
                  <a:pt x="12341" y="3627"/>
                </a:lnTo>
                <a:lnTo>
                  <a:pt x="12344" y="3631"/>
                </a:lnTo>
                <a:lnTo>
                  <a:pt x="12345" y="3635"/>
                </a:lnTo>
                <a:lnTo>
                  <a:pt x="12357" y="3635"/>
                </a:lnTo>
                <a:lnTo>
                  <a:pt x="12369" y="3637"/>
                </a:lnTo>
                <a:lnTo>
                  <a:pt x="12383" y="3640"/>
                </a:lnTo>
                <a:lnTo>
                  <a:pt x="12398" y="3644"/>
                </a:lnTo>
                <a:lnTo>
                  <a:pt x="12431" y="3653"/>
                </a:lnTo>
                <a:lnTo>
                  <a:pt x="12463" y="3663"/>
                </a:lnTo>
                <a:lnTo>
                  <a:pt x="12480" y="3668"/>
                </a:lnTo>
                <a:lnTo>
                  <a:pt x="12495" y="3672"/>
                </a:lnTo>
                <a:lnTo>
                  <a:pt x="12510" y="3675"/>
                </a:lnTo>
                <a:lnTo>
                  <a:pt x="12525" y="3678"/>
                </a:lnTo>
                <a:lnTo>
                  <a:pt x="12539" y="3679"/>
                </a:lnTo>
                <a:lnTo>
                  <a:pt x="12551" y="3680"/>
                </a:lnTo>
                <a:lnTo>
                  <a:pt x="12556" y="3679"/>
                </a:lnTo>
                <a:lnTo>
                  <a:pt x="12561" y="3678"/>
                </a:lnTo>
                <a:lnTo>
                  <a:pt x="12566" y="3677"/>
                </a:lnTo>
                <a:lnTo>
                  <a:pt x="12570" y="3675"/>
                </a:lnTo>
                <a:lnTo>
                  <a:pt x="12577" y="3672"/>
                </a:lnTo>
                <a:lnTo>
                  <a:pt x="12585" y="3670"/>
                </a:lnTo>
                <a:lnTo>
                  <a:pt x="12594" y="3669"/>
                </a:lnTo>
                <a:lnTo>
                  <a:pt x="12605" y="3668"/>
                </a:lnTo>
                <a:lnTo>
                  <a:pt x="12616" y="3668"/>
                </a:lnTo>
                <a:lnTo>
                  <a:pt x="12628" y="3670"/>
                </a:lnTo>
                <a:lnTo>
                  <a:pt x="12641" y="3671"/>
                </a:lnTo>
                <a:lnTo>
                  <a:pt x="12654" y="3674"/>
                </a:lnTo>
                <a:lnTo>
                  <a:pt x="12684" y="3681"/>
                </a:lnTo>
                <a:lnTo>
                  <a:pt x="12713" y="3690"/>
                </a:lnTo>
                <a:lnTo>
                  <a:pt x="12744" y="3702"/>
                </a:lnTo>
                <a:lnTo>
                  <a:pt x="12774" y="3715"/>
                </a:lnTo>
                <a:lnTo>
                  <a:pt x="12805" y="3731"/>
                </a:lnTo>
                <a:lnTo>
                  <a:pt x="12833" y="3747"/>
                </a:lnTo>
                <a:lnTo>
                  <a:pt x="12846" y="3756"/>
                </a:lnTo>
                <a:lnTo>
                  <a:pt x="12858" y="3764"/>
                </a:lnTo>
                <a:lnTo>
                  <a:pt x="12870" y="3773"/>
                </a:lnTo>
                <a:lnTo>
                  <a:pt x="12881" y="3782"/>
                </a:lnTo>
                <a:lnTo>
                  <a:pt x="12891" y="3791"/>
                </a:lnTo>
                <a:lnTo>
                  <a:pt x="12900" y="3801"/>
                </a:lnTo>
                <a:lnTo>
                  <a:pt x="12908" y="3810"/>
                </a:lnTo>
                <a:lnTo>
                  <a:pt x="12914" y="3819"/>
                </a:lnTo>
                <a:lnTo>
                  <a:pt x="12921" y="3829"/>
                </a:lnTo>
                <a:lnTo>
                  <a:pt x="12924" y="3838"/>
                </a:lnTo>
                <a:lnTo>
                  <a:pt x="12927" y="3848"/>
                </a:lnTo>
                <a:lnTo>
                  <a:pt x="12928" y="3857"/>
                </a:lnTo>
                <a:lnTo>
                  <a:pt x="12901" y="3858"/>
                </a:lnTo>
                <a:lnTo>
                  <a:pt x="12874" y="3858"/>
                </a:lnTo>
                <a:lnTo>
                  <a:pt x="12846" y="3860"/>
                </a:lnTo>
                <a:lnTo>
                  <a:pt x="12818" y="3862"/>
                </a:lnTo>
                <a:lnTo>
                  <a:pt x="12757" y="3867"/>
                </a:lnTo>
                <a:lnTo>
                  <a:pt x="12694" y="3873"/>
                </a:lnTo>
                <a:lnTo>
                  <a:pt x="12629" y="3879"/>
                </a:lnTo>
                <a:lnTo>
                  <a:pt x="12563" y="3884"/>
                </a:lnTo>
                <a:lnTo>
                  <a:pt x="12529" y="3886"/>
                </a:lnTo>
                <a:lnTo>
                  <a:pt x="12496" y="3887"/>
                </a:lnTo>
                <a:lnTo>
                  <a:pt x="12463" y="3888"/>
                </a:lnTo>
                <a:lnTo>
                  <a:pt x="12430" y="3889"/>
                </a:lnTo>
                <a:lnTo>
                  <a:pt x="12431" y="3900"/>
                </a:lnTo>
                <a:lnTo>
                  <a:pt x="12433" y="3906"/>
                </a:lnTo>
                <a:lnTo>
                  <a:pt x="12435" y="3909"/>
                </a:lnTo>
                <a:lnTo>
                  <a:pt x="12437" y="3910"/>
                </a:lnTo>
                <a:lnTo>
                  <a:pt x="12438" y="3911"/>
                </a:lnTo>
                <a:lnTo>
                  <a:pt x="12438" y="3913"/>
                </a:lnTo>
                <a:lnTo>
                  <a:pt x="12435" y="3919"/>
                </a:lnTo>
                <a:lnTo>
                  <a:pt x="12430" y="3931"/>
                </a:lnTo>
                <a:lnTo>
                  <a:pt x="12436" y="3931"/>
                </a:lnTo>
                <a:lnTo>
                  <a:pt x="12442" y="3932"/>
                </a:lnTo>
                <a:lnTo>
                  <a:pt x="12448" y="3934"/>
                </a:lnTo>
                <a:lnTo>
                  <a:pt x="12455" y="3937"/>
                </a:lnTo>
                <a:lnTo>
                  <a:pt x="12468" y="3945"/>
                </a:lnTo>
                <a:lnTo>
                  <a:pt x="12482" y="3956"/>
                </a:lnTo>
                <a:lnTo>
                  <a:pt x="12496" y="3970"/>
                </a:lnTo>
                <a:lnTo>
                  <a:pt x="12509" y="3984"/>
                </a:lnTo>
                <a:lnTo>
                  <a:pt x="12523" y="4000"/>
                </a:lnTo>
                <a:lnTo>
                  <a:pt x="12536" y="4017"/>
                </a:lnTo>
                <a:lnTo>
                  <a:pt x="12548" y="4034"/>
                </a:lnTo>
                <a:lnTo>
                  <a:pt x="12559" y="4052"/>
                </a:lnTo>
                <a:lnTo>
                  <a:pt x="12569" y="4069"/>
                </a:lnTo>
                <a:lnTo>
                  <a:pt x="12577" y="4086"/>
                </a:lnTo>
                <a:lnTo>
                  <a:pt x="12583" y="4104"/>
                </a:lnTo>
                <a:lnTo>
                  <a:pt x="12587" y="4118"/>
                </a:lnTo>
                <a:lnTo>
                  <a:pt x="12589" y="4125"/>
                </a:lnTo>
                <a:lnTo>
                  <a:pt x="12589" y="4132"/>
                </a:lnTo>
                <a:lnTo>
                  <a:pt x="12589" y="4138"/>
                </a:lnTo>
                <a:lnTo>
                  <a:pt x="12589" y="4143"/>
                </a:lnTo>
                <a:lnTo>
                  <a:pt x="12604" y="4142"/>
                </a:lnTo>
                <a:lnTo>
                  <a:pt x="12619" y="4141"/>
                </a:lnTo>
                <a:lnTo>
                  <a:pt x="12632" y="4138"/>
                </a:lnTo>
                <a:lnTo>
                  <a:pt x="12644" y="4134"/>
                </a:lnTo>
                <a:lnTo>
                  <a:pt x="12656" y="4129"/>
                </a:lnTo>
                <a:lnTo>
                  <a:pt x="12668" y="4124"/>
                </a:lnTo>
                <a:lnTo>
                  <a:pt x="12679" y="4118"/>
                </a:lnTo>
                <a:lnTo>
                  <a:pt x="12689" y="4112"/>
                </a:lnTo>
                <a:lnTo>
                  <a:pt x="12708" y="4100"/>
                </a:lnTo>
                <a:lnTo>
                  <a:pt x="12727" y="4089"/>
                </a:lnTo>
                <a:lnTo>
                  <a:pt x="12737" y="4085"/>
                </a:lnTo>
                <a:lnTo>
                  <a:pt x="12747" y="4081"/>
                </a:lnTo>
                <a:lnTo>
                  <a:pt x="12757" y="4079"/>
                </a:lnTo>
                <a:lnTo>
                  <a:pt x="12768" y="4079"/>
                </a:lnTo>
                <a:lnTo>
                  <a:pt x="12769" y="4092"/>
                </a:lnTo>
                <a:lnTo>
                  <a:pt x="12772" y="4104"/>
                </a:lnTo>
                <a:lnTo>
                  <a:pt x="12776" y="4114"/>
                </a:lnTo>
                <a:lnTo>
                  <a:pt x="12781" y="4122"/>
                </a:lnTo>
                <a:lnTo>
                  <a:pt x="12788" y="4129"/>
                </a:lnTo>
                <a:lnTo>
                  <a:pt x="12797" y="4134"/>
                </a:lnTo>
                <a:lnTo>
                  <a:pt x="12805" y="4137"/>
                </a:lnTo>
                <a:lnTo>
                  <a:pt x="12813" y="4138"/>
                </a:lnTo>
                <a:lnTo>
                  <a:pt x="12822" y="4138"/>
                </a:lnTo>
                <a:lnTo>
                  <a:pt x="12831" y="4136"/>
                </a:lnTo>
                <a:lnTo>
                  <a:pt x="12840" y="4132"/>
                </a:lnTo>
                <a:lnTo>
                  <a:pt x="12849" y="4125"/>
                </a:lnTo>
                <a:lnTo>
                  <a:pt x="12856" y="4117"/>
                </a:lnTo>
                <a:lnTo>
                  <a:pt x="12863" y="4107"/>
                </a:lnTo>
                <a:lnTo>
                  <a:pt x="12869" y="4093"/>
                </a:lnTo>
                <a:lnTo>
                  <a:pt x="12874" y="4079"/>
                </a:lnTo>
                <a:lnTo>
                  <a:pt x="12868" y="4078"/>
                </a:lnTo>
                <a:lnTo>
                  <a:pt x="12863" y="4078"/>
                </a:lnTo>
                <a:lnTo>
                  <a:pt x="12858" y="4076"/>
                </a:lnTo>
                <a:lnTo>
                  <a:pt x="12854" y="4075"/>
                </a:lnTo>
                <a:lnTo>
                  <a:pt x="12850" y="4073"/>
                </a:lnTo>
                <a:lnTo>
                  <a:pt x="12847" y="4070"/>
                </a:lnTo>
                <a:lnTo>
                  <a:pt x="12844" y="4067"/>
                </a:lnTo>
                <a:lnTo>
                  <a:pt x="12842" y="4064"/>
                </a:lnTo>
                <a:lnTo>
                  <a:pt x="12838" y="4057"/>
                </a:lnTo>
                <a:lnTo>
                  <a:pt x="12836" y="4049"/>
                </a:lnTo>
                <a:lnTo>
                  <a:pt x="12835" y="4040"/>
                </a:lnTo>
                <a:lnTo>
                  <a:pt x="12835" y="4032"/>
                </a:lnTo>
                <a:lnTo>
                  <a:pt x="12836" y="4023"/>
                </a:lnTo>
                <a:lnTo>
                  <a:pt x="12837" y="4014"/>
                </a:lnTo>
                <a:lnTo>
                  <a:pt x="12839" y="4006"/>
                </a:lnTo>
                <a:lnTo>
                  <a:pt x="12842" y="3999"/>
                </a:lnTo>
                <a:lnTo>
                  <a:pt x="12845" y="3993"/>
                </a:lnTo>
                <a:lnTo>
                  <a:pt x="12848" y="3988"/>
                </a:lnTo>
                <a:lnTo>
                  <a:pt x="12850" y="3985"/>
                </a:lnTo>
                <a:lnTo>
                  <a:pt x="12853" y="3984"/>
                </a:lnTo>
                <a:lnTo>
                  <a:pt x="12857" y="3978"/>
                </a:lnTo>
                <a:lnTo>
                  <a:pt x="12861" y="3972"/>
                </a:lnTo>
                <a:lnTo>
                  <a:pt x="12866" y="3965"/>
                </a:lnTo>
                <a:lnTo>
                  <a:pt x="12871" y="3961"/>
                </a:lnTo>
                <a:lnTo>
                  <a:pt x="12876" y="3957"/>
                </a:lnTo>
                <a:lnTo>
                  <a:pt x="12881" y="3954"/>
                </a:lnTo>
                <a:lnTo>
                  <a:pt x="12886" y="3951"/>
                </a:lnTo>
                <a:lnTo>
                  <a:pt x="12892" y="3949"/>
                </a:lnTo>
                <a:lnTo>
                  <a:pt x="12903" y="3946"/>
                </a:lnTo>
                <a:lnTo>
                  <a:pt x="12916" y="3944"/>
                </a:lnTo>
                <a:lnTo>
                  <a:pt x="12928" y="3943"/>
                </a:lnTo>
                <a:lnTo>
                  <a:pt x="12940" y="3942"/>
                </a:lnTo>
                <a:lnTo>
                  <a:pt x="12952" y="3942"/>
                </a:lnTo>
                <a:lnTo>
                  <a:pt x="12964" y="3940"/>
                </a:lnTo>
                <a:lnTo>
                  <a:pt x="12975" y="3938"/>
                </a:lnTo>
                <a:lnTo>
                  <a:pt x="12986" y="3934"/>
                </a:lnTo>
                <a:lnTo>
                  <a:pt x="12992" y="3931"/>
                </a:lnTo>
                <a:lnTo>
                  <a:pt x="12997" y="3928"/>
                </a:lnTo>
                <a:lnTo>
                  <a:pt x="13002" y="3924"/>
                </a:lnTo>
                <a:lnTo>
                  <a:pt x="13007" y="3919"/>
                </a:lnTo>
                <a:lnTo>
                  <a:pt x="13012" y="3914"/>
                </a:lnTo>
                <a:lnTo>
                  <a:pt x="13016" y="3908"/>
                </a:lnTo>
                <a:lnTo>
                  <a:pt x="13020" y="3901"/>
                </a:lnTo>
                <a:lnTo>
                  <a:pt x="13024" y="3894"/>
                </a:lnTo>
                <a:lnTo>
                  <a:pt x="13103" y="3988"/>
                </a:lnTo>
                <a:lnTo>
                  <a:pt x="13179" y="4083"/>
                </a:lnTo>
                <a:lnTo>
                  <a:pt x="13253" y="4181"/>
                </a:lnTo>
                <a:lnTo>
                  <a:pt x="13326" y="4280"/>
                </a:lnTo>
                <a:lnTo>
                  <a:pt x="13396" y="4380"/>
                </a:lnTo>
                <a:lnTo>
                  <a:pt x="13465" y="4482"/>
                </a:lnTo>
                <a:lnTo>
                  <a:pt x="13532" y="4584"/>
                </a:lnTo>
                <a:lnTo>
                  <a:pt x="13598" y="4688"/>
                </a:lnTo>
                <a:lnTo>
                  <a:pt x="13660" y="4794"/>
                </a:lnTo>
                <a:lnTo>
                  <a:pt x="13722" y="4901"/>
                </a:lnTo>
                <a:lnTo>
                  <a:pt x="13781" y="5009"/>
                </a:lnTo>
                <a:lnTo>
                  <a:pt x="13839" y="5118"/>
                </a:lnTo>
                <a:lnTo>
                  <a:pt x="13893" y="5227"/>
                </a:lnTo>
                <a:lnTo>
                  <a:pt x="13947" y="5339"/>
                </a:lnTo>
                <a:lnTo>
                  <a:pt x="13998" y="5452"/>
                </a:lnTo>
                <a:lnTo>
                  <a:pt x="14046" y="5566"/>
                </a:lnTo>
                <a:lnTo>
                  <a:pt x="14094" y="5681"/>
                </a:lnTo>
                <a:lnTo>
                  <a:pt x="14138" y="5797"/>
                </a:lnTo>
                <a:lnTo>
                  <a:pt x="14181" y="5914"/>
                </a:lnTo>
                <a:lnTo>
                  <a:pt x="14221" y="6033"/>
                </a:lnTo>
                <a:lnTo>
                  <a:pt x="14259" y="6152"/>
                </a:lnTo>
                <a:lnTo>
                  <a:pt x="14295" y="6272"/>
                </a:lnTo>
                <a:lnTo>
                  <a:pt x="14329" y="6393"/>
                </a:lnTo>
                <a:lnTo>
                  <a:pt x="14360" y="6515"/>
                </a:lnTo>
                <a:lnTo>
                  <a:pt x="14389" y="6638"/>
                </a:lnTo>
                <a:lnTo>
                  <a:pt x="14415" y="6762"/>
                </a:lnTo>
                <a:lnTo>
                  <a:pt x="14440" y="6886"/>
                </a:lnTo>
                <a:lnTo>
                  <a:pt x="14462" y="7012"/>
                </a:lnTo>
                <a:lnTo>
                  <a:pt x="14481" y="7138"/>
                </a:lnTo>
                <a:lnTo>
                  <a:pt x="14498" y="7265"/>
                </a:lnTo>
                <a:lnTo>
                  <a:pt x="14512" y="7393"/>
                </a:lnTo>
                <a:lnTo>
                  <a:pt x="14524" y="7522"/>
                </a:lnTo>
                <a:close/>
                <a:moveTo>
                  <a:pt x="3650" y="3319"/>
                </a:moveTo>
                <a:lnTo>
                  <a:pt x="3656" y="3318"/>
                </a:lnTo>
                <a:lnTo>
                  <a:pt x="3663" y="3316"/>
                </a:lnTo>
                <a:lnTo>
                  <a:pt x="3671" y="3313"/>
                </a:lnTo>
                <a:lnTo>
                  <a:pt x="3679" y="3309"/>
                </a:lnTo>
                <a:lnTo>
                  <a:pt x="3697" y="3301"/>
                </a:lnTo>
                <a:lnTo>
                  <a:pt x="3715" y="3292"/>
                </a:lnTo>
                <a:lnTo>
                  <a:pt x="3749" y="3274"/>
                </a:lnTo>
                <a:lnTo>
                  <a:pt x="3769" y="3264"/>
                </a:lnTo>
                <a:lnTo>
                  <a:pt x="3767" y="3304"/>
                </a:lnTo>
                <a:lnTo>
                  <a:pt x="3765" y="3333"/>
                </a:lnTo>
                <a:lnTo>
                  <a:pt x="3765" y="3349"/>
                </a:lnTo>
                <a:lnTo>
                  <a:pt x="3767" y="3366"/>
                </a:lnTo>
                <a:lnTo>
                  <a:pt x="3772" y="3386"/>
                </a:lnTo>
                <a:lnTo>
                  <a:pt x="3780" y="3412"/>
                </a:lnTo>
                <a:lnTo>
                  <a:pt x="3783" y="3413"/>
                </a:lnTo>
                <a:lnTo>
                  <a:pt x="3787" y="3417"/>
                </a:lnTo>
                <a:lnTo>
                  <a:pt x="3791" y="3422"/>
                </a:lnTo>
                <a:lnTo>
                  <a:pt x="3797" y="3429"/>
                </a:lnTo>
                <a:lnTo>
                  <a:pt x="3809" y="3447"/>
                </a:lnTo>
                <a:lnTo>
                  <a:pt x="3822" y="3470"/>
                </a:lnTo>
                <a:lnTo>
                  <a:pt x="3834" y="3494"/>
                </a:lnTo>
                <a:lnTo>
                  <a:pt x="3845" y="3518"/>
                </a:lnTo>
                <a:lnTo>
                  <a:pt x="3849" y="3530"/>
                </a:lnTo>
                <a:lnTo>
                  <a:pt x="3852" y="3541"/>
                </a:lnTo>
                <a:lnTo>
                  <a:pt x="3854" y="3551"/>
                </a:lnTo>
                <a:lnTo>
                  <a:pt x="3854" y="3560"/>
                </a:lnTo>
                <a:lnTo>
                  <a:pt x="3877" y="3557"/>
                </a:lnTo>
                <a:lnTo>
                  <a:pt x="3900" y="3553"/>
                </a:lnTo>
                <a:lnTo>
                  <a:pt x="3924" y="3549"/>
                </a:lnTo>
                <a:lnTo>
                  <a:pt x="3948" y="3547"/>
                </a:lnTo>
                <a:lnTo>
                  <a:pt x="3959" y="3547"/>
                </a:lnTo>
                <a:lnTo>
                  <a:pt x="3970" y="3549"/>
                </a:lnTo>
                <a:lnTo>
                  <a:pt x="3980" y="3551"/>
                </a:lnTo>
                <a:lnTo>
                  <a:pt x="3988" y="3556"/>
                </a:lnTo>
                <a:lnTo>
                  <a:pt x="3993" y="3558"/>
                </a:lnTo>
                <a:lnTo>
                  <a:pt x="3996" y="3561"/>
                </a:lnTo>
                <a:lnTo>
                  <a:pt x="4000" y="3565"/>
                </a:lnTo>
                <a:lnTo>
                  <a:pt x="4003" y="3569"/>
                </a:lnTo>
                <a:lnTo>
                  <a:pt x="4006" y="3574"/>
                </a:lnTo>
                <a:lnTo>
                  <a:pt x="4009" y="3579"/>
                </a:lnTo>
                <a:lnTo>
                  <a:pt x="4011" y="3585"/>
                </a:lnTo>
                <a:lnTo>
                  <a:pt x="4013" y="3593"/>
                </a:lnTo>
                <a:lnTo>
                  <a:pt x="3992" y="3592"/>
                </a:lnTo>
                <a:lnTo>
                  <a:pt x="3971" y="3589"/>
                </a:lnTo>
                <a:lnTo>
                  <a:pt x="3949" y="3586"/>
                </a:lnTo>
                <a:lnTo>
                  <a:pt x="3928" y="3581"/>
                </a:lnTo>
                <a:lnTo>
                  <a:pt x="3930" y="3596"/>
                </a:lnTo>
                <a:lnTo>
                  <a:pt x="3930" y="3610"/>
                </a:lnTo>
                <a:lnTo>
                  <a:pt x="3931" y="3621"/>
                </a:lnTo>
                <a:lnTo>
                  <a:pt x="3931" y="3631"/>
                </a:lnTo>
                <a:lnTo>
                  <a:pt x="3930" y="3640"/>
                </a:lnTo>
                <a:lnTo>
                  <a:pt x="3928" y="3648"/>
                </a:lnTo>
                <a:lnTo>
                  <a:pt x="3927" y="3655"/>
                </a:lnTo>
                <a:lnTo>
                  <a:pt x="3924" y="3661"/>
                </a:lnTo>
                <a:lnTo>
                  <a:pt x="3921" y="3665"/>
                </a:lnTo>
                <a:lnTo>
                  <a:pt x="3918" y="3669"/>
                </a:lnTo>
                <a:lnTo>
                  <a:pt x="3914" y="3672"/>
                </a:lnTo>
                <a:lnTo>
                  <a:pt x="3910" y="3674"/>
                </a:lnTo>
                <a:lnTo>
                  <a:pt x="3906" y="3675"/>
                </a:lnTo>
                <a:lnTo>
                  <a:pt x="3901" y="3675"/>
                </a:lnTo>
                <a:lnTo>
                  <a:pt x="3896" y="3675"/>
                </a:lnTo>
                <a:lnTo>
                  <a:pt x="3891" y="3675"/>
                </a:lnTo>
                <a:lnTo>
                  <a:pt x="3879" y="3672"/>
                </a:lnTo>
                <a:lnTo>
                  <a:pt x="3866" y="3668"/>
                </a:lnTo>
                <a:lnTo>
                  <a:pt x="3853" y="3663"/>
                </a:lnTo>
                <a:lnTo>
                  <a:pt x="3838" y="3658"/>
                </a:lnTo>
                <a:lnTo>
                  <a:pt x="3824" y="3653"/>
                </a:lnTo>
                <a:lnTo>
                  <a:pt x="3809" y="3649"/>
                </a:lnTo>
                <a:lnTo>
                  <a:pt x="3794" y="3646"/>
                </a:lnTo>
                <a:lnTo>
                  <a:pt x="3780" y="3645"/>
                </a:lnTo>
                <a:lnTo>
                  <a:pt x="3777" y="3642"/>
                </a:lnTo>
                <a:lnTo>
                  <a:pt x="3770" y="3638"/>
                </a:lnTo>
                <a:lnTo>
                  <a:pt x="3759" y="3633"/>
                </a:lnTo>
                <a:lnTo>
                  <a:pt x="3745" y="3627"/>
                </a:lnTo>
                <a:lnTo>
                  <a:pt x="3729" y="3621"/>
                </a:lnTo>
                <a:lnTo>
                  <a:pt x="3711" y="3616"/>
                </a:lnTo>
                <a:lnTo>
                  <a:pt x="3693" y="3612"/>
                </a:lnTo>
                <a:lnTo>
                  <a:pt x="3676" y="3609"/>
                </a:lnTo>
                <a:lnTo>
                  <a:pt x="3667" y="3609"/>
                </a:lnTo>
                <a:lnTo>
                  <a:pt x="3659" y="3608"/>
                </a:lnTo>
                <a:lnTo>
                  <a:pt x="3651" y="3609"/>
                </a:lnTo>
                <a:lnTo>
                  <a:pt x="3644" y="3610"/>
                </a:lnTo>
                <a:lnTo>
                  <a:pt x="3638" y="3612"/>
                </a:lnTo>
                <a:lnTo>
                  <a:pt x="3633" y="3615"/>
                </a:lnTo>
                <a:lnTo>
                  <a:pt x="3628" y="3618"/>
                </a:lnTo>
                <a:lnTo>
                  <a:pt x="3624" y="3623"/>
                </a:lnTo>
                <a:lnTo>
                  <a:pt x="3622" y="3628"/>
                </a:lnTo>
                <a:lnTo>
                  <a:pt x="3620" y="3634"/>
                </a:lnTo>
                <a:lnTo>
                  <a:pt x="3620" y="3642"/>
                </a:lnTo>
                <a:lnTo>
                  <a:pt x="3621" y="3651"/>
                </a:lnTo>
                <a:lnTo>
                  <a:pt x="3624" y="3660"/>
                </a:lnTo>
                <a:lnTo>
                  <a:pt x="3628" y="3672"/>
                </a:lnTo>
                <a:lnTo>
                  <a:pt x="3634" y="3684"/>
                </a:lnTo>
                <a:lnTo>
                  <a:pt x="3642" y="3698"/>
                </a:lnTo>
                <a:lnTo>
                  <a:pt x="3646" y="3698"/>
                </a:lnTo>
                <a:lnTo>
                  <a:pt x="3650" y="3700"/>
                </a:lnTo>
                <a:lnTo>
                  <a:pt x="3653" y="3702"/>
                </a:lnTo>
                <a:lnTo>
                  <a:pt x="3656" y="3704"/>
                </a:lnTo>
                <a:lnTo>
                  <a:pt x="3660" y="3711"/>
                </a:lnTo>
                <a:lnTo>
                  <a:pt x="3666" y="3721"/>
                </a:lnTo>
                <a:lnTo>
                  <a:pt x="3670" y="3726"/>
                </a:lnTo>
                <a:lnTo>
                  <a:pt x="3674" y="3731"/>
                </a:lnTo>
                <a:lnTo>
                  <a:pt x="3679" y="3736"/>
                </a:lnTo>
                <a:lnTo>
                  <a:pt x="3685" y="3741"/>
                </a:lnTo>
                <a:lnTo>
                  <a:pt x="3692" y="3746"/>
                </a:lnTo>
                <a:lnTo>
                  <a:pt x="3701" y="3751"/>
                </a:lnTo>
                <a:lnTo>
                  <a:pt x="3712" y="3756"/>
                </a:lnTo>
                <a:lnTo>
                  <a:pt x="3725" y="3760"/>
                </a:lnTo>
                <a:lnTo>
                  <a:pt x="3755" y="3770"/>
                </a:lnTo>
                <a:lnTo>
                  <a:pt x="3787" y="3779"/>
                </a:lnTo>
                <a:lnTo>
                  <a:pt x="3818" y="3786"/>
                </a:lnTo>
                <a:lnTo>
                  <a:pt x="3852" y="3793"/>
                </a:lnTo>
                <a:lnTo>
                  <a:pt x="3884" y="3800"/>
                </a:lnTo>
                <a:lnTo>
                  <a:pt x="3916" y="3806"/>
                </a:lnTo>
                <a:lnTo>
                  <a:pt x="3948" y="3811"/>
                </a:lnTo>
                <a:lnTo>
                  <a:pt x="3981" y="3816"/>
                </a:lnTo>
                <a:lnTo>
                  <a:pt x="3994" y="3818"/>
                </a:lnTo>
                <a:lnTo>
                  <a:pt x="4006" y="3819"/>
                </a:lnTo>
                <a:lnTo>
                  <a:pt x="4017" y="3819"/>
                </a:lnTo>
                <a:lnTo>
                  <a:pt x="4028" y="3819"/>
                </a:lnTo>
                <a:lnTo>
                  <a:pt x="4049" y="3817"/>
                </a:lnTo>
                <a:lnTo>
                  <a:pt x="4069" y="3814"/>
                </a:lnTo>
                <a:lnTo>
                  <a:pt x="4088" y="3811"/>
                </a:lnTo>
                <a:lnTo>
                  <a:pt x="4109" y="3807"/>
                </a:lnTo>
                <a:lnTo>
                  <a:pt x="4129" y="3805"/>
                </a:lnTo>
                <a:lnTo>
                  <a:pt x="4150" y="3804"/>
                </a:lnTo>
                <a:lnTo>
                  <a:pt x="4152" y="3801"/>
                </a:lnTo>
                <a:lnTo>
                  <a:pt x="4156" y="3798"/>
                </a:lnTo>
                <a:lnTo>
                  <a:pt x="4163" y="3794"/>
                </a:lnTo>
                <a:lnTo>
                  <a:pt x="4171" y="3788"/>
                </a:lnTo>
                <a:lnTo>
                  <a:pt x="4190" y="3777"/>
                </a:lnTo>
                <a:lnTo>
                  <a:pt x="4210" y="3764"/>
                </a:lnTo>
                <a:lnTo>
                  <a:pt x="4218" y="3757"/>
                </a:lnTo>
                <a:lnTo>
                  <a:pt x="4225" y="3751"/>
                </a:lnTo>
                <a:lnTo>
                  <a:pt x="4227" y="3748"/>
                </a:lnTo>
                <a:lnTo>
                  <a:pt x="4229" y="3746"/>
                </a:lnTo>
                <a:lnTo>
                  <a:pt x="4230" y="3743"/>
                </a:lnTo>
                <a:lnTo>
                  <a:pt x="4230" y="3741"/>
                </a:lnTo>
                <a:lnTo>
                  <a:pt x="4229" y="3738"/>
                </a:lnTo>
                <a:lnTo>
                  <a:pt x="4227" y="3736"/>
                </a:lnTo>
                <a:lnTo>
                  <a:pt x="4225" y="3735"/>
                </a:lnTo>
                <a:lnTo>
                  <a:pt x="4220" y="3733"/>
                </a:lnTo>
                <a:lnTo>
                  <a:pt x="4209" y="3731"/>
                </a:lnTo>
                <a:lnTo>
                  <a:pt x="4193" y="3730"/>
                </a:lnTo>
                <a:lnTo>
                  <a:pt x="4195" y="3720"/>
                </a:lnTo>
                <a:lnTo>
                  <a:pt x="4196" y="3710"/>
                </a:lnTo>
                <a:lnTo>
                  <a:pt x="4196" y="3701"/>
                </a:lnTo>
                <a:lnTo>
                  <a:pt x="4196" y="3694"/>
                </a:lnTo>
                <a:lnTo>
                  <a:pt x="4194" y="3687"/>
                </a:lnTo>
                <a:lnTo>
                  <a:pt x="4192" y="3681"/>
                </a:lnTo>
                <a:lnTo>
                  <a:pt x="4188" y="3676"/>
                </a:lnTo>
                <a:lnTo>
                  <a:pt x="4184" y="3671"/>
                </a:lnTo>
                <a:lnTo>
                  <a:pt x="4179" y="3668"/>
                </a:lnTo>
                <a:lnTo>
                  <a:pt x="4173" y="3664"/>
                </a:lnTo>
                <a:lnTo>
                  <a:pt x="4166" y="3662"/>
                </a:lnTo>
                <a:lnTo>
                  <a:pt x="4158" y="3660"/>
                </a:lnTo>
                <a:lnTo>
                  <a:pt x="4140" y="3657"/>
                </a:lnTo>
                <a:lnTo>
                  <a:pt x="4119" y="3656"/>
                </a:lnTo>
                <a:lnTo>
                  <a:pt x="4120" y="3651"/>
                </a:lnTo>
                <a:lnTo>
                  <a:pt x="4121" y="3646"/>
                </a:lnTo>
                <a:lnTo>
                  <a:pt x="4124" y="3641"/>
                </a:lnTo>
                <a:lnTo>
                  <a:pt x="4127" y="3637"/>
                </a:lnTo>
                <a:lnTo>
                  <a:pt x="4131" y="3634"/>
                </a:lnTo>
                <a:lnTo>
                  <a:pt x="4135" y="3631"/>
                </a:lnTo>
                <a:lnTo>
                  <a:pt x="4140" y="3629"/>
                </a:lnTo>
                <a:lnTo>
                  <a:pt x="4146" y="3627"/>
                </a:lnTo>
                <a:lnTo>
                  <a:pt x="4158" y="3624"/>
                </a:lnTo>
                <a:lnTo>
                  <a:pt x="4172" y="3622"/>
                </a:lnTo>
                <a:lnTo>
                  <a:pt x="4187" y="3622"/>
                </a:lnTo>
                <a:lnTo>
                  <a:pt x="4204" y="3622"/>
                </a:lnTo>
                <a:lnTo>
                  <a:pt x="4239" y="3625"/>
                </a:lnTo>
                <a:lnTo>
                  <a:pt x="4273" y="3629"/>
                </a:lnTo>
                <a:lnTo>
                  <a:pt x="4304" y="3633"/>
                </a:lnTo>
                <a:lnTo>
                  <a:pt x="4330" y="3635"/>
                </a:lnTo>
                <a:lnTo>
                  <a:pt x="4337" y="3621"/>
                </a:lnTo>
                <a:lnTo>
                  <a:pt x="4343" y="3610"/>
                </a:lnTo>
                <a:lnTo>
                  <a:pt x="4348" y="3600"/>
                </a:lnTo>
                <a:lnTo>
                  <a:pt x="4351" y="3590"/>
                </a:lnTo>
                <a:lnTo>
                  <a:pt x="4352" y="3582"/>
                </a:lnTo>
                <a:lnTo>
                  <a:pt x="4353" y="3575"/>
                </a:lnTo>
                <a:lnTo>
                  <a:pt x="4354" y="3569"/>
                </a:lnTo>
                <a:lnTo>
                  <a:pt x="4354" y="3562"/>
                </a:lnTo>
                <a:lnTo>
                  <a:pt x="4354" y="3550"/>
                </a:lnTo>
                <a:lnTo>
                  <a:pt x="4355" y="3536"/>
                </a:lnTo>
                <a:lnTo>
                  <a:pt x="4358" y="3528"/>
                </a:lnTo>
                <a:lnTo>
                  <a:pt x="4361" y="3519"/>
                </a:lnTo>
                <a:lnTo>
                  <a:pt x="4366" y="3508"/>
                </a:lnTo>
                <a:lnTo>
                  <a:pt x="4372" y="3496"/>
                </a:lnTo>
                <a:lnTo>
                  <a:pt x="4377" y="3489"/>
                </a:lnTo>
                <a:lnTo>
                  <a:pt x="4381" y="3482"/>
                </a:lnTo>
                <a:lnTo>
                  <a:pt x="4386" y="3476"/>
                </a:lnTo>
                <a:lnTo>
                  <a:pt x="4391" y="3471"/>
                </a:lnTo>
                <a:lnTo>
                  <a:pt x="4400" y="3462"/>
                </a:lnTo>
                <a:lnTo>
                  <a:pt x="4410" y="3456"/>
                </a:lnTo>
                <a:lnTo>
                  <a:pt x="4419" y="3452"/>
                </a:lnTo>
                <a:lnTo>
                  <a:pt x="4428" y="3450"/>
                </a:lnTo>
                <a:lnTo>
                  <a:pt x="4438" y="3448"/>
                </a:lnTo>
                <a:lnTo>
                  <a:pt x="4447" y="3447"/>
                </a:lnTo>
                <a:lnTo>
                  <a:pt x="4456" y="3446"/>
                </a:lnTo>
                <a:lnTo>
                  <a:pt x="4465" y="3445"/>
                </a:lnTo>
                <a:lnTo>
                  <a:pt x="4474" y="3443"/>
                </a:lnTo>
                <a:lnTo>
                  <a:pt x="4482" y="3439"/>
                </a:lnTo>
                <a:lnTo>
                  <a:pt x="4490" y="3434"/>
                </a:lnTo>
                <a:lnTo>
                  <a:pt x="4497" y="3426"/>
                </a:lnTo>
                <a:lnTo>
                  <a:pt x="4504" y="3416"/>
                </a:lnTo>
                <a:lnTo>
                  <a:pt x="4510" y="3402"/>
                </a:lnTo>
                <a:lnTo>
                  <a:pt x="4528" y="3409"/>
                </a:lnTo>
                <a:lnTo>
                  <a:pt x="4544" y="3418"/>
                </a:lnTo>
                <a:lnTo>
                  <a:pt x="4553" y="3422"/>
                </a:lnTo>
                <a:lnTo>
                  <a:pt x="4560" y="3427"/>
                </a:lnTo>
                <a:lnTo>
                  <a:pt x="4568" y="3433"/>
                </a:lnTo>
                <a:lnTo>
                  <a:pt x="4575" y="3438"/>
                </a:lnTo>
                <a:lnTo>
                  <a:pt x="4582" y="3445"/>
                </a:lnTo>
                <a:lnTo>
                  <a:pt x="4588" y="3452"/>
                </a:lnTo>
                <a:lnTo>
                  <a:pt x="4594" y="3459"/>
                </a:lnTo>
                <a:lnTo>
                  <a:pt x="4600" y="3468"/>
                </a:lnTo>
                <a:lnTo>
                  <a:pt x="4605" y="3477"/>
                </a:lnTo>
                <a:lnTo>
                  <a:pt x="4609" y="3486"/>
                </a:lnTo>
                <a:lnTo>
                  <a:pt x="4613" y="3497"/>
                </a:lnTo>
                <a:lnTo>
                  <a:pt x="4616" y="3508"/>
                </a:lnTo>
                <a:lnTo>
                  <a:pt x="4625" y="3516"/>
                </a:lnTo>
                <a:lnTo>
                  <a:pt x="4637" y="3530"/>
                </a:lnTo>
                <a:lnTo>
                  <a:pt x="4652" y="3547"/>
                </a:lnTo>
                <a:lnTo>
                  <a:pt x="4668" y="3567"/>
                </a:lnTo>
                <a:lnTo>
                  <a:pt x="4687" y="3589"/>
                </a:lnTo>
                <a:lnTo>
                  <a:pt x="4706" y="3612"/>
                </a:lnTo>
                <a:lnTo>
                  <a:pt x="4727" y="3634"/>
                </a:lnTo>
                <a:lnTo>
                  <a:pt x="4747" y="3654"/>
                </a:lnTo>
                <a:lnTo>
                  <a:pt x="4757" y="3663"/>
                </a:lnTo>
                <a:lnTo>
                  <a:pt x="4766" y="3671"/>
                </a:lnTo>
                <a:lnTo>
                  <a:pt x="4776" y="3678"/>
                </a:lnTo>
                <a:lnTo>
                  <a:pt x="4785" y="3685"/>
                </a:lnTo>
                <a:lnTo>
                  <a:pt x="4794" y="3690"/>
                </a:lnTo>
                <a:lnTo>
                  <a:pt x="4802" y="3693"/>
                </a:lnTo>
                <a:lnTo>
                  <a:pt x="4810" y="3695"/>
                </a:lnTo>
                <a:lnTo>
                  <a:pt x="4817" y="3696"/>
                </a:lnTo>
                <a:lnTo>
                  <a:pt x="4824" y="3694"/>
                </a:lnTo>
                <a:lnTo>
                  <a:pt x="4830" y="3691"/>
                </a:lnTo>
                <a:lnTo>
                  <a:pt x="4835" y="3686"/>
                </a:lnTo>
                <a:lnTo>
                  <a:pt x="4840" y="3678"/>
                </a:lnTo>
                <a:lnTo>
                  <a:pt x="4843" y="3669"/>
                </a:lnTo>
                <a:lnTo>
                  <a:pt x="4846" y="3656"/>
                </a:lnTo>
                <a:lnTo>
                  <a:pt x="4848" y="3642"/>
                </a:lnTo>
                <a:lnTo>
                  <a:pt x="4848" y="3624"/>
                </a:lnTo>
                <a:lnTo>
                  <a:pt x="4856" y="3627"/>
                </a:lnTo>
                <a:lnTo>
                  <a:pt x="4862" y="3630"/>
                </a:lnTo>
                <a:lnTo>
                  <a:pt x="4868" y="3633"/>
                </a:lnTo>
                <a:lnTo>
                  <a:pt x="4873" y="3637"/>
                </a:lnTo>
                <a:lnTo>
                  <a:pt x="4884" y="3647"/>
                </a:lnTo>
                <a:lnTo>
                  <a:pt x="4895" y="3659"/>
                </a:lnTo>
                <a:lnTo>
                  <a:pt x="4904" y="3672"/>
                </a:lnTo>
                <a:lnTo>
                  <a:pt x="4912" y="3686"/>
                </a:lnTo>
                <a:lnTo>
                  <a:pt x="4920" y="3702"/>
                </a:lnTo>
                <a:lnTo>
                  <a:pt x="4927" y="3719"/>
                </a:lnTo>
                <a:lnTo>
                  <a:pt x="4933" y="3735"/>
                </a:lnTo>
                <a:lnTo>
                  <a:pt x="4939" y="3752"/>
                </a:lnTo>
                <a:lnTo>
                  <a:pt x="4943" y="3769"/>
                </a:lnTo>
                <a:lnTo>
                  <a:pt x="4947" y="3786"/>
                </a:lnTo>
                <a:lnTo>
                  <a:pt x="4950" y="3802"/>
                </a:lnTo>
                <a:lnTo>
                  <a:pt x="4952" y="3818"/>
                </a:lnTo>
                <a:lnTo>
                  <a:pt x="4953" y="3833"/>
                </a:lnTo>
                <a:lnTo>
                  <a:pt x="4954" y="3847"/>
                </a:lnTo>
                <a:lnTo>
                  <a:pt x="4966" y="3845"/>
                </a:lnTo>
                <a:lnTo>
                  <a:pt x="4976" y="3842"/>
                </a:lnTo>
                <a:lnTo>
                  <a:pt x="4987" y="3839"/>
                </a:lnTo>
                <a:lnTo>
                  <a:pt x="4997" y="3836"/>
                </a:lnTo>
                <a:lnTo>
                  <a:pt x="5006" y="3832"/>
                </a:lnTo>
                <a:lnTo>
                  <a:pt x="5014" y="3828"/>
                </a:lnTo>
                <a:lnTo>
                  <a:pt x="5022" y="3824"/>
                </a:lnTo>
                <a:lnTo>
                  <a:pt x="5029" y="3819"/>
                </a:lnTo>
                <a:lnTo>
                  <a:pt x="5036" y="3814"/>
                </a:lnTo>
                <a:lnTo>
                  <a:pt x="5042" y="3809"/>
                </a:lnTo>
                <a:lnTo>
                  <a:pt x="5048" y="3803"/>
                </a:lnTo>
                <a:lnTo>
                  <a:pt x="5054" y="3797"/>
                </a:lnTo>
                <a:lnTo>
                  <a:pt x="5063" y="3784"/>
                </a:lnTo>
                <a:lnTo>
                  <a:pt x="5070" y="3771"/>
                </a:lnTo>
                <a:lnTo>
                  <a:pt x="5077" y="3756"/>
                </a:lnTo>
                <a:lnTo>
                  <a:pt x="5082" y="3740"/>
                </a:lnTo>
                <a:lnTo>
                  <a:pt x="5085" y="3724"/>
                </a:lnTo>
                <a:lnTo>
                  <a:pt x="5088" y="3706"/>
                </a:lnTo>
                <a:lnTo>
                  <a:pt x="5090" y="3689"/>
                </a:lnTo>
                <a:lnTo>
                  <a:pt x="5091" y="3671"/>
                </a:lnTo>
                <a:lnTo>
                  <a:pt x="5092" y="3653"/>
                </a:lnTo>
                <a:lnTo>
                  <a:pt x="5092" y="3635"/>
                </a:lnTo>
                <a:lnTo>
                  <a:pt x="5096" y="3634"/>
                </a:lnTo>
                <a:lnTo>
                  <a:pt x="5100" y="3633"/>
                </a:lnTo>
                <a:lnTo>
                  <a:pt x="5102" y="3630"/>
                </a:lnTo>
                <a:lnTo>
                  <a:pt x="5102" y="3627"/>
                </a:lnTo>
                <a:lnTo>
                  <a:pt x="5102" y="3623"/>
                </a:lnTo>
                <a:lnTo>
                  <a:pt x="5101" y="3619"/>
                </a:lnTo>
                <a:lnTo>
                  <a:pt x="5099" y="3614"/>
                </a:lnTo>
                <a:lnTo>
                  <a:pt x="5097" y="3609"/>
                </a:lnTo>
                <a:lnTo>
                  <a:pt x="5092" y="3599"/>
                </a:lnTo>
                <a:lnTo>
                  <a:pt x="5087" y="3587"/>
                </a:lnTo>
                <a:lnTo>
                  <a:pt x="5083" y="3578"/>
                </a:lnTo>
                <a:lnTo>
                  <a:pt x="5081" y="3571"/>
                </a:lnTo>
                <a:lnTo>
                  <a:pt x="5090" y="3568"/>
                </a:lnTo>
                <a:lnTo>
                  <a:pt x="5099" y="3567"/>
                </a:lnTo>
                <a:lnTo>
                  <a:pt x="5109" y="3568"/>
                </a:lnTo>
                <a:lnTo>
                  <a:pt x="5118" y="3569"/>
                </a:lnTo>
                <a:lnTo>
                  <a:pt x="5136" y="3574"/>
                </a:lnTo>
                <a:lnTo>
                  <a:pt x="5152" y="3578"/>
                </a:lnTo>
                <a:lnTo>
                  <a:pt x="5159" y="3580"/>
                </a:lnTo>
                <a:lnTo>
                  <a:pt x="5166" y="3580"/>
                </a:lnTo>
                <a:lnTo>
                  <a:pt x="5172" y="3580"/>
                </a:lnTo>
                <a:lnTo>
                  <a:pt x="5177" y="3578"/>
                </a:lnTo>
                <a:lnTo>
                  <a:pt x="5179" y="3577"/>
                </a:lnTo>
                <a:lnTo>
                  <a:pt x="5181" y="3574"/>
                </a:lnTo>
                <a:lnTo>
                  <a:pt x="5183" y="3572"/>
                </a:lnTo>
                <a:lnTo>
                  <a:pt x="5185" y="3569"/>
                </a:lnTo>
                <a:lnTo>
                  <a:pt x="5186" y="3561"/>
                </a:lnTo>
                <a:lnTo>
                  <a:pt x="5187" y="3550"/>
                </a:lnTo>
                <a:lnTo>
                  <a:pt x="5191" y="3550"/>
                </a:lnTo>
                <a:lnTo>
                  <a:pt x="5194" y="3551"/>
                </a:lnTo>
                <a:lnTo>
                  <a:pt x="5197" y="3552"/>
                </a:lnTo>
                <a:lnTo>
                  <a:pt x="5199" y="3553"/>
                </a:lnTo>
                <a:lnTo>
                  <a:pt x="5203" y="3557"/>
                </a:lnTo>
                <a:lnTo>
                  <a:pt x="5205" y="3563"/>
                </a:lnTo>
                <a:lnTo>
                  <a:pt x="5207" y="3569"/>
                </a:lnTo>
                <a:lnTo>
                  <a:pt x="5208" y="3576"/>
                </a:lnTo>
                <a:lnTo>
                  <a:pt x="5208" y="3584"/>
                </a:lnTo>
                <a:lnTo>
                  <a:pt x="5208" y="3593"/>
                </a:lnTo>
                <a:lnTo>
                  <a:pt x="5220" y="3595"/>
                </a:lnTo>
                <a:lnTo>
                  <a:pt x="5233" y="3596"/>
                </a:lnTo>
                <a:lnTo>
                  <a:pt x="5244" y="3597"/>
                </a:lnTo>
                <a:lnTo>
                  <a:pt x="5254" y="3597"/>
                </a:lnTo>
                <a:lnTo>
                  <a:pt x="5274" y="3597"/>
                </a:lnTo>
                <a:lnTo>
                  <a:pt x="5292" y="3596"/>
                </a:lnTo>
                <a:lnTo>
                  <a:pt x="5309" y="3594"/>
                </a:lnTo>
                <a:lnTo>
                  <a:pt x="5326" y="3594"/>
                </a:lnTo>
                <a:lnTo>
                  <a:pt x="5333" y="3595"/>
                </a:lnTo>
                <a:lnTo>
                  <a:pt x="5341" y="3596"/>
                </a:lnTo>
                <a:lnTo>
                  <a:pt x="5349" y="3597"/>
                </a:lnTo>
                <a:lnTo>
                  <a:pt x="5357" y="3599"/>
                </a:lnTo>
                <a:lnTo>
                  <a:pt x="5360" y="3601"/>
                </a:lnTo>
                <a:lnTo>
                  <a:pt x="5362" y="3603"/>
                </a:lnTo>
                <a:lnTo>
                  <a:pt x="5364" y="3605"/>
                </a:lnTo>
                <a:lnTo>
                  <a:pt x="5366" y="3609"/>
                </a:lnTo>
                <a:lnTo>
                  <a:pt x="5369" y="3618"/>
                </a:lnTo>
                <a:lnTo>
                  <a:pt x="5371" y="3628"/>
                </a:lnTo>
                <a:lnTo>
                  <a:pt x="5372" y="3641"/>
                </a:lnTo>
                <a:lnTo>
                  <a:pt x="5373" y="3655"/>
                </a:lnTo>
                <a:lnTo>
                  <a:pt x="5373" y="3670"/>
                </a:lnTo>
                <a:lnTo>
                  <a:pt x="5373" y="3686"/>
                </a:lnTo>
                <a:lnTo>
                  <a:pt x="5371" y="3720"/>
                </a:lnTo>
                <a:lnTo>
                  <a:pt x="5367" y="3752"/>
                </a:lnTo>
                <a:lnTo>
                  <a:pt x="5363" y="3781"/>
                </a:lnTo>
                <a:lnTo>
                  <a:pt x="5358" y="3804"/>
                </a:lnTo>
                <a:lnTo>
                  <a:pt x="5356" y="3810"/>
                </a:lnTo>
                <a:lnTo>
                  <a:pt x="5353" y="3815"/>
                </a:lnTo>
                <a:lnTo>
                  <a:pt x="5350" y="3820"/>
                </a:lnTo>
                <a:lnTo>
                  <a:pt x="5347" y="3825"/>
                </a:lnTo>
                <a:lnTo>
                  <a:pt x="5339" y="3834"/>
                </a:lnTo>
                <a:lnTo>
                  <a:pt x="5329" y="3841"/>
                </a:lnTo>
                <a:lnTo>
                  <a:pt x="5318" y="3849"/>
                </a:lnTo>
                <a:lnTo>
                  <a:pt x="5307" y="3855"/>
                </a:lnTo>
                <a:lnTo>
                  <a:pt x="5295" y="3860"/>
                </a:lnTo>
                <a:lnTo>
                  <a:pt x="5282" y="3865"/>
                </a:lnTo>
                <a:lnTo>
                  <a:pt x="5259" y="3873"/>
                </a:lnTo>
                <a:lnTo>
                  <a:pt x="5239" y="3881"/>
                </a:lnTo>
                <a:lnTo>
                  <a:pt x="5231" y="3885"/>
                </a:lnTo>
                <a:lnTo>
                  <a:pt x="5224" y="3889"/>
                </a:lnTo>
                <a:lnTo>
                  <a:pt x="5222" y="3892"/>
                </a:lnTo>
                <a:lnTo>
                  <a:pt x="5220" y="3894"/>
                </a:lnTo>
                <a:lnTo>
                  <a:pt x="5219" y="3897"/>
                </a:lnTo>
                <a:lnTo>
                  <a:pt x="5219" y="3899"/>
                </a:lnTo>
                <a:lnTo>
                  <a:pt x="5207" y="3909"/>
                </a:lnTo>
                <a:lnTo>
                  <a:pt x="5198" y="3918"/>
                </a:lnTo>
                <a:lnTo>
                  <a:pt x="5191" y="3927"/>
                </a:lnTo>
                <a:lnTo>
                  <a:pt x="5186" y="3936"/>
                </a:lnTo>
                <a:lnTo>
                  <a:pt x="5183" y="3944"/>
                </a:lnTo>
                <a:lnTo>
                  <a:pt x="5183" y="3953"/>
                </a:lnTo>
                <a:lnTo>
                  <a:pt x="5184" y="3961"/>
                </a:lnTo>
                <a:lnTo>
                  <a:pt x="5186" y="3968"/>
                </a:lnTo>
                <a:lnTo>
                  <a:pt x="5191" y="3977"/>
                </a:lnTo>
                <a:lnTo>
                  <a:pt x="5196" y="3985"/>
                </a:lnTo>
                <a:lnTo>
                  <a:pt x="5204" y="3992"/>
                </a:lnTo>
                <a:lnTo>
                  <a:pt x="5212" y="3999"/>
                </a:lnTo>
                <a:lnTo>
                  <a:pt x="5221" y="4006"/>
                </a:lnTo>
                <a:lnTo>
                  <a:pt x="5232" y="4013"/>
                </a:lnTo>
                <a:lnTo>
                  <a:pt x="5243" y="4019"/>
                </a:lnTo>
                <a:lnTo>
                  <a:pt x="5255" y="4026"/>
                </a:lnTo>
                <a:lnTo>
                  <a:pt x="5306" y="4050"/>
                </a:lnTo>
                <a:lnTo>
                  <a:pt x="5358" y="4074"/>
                </a:lnTo>
                <a:lnTo>
                  <a:pt x="5382" y="4086"/>
                </a:lnTo>
                <a:lnTo>
                  <a:pt x="5402" y="4098"/>
                </a:lnTo>
                <a:lnTo>
                  <a:pt x="5411" y="4104"/>
                </a:lnTo>
                <a:lnTo>
                  <a:pt x="5419" y="4110"/>
                </a:lnTo>
                <a:lnTo>
                  <a:pt x="5425" y="4116"/>
                </a:lnTo>
                <a:lnTo>
                  <a:pt x="5431" y="4122"/>
                </a:lnTo>
                <a:lnTo>
                  <a:pt x="5417" y="4121"/>
                </a:lnTo>
                <a:lnTo>
                  <a:pt x="5397" y="4119"/>
                </a:lnTo>
                <a:lnTo>
                  <a:pt x="5375" y="4117"/>
                </a:lnTo>
                <a:lnTo>
                  <a:pt x="5351" y="4114"/>
                </a:lnTo>
                <a:lnTo>
                  <a:pt x="5329" y="4110"/>
                </a:lnTo>
                <a:lnTo>
                  <a:pt x="5310" y="4107"/>
                </a:lnTo>
                <a:lnTo>
                  <a:pt x="5303" y="4105"/>
                </a:lnTo>
                <a:lnTo>
                  <a:pt x="5298" y="4104"/>
                </a:lnTo>
                <a:lnTo>
                  <a:pt x="5294" y="4102"/>
                </a:lnTo>
                <a:lnTo>
                  <a:pt x="5293" y="4101"/>
                </a:lnTo>
                <a:lnTo>
                  <a:pt x="5279" y="4102"/>
                </a:lnTo>
                <a:lnTo>
                  <a:pt x="5263" y="4104"/>
                </a:lnTo>
                <a:lnTo>
                  <a:pt x="5246" y="4107"/>
                </a:lnTo>
                <a:lnTo>
                  <a:pt x="5226" y="4111"/>
                </a:lnTo>
                <a:lnTo>
                  <a:pt x="5185" y="4121"/>
                </a:lnTo>
                <a:lnTo>
                  <a:pt x="5142" y="4131"/>
                </a:lnTo>
                <a:lnTo>
                  <a:pt x="5121" y="4135"/>
                </a:lnTo>
                <a:lnTo>
                  <a:pt x="5099" y="4138"/>
                </a:lnTo>
                <a:lnTo>
                  <a:pt x="5079" y="4140"/>
                </a:lnTo>
                <a:lnTo>
                  <a:pt x="5059" y="4140"/>
                </a:lnTo>
                <a:lnTo>
                  <a:pt x="5050" y="4140"/>
                </a:lnTo>
                <a:lnTo>
                  <a:pt x="5041" y="4139"/>
                </a:lnTo>
                <a:lnTo>
                  <a:pt x="5033" y="4137"/>
                </a:lnTo>
                <a:lnTo>
                  <a:pt x="5025" y="4136"/>
                </a:lnTo>
                <a:lnTo>
                  <a:pt x="5017" y="4133"/>
                </a:lnTo>
                <a:lnTo>
                  <a:pt x="5010" y="4130"/>
                </a:lnTo>
                <a:lnTo>
                  <a:pt x="5003" y="4126"/>
                </a:lnTo>
                <a:lnTo>
                  <a:pt x="4997" y="4122"/>
                </a:lnTo>
                <a:lnTo>
                  <a:pt x="5005" y="4121"/>
                </a:lnTo>
                <a:lnTo>
                  <a:pt x="5013" y="4120"/>
                </a:lnTo>
                <a:lnTo>
                  <a:pt x="5020" y="4119"/>
                </a:lnTo>
                <a:lnTo>
                  <a:pt x="5027" y="4117"/>
                </a:lnTo>
                <a:lnTo>
                  <a:pt x="5033" y="4114"/>
                </a:lnTo>
                <a:lnTo>
                  <a:pt x="5039" y="4111"/>
                </a:lnTo>
                <a:lnTo>
                  <a:pt x="5045" y="4108"/>
                </a:lnTo>
                <a:lnTo>
                  <a:pt x="5051" y="4104"/>
                </a:lnTo>
                <a:lnTo>
                  <a:pt x="5062" y="4094"/>
                </a:lnTo>
                <a:lnTo>
                  <a:pt x="5071" y="4083"/>
                </a:lnTo>
                <a:lnTo>
                  <a:pt x="5080" y="4071"/>
                </a:lnTo>
                <a:lnTo>
                  <a:pt x="5087" y="4057"/>
                </a:lnTo>
                <a:lnTo>
                  <a:pt x="5094" y="4043"/>
                </a:lnTo>
                <a:lnTo>
                  <a:pt x="5100" y="4027"/>
                </a:lnTo>
                <a:lnTo>
                  <a:pt x="5106" y="4011"/>
                </a:lnTo>
                <a:lnTo>
                  <a:pt x="5111" y="3993"/>
                </a:lnTo>
                <a:lnTo>
                  <a:pt x="5115" y="3976"/>
                </a:lnTo>
                <a:lnTo>
                  <a:pt x="5119" y="3957"/>
                </a:lnTo>
                <a:lnTo>
                  <a:pt x="5122" y="3939"/>
                </a:lnTo>
                <a:lnTo>
                  <a:pt x="5124" y="3920"/>
                </a:lnTo>
                <a:lnTo>
                  <a:pt x="5109" y="3916"/>
                </a:lnTo>
                <a:lnTo>
                  <a:pt x="5093" y="3913"/>
                </a:lnTo>
                <a:lnTo>
                  <a:pt x="5078" y="3912"/>
                </a:lnTo>
                <a:lnTo>
                  <a:pt x="5063" y="3912"/>
                </a:lnTo>
                <a:lnTo>
                  <a:pt x="5048" y="3914"/>
                </a:lnTo>
                <a:lnTo>
                  <a:pt x="5034" y="3918"/>
                </a:lnTo>
                <a:lnTo>
                  <a:pt x="5020" y="3922"/>
                </a:lnTo>
                <a:lnTo>
                  <a:pt x="5006" y="3929"/>
                </a:lnTo>
                <a:lnTo>
                  <a:pt x="4993" y="3936"/>
                </a:lnTo>
                <a:lnTo>
                  <a:pt x="4981" y="3945"/>
                </a:lnTo>
                <a:lnTo>
                  <a:pt x="4969" y="3954"/>
                </a:lnTo>
                <a:lnTo>
                  <a:pt x="4958" y="3965"/>
                </a:lnTo>
                <a:lnTo>
                  <a:pt x="4949" y="3978"/>
                </a:lnTo>
                <a:lnTo>
                  <a:pt x="4941" y="3990"/>
                </a:lnTo>
                <a:lnTo>
                  <a:pt x="4935" y="4004"/>
                </a:lnTo>
                <a:lnTo>
                  <a:pt x="4930" y="4018"/>
                </a:lnTo>
                <a:lnTo>
                  <a:pt x="4926" y="4029"/>
                </a:lnTo>
                <a:lnTo>
                  <a:pt x="4922" y="4039"/>
                </a:lnTo>
                <a:lnTo>
                  <a:pt x="4918" y="4048"/>
                </a:lnTo>
                <a:lnTo>
                  <a:pt x="4914" y="4055"/>
                </a:lnTo>
                <a:lnTo>
                  <a:pt x="4909" y="4061"/>
                </a:lnTo>
                <a:lnTo>
                  <a:pt x="4905" y="4066"/>
                </a:lnTo>
                <a:lnTo>
                  <a:pt x="4900" y="4070"/>
                </a:lnTo>
                <a:lnTo>
                  <a:pt x="4895" y="4073"/>
                </a:lnTo>
                <a:lnTo>
                  <a:pt x="4889" y="4075"/>
                </a:lnTo>
                <a:lnTo>
                  <a:pt x="4884" y="4077"/>
                </a:lnTo>
                <a:lnTo>
                  <a:pt x="4879" y="4077"/>
                </a:lnTo>
                <a:lnTo>
                  <a:pt x="4873" y="4078"/>
                </a:lnTo>
                <a:lnTo>
                  <a:pt x="4862" y="4077"/>
                </a:lnTo>
                <a:lnTo>
                  <a:pt x="4849" y="4075"/>
                </a:lnTo>
                <a:lnTo>
                  <a:pt x="4837" y="4072"/>
                </a:lnTo>
                <a:lnTo>
                  <a:pt x="4825" y="4070"/>
                </a:lnTo>
                <a:lnTo>
                  <a:pt x="4814" y="4068"/>
                </a:lnTo>
                <a:lnTo>
                  <a:pt x="4803" y="4069"/>
                </a:lnTo>
                <a:lnTo>
                  <a:pt x="4797" y="4069"/>
                </a:lnTo>
                <a:lnTo>
                  <a:pt x="4792" y="4071"/>
                </a:lnTo>
                <a:lnTo>
                  <a:pt x="4787" y="4073"/>
                </a:lnTo>
                <a:lnTo>
                  <a:pt x="4782" y="4077"/>
                </a:lnTo>
                <a:lnTo>
                  <a:pt x="4777" y="4081"/>
                </a:lnTo>
                <a:lnTo>
                  <a:pt x="4773" y="4086"/>
                </a:lnTo>
                <a:lnTo>
                  <a:pt x="4768" y="4092"/>
                </a:lnTo>
                <a:lnTo>
                  <a:pt x="4764" y="4101"/>
                </a:lnTo>
                <a:lnTo>
                  <a:pt x="4752" y="4106"/>
                </a:lnTo>
                <a:lnTo>
                  <a:pt x="4731" y="4115"/>
                </a:lnTo>
                <a:lnTo>
                  <a:pt x="4703" y="4126"/>
                </a:lnTo>
                <a:lnTo>
                  <a:pt x="4673" y="4138"/>
                </a:lnTo>
                <a:lnTo>
                  <a:pt x="4644" y="4148"/>
                </a:lnTo>
                <a:lnTo>
                  <a:pt x="4619" y="4156"/>
                </a:lnTo>
                <a:lnTo>
                  <a:pt x="4609" y="4157"/>
                </a:lnTo>
                <a:lnTo>
                  <a:pt x="4602" y="4158"/>
                </a:lnTo>
                <a:lnTo>
                  <a:pt x="4598" y="4157"/>
                </a:lnTo>
                <a:lnTo>
                  <a:pt x="4596" y="4156"/>
                </a:lnTo>
                <a:lnTo>
                  <a:pt x="4595" y="4155"/>
                </a:lnTo>
                <a:lnTo>
                  <a:pt x="4594" y="4153"/>
                </a:lnTo>
                <a:lnTo>
                  <a:pt x="4579" y="4156"/>
                </a:lnTo>
                <a:lnTo>
                  <a:pt x="4565" y="4159"/>
                </a:lnTo>
                <a:lnTo>
                  <a:pt x="4552" y="4163"/>
                </a:lnTo>
                <a:lnTo>
                  <a:pt x="4540" y="4168"/>
                </a:lnTo>
                <a:lnTo>
                  <a:pt x="4529" y="4173"/>
                </a:lnTo>
                <a:lnTo>
                  <a:pt x="4519" y="4179"/>
                </a:lnTo>
                <a:lnTo>
                  <a:pt x="4511" y="4185"/>
                </a:lnTo>
                <a:lnTo>
                  <a:pt x="4503" y="4192"/>
                </a:lnTo>
                <a:lnTo>
                  <a:pt x="4496" y="4200"/>
                </a:lnTo>
                <a:lnTo>
                  <a:pt x="4490" y="4208"/>
                </a:lnTo>
                <a:lnTo>
                  <a:pt x="4484" y="4216"/>
                </a:lnTo>
                <a:lnTo>
                  <a:pt x="4480" y="4227"/>
                </a:lnTo>
                <a:lnTo>
                  <a:pt x="4476" y="4236"/>
                </a:lnTo>
                <a:lnTo>
                  <a:pt x="4471" y="4246"/>
                </a:lnTo>
                <a:lnTo>
                  <a:pt x="4469" y="4256"/>
                </a:lnTo>
                <a:lnTo>
                  <a:pt x="4466" y="4267"/>
                </a:lnTo>
                <a:lnTo>
                  <a:pt x="4464" y="4290"/>
                </a:lnTo>
                <a:lnTo>
                  <a:pt x="4462" y="4314"/>
                </a:lnTo>
                <a:lnTo>
                  <a:pt x="4462" y="4340"/>
                </a:lnTo>
                <a:lnTo>
                  <a:pt x="4463" y="4367"/>
                </a:lnTo>
                <a:lnTo>
                  <a:pt x="4466" y="4423"/>
                </a:lnTo>
                <a:lnTo>
                  <a:pt x="4467" y="4482"/>
                </a:lnTo>
                <a:lnTo>
                  <a:pt x="4482" y="4490"/>
                </a:lnTo>
                <a:lnTo>
                  <a:pt x="4497" y="4500"/>
                </a:lnTo>
                <a:lnTo>
                  <a:pt x="4512" y="4512"/>
                </a:lnTo>
                <a:lnTo>
                  <a:pt x="4529" y="4524"/>
                </a:lnTo>
                <a:lnTo>
                  <a:pt x="4546" y="4538"/>
                </a:lnTo>
                <a:lnTo>
                  <a:pt x="4563" y="4552"/>
                </a:lnTo>
                <a:lnTo>
                  <a:pt x="4580" y="4568"/>
                </a:lnTo>
                <a:lnTo>
                  <a:pt x="4596" y="4583"/>
                </a:lnTo>
                <a:lnTo>
                  <a:pt x="4612" y="4600"/>
                </a:lnTo>
                <a:lnTo>
                  <a:pt x="4626" y="4616"/>
                </a:lnTo>
                <a:lnTo>
                  <a:pt x="4639" y="4632"/>
                </a:lnTo>
                <a:lnTo>
                  <a:pt x="4650" y="4647"/>
                </a:lnTo>
                <a:lnTo>
                  <a:pt x="4658" y="4663"/>
                </a:lnTo>
                <a:lnTo>
                  <a:pt x="4665" y="4677"/>
                </a:lnTo>
                <a:lnTo>
                  <a:pt x="4667" y="4684"/>
                </a:lnTo>
                <a:lnTo>
                  <a:pt x="4668" y="4691"/>
                </a:lnTo>
                <a:lnTo>
                  <a:pt x="4669" y="4697"/>
                </a:lnTo>
                <a:lnTo>
                  <a:pt x="4669" y="4703"/>
                </a:lnTo>
                <a:lnTo>
                  <a:pt x="4722" y="4713"/>
                </a:lnTo>
                <a:lnTo>
                  <a:pt x="4769" y="4722"/>
                </a:lnTo>
                <a:lnTo>
                  <a:pt x="4810" y="4731"/>
                </a:lnTo>
                <a:lnTo>
                  <a:pt x="4849" y="4738"/>
                </a:lnTo>
                <a:lnTo>
                  <a:pt x="4887" y="4746"/>
                </a:lnTo>
                <a:lnTo>
                  <a:pt x="4926" y="4753"/>
                </a:lnTo>
                <a:lnTo>
                  <a:pt x="4969" y="4760"/>
                </a:lnTo>
                <a:lnTo>
                  <a:pt x="5018" y="4767"/>
                </a:lnTo>
                <a:lnTo>
                  <a:pt x="5021" y="4771"/>
                </a:lnTo>
                <a:lnTo>
                  <a:pt x="5024" y="4776"/>
                </a:lnTo>
                <a:lnTo>
                  <a:pt x="5028" y="4780"/>
                </a:lnTo>
                <a:lnTo>
                  <a:pt x="5032" y="4784"/>
                </a:lnTo>
                <a:lnTo>
                  <a:pt x="5043" y="4791"/>
                </a:lnTo>
                <a:lnTo>
                  <a:pt x="5054" y="4798"/>
                </a:lnTo>
                <a:lnTo>
                  <a:pt x="5067" y="4805"/>
                </a:lnTo>
                <a:lnTo>
                  <a:pt x="5079" y="4811"/>
                </a:lnTo>
                <a:lnTo>
                  <a:pt x="5091" y="4815"/>
                </a:lnTo>
                <a:lnTo>
                  <a:pt x="5102" y="4819"/>
                </a:lnTo>
                <a:lnTo>
                  <a:pt x="5104" y="4827"/>
                </a:lnTo>
                <a:lnTo>
                  <a:pt x="5104" y="4835"/>
                </a:lnTo>
                <a:lnTo>
                  <a:pt x="5105" y="4842"/>
                </a:lnTo>
                <a:lnTo>
                  <a:pt x="5107" y="4848"/>
                </a:lnTo>
                <a:lnTo>
                  <a:pt x="5109" y="4855"/>
                </a:lnTo>
                <a:lnTo>
                  <a:pt x="5111" y="4861"/>
                </a:lnTo>
                <a:lnTo>
                  <a:pt x="5114" y="4865"/>
                </a:lnTo>
                <a:lnTo>
                  <a:pt x="5117" y="4870"/>
                </a:lnTo>
                <a:lnTo>
                  <a:pt x="5121" y="4874"/>
                </a:lnTo>
                <a:lnTo>
                  <a:pt x="5125" y="4877"/>
                </a:lnTo>
                <a:lnTo>
                  <a:pt x="5129" y="4880"/>
                </a:lnTo>
                <a:lnTo>
                  <a:pt x="5133" y="4883"/>
                </a:lnTo>
                <a:lnTo>
                  <a:pt x="5143" y="4888"/>
                </a:lnTo>
                <a:lnTo>
                  <a:pt x="5154" y="4891"/>
                </a:lnTo>
                <a:lnTo>
                  <a:pt x="5165" y="4893"/>
                </a:lnTo>
                <a:lnTo>
                  <a:pt x="5178" y="4895"/>
                </a:lnTo>
                <a:lnTo>
                  <a:pt x="5191" y="4895"/>
                </a:lnTo>
                <a:lnTo>
                  <a:pt x="5204" y="4895"/>
                </a:lnTo>
                <a:lnTo>
                  <a:pt x="5233" y="4895"/>
                </a:lnTo>
                <a:lnTo>
                  <a:pt x="5262" y="4894"/>
                </a:lnTo>
                <a:lnTo>
                  <a:pt x="5262" y="4884"/>
                </a:lnTo>
                <a:lnTo>
                  <a:pt x="5263" y="4876"/>
                </a:lnTo>
                <a:lnTo>
                  <a:pt x="5265" y="4870"/>
                </a:lnTo>
                <a:lnTo>
                  <a:pt x="5267" y="4865"/>
                </a:lnTo>
                <a:lnTo>
                  <a:pt x="5270" y="4862"/>
                </a:lnTo>
                <a:lnTo>
                  <a:pt x="5274" y="4861"/>
                </a:lnTo>
                <a:lnTo>
                  <a:pt x="5278" y="4860"/>
                </a:lnTo>
                <a:lnTo>
                  <a:pt x="5283" y="4861"/>
                </a:lnTo>
                <a:lnTo>
                  <a:pt x="5288" y="4863"/>
                </a:lnTo>
                <a:lnTo>
                  <a:pt x="5293" y="4867"/>
                </a:lnTo>
                <a:lnTo>
                  <a:pt x="5299" y="4871"/>
                </a:lnTo>
                <a:lnTo>
                  <a:pt x="5305" y="4876"/>
                </a:lnTo>
                <a:lnTo>
                  <a:pt x="5317" y="4889"/>
                </a:lnTo>
                <a:lnTo>
                  <a:pt x="5330" y="4904"/>
                </a:lnTo>
                <a:lnTo>
                  <a:pt x="5343" y="4921"/>
                </a:lnTo>
                <a:lnTo>
                  <a:pt x="5357" y="4939"/>
                </a:lnTo>
                <a:lnTo>
                  <a:pt x="5370" y="4958"/>
                </a:lnTo>
                <a:lnTo>
                  <a:pt x="5381" y="4976"/>
                </a:lnTo>
                <a:lnTo>
                  <a:pt x="5391" y="4994"/>
                </a:lnTo>
                <a:lnTo>
                  <a:pt x="5399" y="5009"/>
                </a:lnTo>
                <a:lnTo>
                  <a:pt x="5406" y="5022"/>
                </a:lnTo>
                <a:lnTo>
                  <a:pt x="5410" y="5032"/>
                </a:lnTo>
                <a:lnTo>
                  <a:pt x="5408" y="5032"/>
                </a:lnTo>
                <a:lnTo>
                  <a:pt x="5407" y="5033"/>
                </a:lnTo>
                <a:lnTo>
                  <a:pt x="5406" y="5034"/>
                </a:lnTo>
                <a:lnTo>
                  <a:pt x="5406" y="5037"/>
                </a:lnTo>
                <a:lnTo>
                  <a:pt x="5406" y="5043"/>
                </a:lnTo>
                <a:lnTo>
                  <a:pt x="5407" y="5051"/>
                </a:lnTo>
                <a:lnTo>
                  <a:pt x="5412" y="5071"/>
                </a:lnTo>
                <a:lnTo>
                  <a:pt x="5420" y="5095"/>
                </a:lnTo>
                <a:lnTo>
                  <a:pt x="5429" y="5123"/>
                </a:lnTo>
                <a:lnTo>
                  <a:pt x="5438" y="5149"/>
                </a:lnTo>
                <a:lnTo>
                  <a:pt x="5446" y="5172"/>
                </a:lnTo>
                <a:lnTo>
                  <a:pt x="5451" y="5190"/>
                </a:lnTo>
                <a:lnTo>
                  <a:pt x="5444" y="5188"/>
                </a:lnTo>
                <a:lnTo>
                  <a:pt x="5438" y="5188"/>
                </a:lnTo>
                <a:lnTo>
                  <a:pt x="5434" y="5188"/>
                </a:lnTo>
                <a:lnTo>
                  <a:pt x="5431" y="5190"/>
                </a:lnTo>
                <a:lnTo>
                  <a:pt x="5429" y="5194"/>
                </a:lnTo>
                <a:lnTo>
                  <a:pt x="5428" y="5198"/>
                </a:lnTo>
                <a:lnTo>
                  <a:pt x="5429" y="5204"/>
                </a:lnTo>
                <a:lnTo>
                  <a:pt x="5431" y="5211"/>
                </a:lnTo>
                <a:lnTo>
                  <a:pt x="5443" y="5216"/>
                </a:lnTo>
                <a:lnTo>
                  <a:pt x="5457" y="5219"/>
                </a:lnTo>
                <a:lnTo>
                  <a:pt x="5471" y="5222"/>
                </a:lnTo>
                <a:lnTo>
                  <a:pt x="5487" y="5223"/>
                </a:lnTo>
                <a:lnTo>
                  <a:pt x="5501" y="5224"/>
                </a:lnTo>
                <a:lnTo>
                  <a:pt x="5516" y="5224"/>
                </a:lnTo>
                <a:lnTo>
                  <a:pt x="5530" y="5223"/>
                </a:lnTo>
                <a:lnTo>
                  <a:pt x="5544" y="5221"/>
                </a:lnTo>
                <a:lnTo>
                  <a:pt x="5558" y="5217"/>
                </a:lnTo>
                <a:lnTo>
                  <a:pt x="5571" y="5213"/>
                </a:lnTo>
                <a:lnTo>
                  <a:pt x="5582" y="5207"/>
                </a:lnTo>
                <a:lnTo>
                  <a:pt x="5593" y="5200"/>
                </a:lnTo>
                <a:lnTo>
                  <a:pt x="5598" y="5196"/>
                </a:lnTo>
                <a:lnTo>
                  <a:pt x="5602" y="5192"/>
                </a:lnTo>
                <a:lnTo>
                  <a:pt x="5608" y="5187"/>
                </a:lnTo>
                <a:lnTo>
                  <a:pt x="5611" y="5182"/>
                </a:lnTo>
                <a:lnTo>
                  <a:pt x="5615" y="5177"/>
                </a:lnTo>
                <a:lnTo>
                  <a:pt x="5617" y="5171"/>
                </a:lnTo>
                <a:lnTo>
                  <a:pt x="5620" y="5165"/>
                </a:lnTo>
                <a:lnTo>
                  <a:pt x="5622" y="5159"/>
                </a:lnTo>
                <a:lnTo>
                  <a:pt x="5611" y="5158"/>
                </a:lnTo>
                <a:lnTo>
                  <a:pt x="5600" y="5155"/>
                </a:lnTo>
                <a:lnTo>
                  <a:pt x="5593" y="5152"/>
                </a:lnTo>
                <a:lnTo>
                  <a:pt x="5587" y="5147"/>
                </a:lnTo>
                <a:lnTo>
                  <a:pt x="5583" y="5140"/>
                </a:lnTo>
                <a:lnTo>
                  <a:pt x="5579" y="5133"/>
                </a:lnTo>
                <a:lnTo>
                  <a:pt x="5577" y="5125"/>
                </a:lnTo>
                <a:lnTo>
                  <a:pt x="5576" y="5117"/>
                </a:lnTo>
                <a:lnTo>
                  <a:pt x="5576" y="5078"/>
                </a:lnTo>
                <a:lnTo>
                  <a:pt x="5579" y="5042"/>
                </a:lnTo>
                <a:lnTo>
                  <a:pt x="5567" y="5033"/>
                </a:lnTo>
                <a:lnTo>
                  <a:pt x="5557" y="5024"/>
                </a:lnTo>
                <a:lnTo>
                  <a:pt x="5549" y="5014"/>
                </a:lnTo>
                <a:lnTo>
                  <a:pt x="5543" y="5003"/>
                </a:lnTo>
                <a:lnTo>
                  <a:pt x="5539" y="4992"/>
                </a:lnTo>
                <a:lnTo>
                  <a:pt x="5536" y="4981"/>
                </a:lnTo>
                <a:lnTo>
                  <a:pt x="5534" y="4969"/>
                </a:lnTo>
                <a:lnTo>
                  <a:pt x="5534" y="4958"/>
                </a:lnTo>
                <a:lnTo>
                  <a:pt x="5536" y="4947"/>
                </a:lnTo>
                <a:lnTo>
                  <a:pt x="5539" y="4937"/>
                </a:lnTo>
                <a:lnTo>
                  <a:pt x="5544" y="4928"/>
                </a:lnTo>
                <a:lnTo>
                  <a:pt x="5550" y="4919"/>
                </a:lnTo>
                <a:lnTo>
                  <a:pt x="5558" y="4911"/>
                </a:lnTo>
                <a:lnTo>
                  <a:pt x="5567" y="4904"/>
                </a:lnTo>
                <a:lnTo>
                  <a:pt x="5577" y="4899"/>
                </a:lnTo>
                <a:lnTo>
                  <a:pt x="5589" y="4894"/>
                </a:lnTo>
                <a:lnTo>
                  <a:pt x="5590" y="4899"/>
                </a:lnTo>
                <a:lnTo>
                  <a:pt x="5592" y="4904"/>
                </a:lnTo>
                <a:lnTo>
                  <a:pt x="5594" y="4907"/>
                </a:lnTo>
                <a:lnTo>
                  <a:pt x="5598" y="4910"/>
                </a:lnTo>
                <a:lnTo>
                  <a:pt x="5603" y="4912"/>
                </a:lnTo>
                <a:lnTo>
                  <a:pt x="5609" y="4913"/>
                </a:lnTo>
                <a:lnTo>
                  <a:pt x="5615" y="4913"/>
                </a:lnTo>
                <a:lnTo>
                  <a:pt x="5622" y="4913"/>
                </a:lnTo>
                <a:lnTo>
                  <a:pt x="5637" y="4911"/>
                </a:lnTo>
                <a:lnTo>
                  <a:pt x="5652" y="4906"/>
                </a:lnTo>
                <a:lnTo>
                  <a:pt x="5668" y="4900"/>
                </a:lnTo>
                <a:lnTo>
                  <a:pt x="5683" y="4892"/>
                </a:lnTo>
                <a:lnTo>
                  <a:pt x="5690" y="4888"/>
                </a:lnTo>
                <a:lnTo>
                  <a:pt x="5697" y="4883"/>
                </a:lnTo>
                <a:lnTo>
                  <a:pt x="5703" y="4878"/>
                </a:lnTo>
                <a:lnTo>
                  <a:pt x="5708" y="4873"/>
                </a:lnTo>
                <a:lnTo>
                  <a:pt x="5713" y="4868"/>
                </a:lnTo>
                <a:lnTo>
                  <a:pt x="5717" y="4862"/>
                </a:lnTo>
                <a:lnTo>
                  <a:pt x="5719" y="4857"/>
                </a:lnTo>
                <a:lnTo>
                  <a:pt x="5721" y="4852"/>
                </a:lnTo>
                <a:lnTo>
                  <a:pt x="5722" y="4845"/>
                </a:lnTo>
                <a:lnTo>
                  <a:pt x="5721" y="4839"/>
                </a:lnTo>
                <a:lnTo>
                  <a:pt x="5719" y="4834"/>
                </a:lnTo>
                <a:lnTo>
                  <a:pt x="5715" y="4829"/>
                </a:lnTo>
                <a:lnTo>
                  <a:pt x="5710" y="4824"/>
                </a:lnTo>
                <a:lnTo>
                  <a:pt x="5704" y="4819"/>
                </a:lnTo>
                <a:lnTo>
                  <a:pt x="5695" y="4814"/>
                </a:lnTo>
                <a:lnTo>
                  <a:pt x="5685" y="4809"/>
                </a:lnTo>
                <a:lnTo>
                  <a:pt x="5690" y="4796"/>
                </a:lnTo>
                <a:lnTo>
                  <a:pt x="5695" y="4783"/>
                </a:lnTo>
                <a:lnTo>
                  <a:pt x="5700" y="4768"/>
                </a:lnTo>
                <a:lnTo>
                  <a:pt x="5704" y="4754"/>
                </a:lnTo>
                <a:lnTo>
                  <a:pt x="5708" y="4738"/>
                </a:lnTo>
                <a:lnTo>
                  <a:pt x="5711" y="4722"/>
                </a:lnTo>
                <a:lnTo>
                  <a:pt x="5713" y="4707"/>
                </a:lnTo>
                <a:lnTo>
                  <a:pt x="5715" y="4691"/>
                </a:lnTo>
                <a:lnTo>
                  <a:pt x="5715" y="4675"/>
                </a:lnTo>
                <a:lnTo>
                  <a:pt x="5715" y="4660"/>
                </a:lnTo>
                <a:lnTo>
                  <a:pt x="5713" y="4645"/>
                </a:lnTo>
                <a:lnTo>
                  <a:pt x="5710" y="4631"/>
                </a:lnTo>
                <a:lnTo>
                  <a:pt x="5706" y="4617"/>
                </a:lnTo>
                <a:lnTo>
                  <a:pt x="5701" y="4604"/>
                </a:lnTo>
                <a:lnTo>
                  <a:pt x="5694" y="4591"/>
                </a:lnTo>
                <a:lnTo>
                  <a:pt x="5686" y="4579"/>
                </a:lnTo>
                <a:lnTo>
                  <a:pt x="5680" y="4573"/>
                </a:lnTo>
                <a:lnTo>
                  <a:pt x="5674" y="4569"/>
                </a:lnTo>
                <a:lnTo>
                  <a:pt x="5668" y="4565"/>
                </a:lnTo>
                <a:lnTo>
                  <a:pt x="5662" y="4563"/>
                </a:lnTo>
                <a:lnTo>
                  <a:pt x="5650" y="4560"/>
                </a:lnTo>
                <a:lnTo>
                  <a:pt x="5638" y="4558"/>
                </a:lnTo>
                <a:lnTo>
                  <a:pt x="5632" y="4557"/>
                </a:lnTo>
                <a:lnTo>
                  <a:pt x="5626" y="4556"/>
                </a:lnTo>
                <a:lnTo>
                  <a:pt x="5621" y="4554"/>
                </a:lnTo>
                <a:lnTo>
                  <a:pt x="5616" y="4551"/>
                </a:lnTo>
                <a:lnTo>
                  <a:pt x="5612" y="4546"/>
                </a:lnTo>
                <a:lnTo>
                  <a:pt x="5608" y="4541"/>
                </a:lnTo>
                <a:lnTo>
                  <a:pt x="5603" y="4533"/>
                </a:lnTo>
                <a:lnTo>
                  <a:pt x="5600" y="4524"/>
                </a:lnTo>
                <a:lnTo>
                  <a:pt x="5608" y="4522"/>
                </a:lnTo>
                <a:lnTo>
                  <a:pt x="5615" y="4518"/>
                </a:lnTo>
                <a:lnTo>
                  <a:pt x="5620" y="4515"/>
                </a:lnTo>
                <a:lnTo>
                  <a:pt x="5625" y="4510"/>
                </a:lnTo>
                <a:lnTo>
                  <a:pt x="5630" y="4505"/>
                </a:lnTo>
                <a:lnTo>
                  <a:pt x="5633" y="4499"/>
                </a:lnTo>
                <a:lnTo>
                  <a:pt x="5636" y="4493"/>
                </a:lnTo>
                <a:lnTo>
                  <a:pt x="5639" y="4486"/>
                </a:lnTo>
                <a:lnTo>
                  <a:pt x="5641" y="4479"/>
                </a:lnTo>
                <a:lnTo>
                  <a:pt x="5642" y="4470"/>
                </a:lnTo>
                <a:lnTo>
                  <a:pt x="5643" y="4462"/>
                </a:lnTo>
                <a:lnTo>
                  <a:pt x="5644" y="4453"/>
                </a:lnTo>
                <a:lnTo>
                  <a:pt x="5644" y="4436"/>
                </a:lnTo>
                <a:lnTo>
                  <a:pt x="5643" y="4417"/>
                </a:lnTo>
                <a:lnTo>
                  <a:pt x="5637" y="4378"/>
                </a:lnTo>
                <a:lnTo>
                  <a:pt x="5630" y="4337"/>
                </a:lnTo>
                <a:lnTo>
                  <a:pt x="5627" y="4319"/>
                </a:lnTo>
                <a:lnTo>
                  <a:pt x="5624" y="4301"/>
                </a:lnTo>
                <a:lnTo>
                  <a:pt x="5622" y="4285"/>
                </a:lnTo>
                <a:lnTo>
                  <a:pt x="5622" y="4270"/>
                </a:lnTo>
                <a:lnTo>
                  <a:pt x="5627" y="4268"/>
                </a:lnTo>
                <a:lnTo>
                  <a:pt x="5633" y="4268"/>
                </a:lnTo>
                <a:lnTo>
                  <a:pt x="5640" y="4268"/>
                </a:lnTo>
                <a:lnTo>
                  <a:pt x="5647" y="4268"/>
                </a:lnTo>
                <a:lnTo>
                  <a:pt x="5663" y="4270"/>
                </a:lnTo>
                <a:lnTo>
                  <a:pt x="5679" y="4272"/>
                </a:lnTo>
                <a:lnTo>
                  <a:pt x="5693" y="4275"/>
                </a:lnTo>
                <a:lnTo>
                  <a:pt x="5705" y="4276"/>
                </a:lnTo>
                <a:lnTo>
                  <a:pt x="5710" y="4275"/>
                </a:lnTo>
                <a:lnTo>
                  <a:pt x="5713" y="4274"/>
                </a:lnTo>
                <a:lnTo>
                  <a:pt x="5716" y="4273"/>
                </a:lnTo>
                <a:lnTo>
                  <a:pt x="5716" y="4270"/>
                </a:lnTo>
                <a:lnTo>
                  <a:pt x="5732" y="4271"/>
                </a:lnTo>
                <a:lnTo>
                  <a:pt x="5750" y="4274"/>
                </a:lnTo>
                <a:lnTo>
                  <a:pt x="5767" y="4279"/>
                </a:lnTo>
                <a:lnTo>
                  <a:pt x="5786" y="4284"/>
                </a:lnTo>
                <a:lnTo>
                  <a:pt x="5823" y="4296"/>
                </a:lnTo>
                <a:lnTo>
                  <a:pt x="5862" y="4306"/>
                </a:lnTo>
                <a:lnTo>
                  <a:pt x="5880" y="4309"/>
                </a:lnTo>
                <a:lnTo>
                  <a:pt x="5898" y="4310"/>
                </a:lnTo>
                <a:lnTo>
                  <a:pt x="5907" y="4309"/>
                </a:lnTo>
                <a:lnTo>
                  <a:pt x="5915" y="4308"/>
                </a:lnTo>
                <a:lnTo>
                  <a:pt x="5923" y="4307"/>
                </a:lnTo>
                <a:lnTo>
                  <a:pt x="5931" y="4304"/>
                </a:lnTo>
                <a:lnTo>
                  <a:pt x="5939" y="4301"/>
                </a:lnTo>
                <a:lnTo>
                  <a:pt x="5946" y="4296"/>
                </a:lnTo>
                <a:lnTo>
                  <a:pt x="5953" y="4291"/>
                </a:lnTo>
                <a:lnTo>
                  <a:pt x="5959" y="4285"/>
                </a:lnTo>
                <a:lnTo>
                  <a:pt x="5965" y="4278"/>
                </a:lnTo>
                <a:lnTo>
                  <a:pt x="5971" y="4269"/>
                </a:lnTo>
                <a:lnTo>
                  <a:pt x="5976" y="4259"/>
                </a:lnTo>
                <a:lnTo>
                  <a:pt x="5981" y="4248"/>
                </a:lnTo>
                <a:lnTo>
                  <a:pt x="5994" y="4254"/>
                </a:lnTo>
                <a:lnTo>
                  <a:pt x="6004" y="4260"/>
                </a:lnTo>
                <a:lnTo>
                  <a:pt x="6014" y="4266"/>
                </a:lnTo>
                <a:lnTo>
                  <a:pt x="6022" y="4271"/>
                </a:lnTo>
                <a:lnTo>
                  <a:pt x="6035" y="4282"/>
                </a:lnTo>
                <a:lnTo>
                  <a:pt x="6045" y="4293"/>
                </a:lnTo>
                <a:lnTo>
                  <a:pt x="6052" y="4302"/>
                </a:lnTo>
                <a:lnTo>
                  <a:pt x="6057" y="4311"/>
                </a:lnTo>
                <a:lnTo>
                  <a:pt x="6061" y="4319"/>
                </a:lnTo>
                <a:lnTo>
                  <a:pt x="6064" y="4326"/>
                </a:lnTo>
                <a:lnTo>
                  <a:pt x="6067" y="4332"/>
                </a:lnTo>
                <a:lnTo>
                  <a:pt x="6070" y="4336"/>
                </a:lnTo>
                <a:lnTo>
                  <a:pt x="6073" y="4337"/>
                </a:lnTo>
                <a:lnTo>
                  <a:pt x="6076" y="4338"/>
                </a:lnTo>
                <a:lnTo>
                  <a:pt x="6079" y="4339"/>
                </a:lnTo>
                <a:lnTo>
                  <a:pt x="6083" y="4339"/>
                </a:lnTo>
                <a:lnTo>
                  <a:pt x="6094" y="4338"/>
                </a:lnTo>
                <a:lnTo>
                  <a:pt x="6108" y="4335"/>
                </a:lnTo>
                <a:lnTo>
                  <a:pt x="6127" y="4330"/>
                </a:lnTo>
                <a:lnTo>
                  <a:pt x="6151" y="4322"/>
                </a:lnTo>
                <a:lnTo>
                  <a:pt x="6151" y="4326"/>
                </a:lnTo>
                <a:lnTo>
                  <a:pt x="6152" y="4330"/>
                </a:lnTo>
                <a:lnTo>
                  <a:pt x="6154" y="4335"/>
                </a:lnTo>
                <a:lnTo>
                  <a:pt x="6157" y="4340"/>
                </a:lnTo>
                <a:lnTo>
                  <a:pt x="6165" y="4353"/>
                </a:lnTo>
                <a:lnTo>
                  <a:pt x="6176" y="4367"/>
                </a:lnTo>
                <a:lnTo>
                  <a:pt x="6188" y="4382"/>
                </a:lnTo>
                <a:lnTo>
                  <a:pt x="6202" y="4398"/>
                </a:lnTo>
                <a:lnTo>
                  <a:pt x="6217" y="4414"/>
                </a:lnTo>
                <a:lnTo>
                  <a:pt x="6232" y="4430"/>
                </a:lnTo>
                <a:lnTo>
                  <a:pt x="6265" y="4461"/>
                </a:lnTo>
                <a:lnTo>
                  <a:pt x="6294" y="4488"/>
                </a:lnTo>
                <a:lnTo>
                  <a:pt x="6306" y="4499"/>
                </a:lnTo>
                <a:lnTo>
                  <a:pt x="6317" y="4507"/>
                </a:lnTo>
                <a:lnTo>
                  <a:pt x="6325" y="4511"/>
                </a:lnTo>
                <a:lnTo>
                  <a:pt x="6330" y="4513"/>
                </a:lnTo>
                <a:lnTo>
                  <a:pt x="6330" y="4518"/>
                </a:lnTo>
                <a:lnTo>
                  <a:pt x="6330" y="4525"/>
                </a:lnTo>
                <a:lnTo>
                  <a:pt x="6331" y="4533"/>
                </a:lnTo>
                <a:lnTo>
                  <a:pt x="6333" y="4542"/>
                </a:lnTo>
                <a:lnTo>
                  <a:pt x="6334" y="4547"/>
                </a:lnTo>
                <a:lnTo>
                  <a:pt x="6336" y="4551"/>
                </a:lnTo>
                <a:lnTo>
                  <a:pt x="6339" y="4555"/>
                </a:lnTo>
                <a:lnTo>
                  <a:pt x="6342" y="4558"/>
                </a:lnTo>
                <a:lnTo>
                  <a:pt x="6346" y="4561"/>
                </a:lnTo>
                <a:lnTo>
                  <a:pt x="6350" y="4564"/>
                </a:lnTo>
                <a:lnTo>
                  <a:pt x="6355" y="4565"/>
                </a:lnTo>
                <a:lnTo>
                  <a:pt x="6361" y="4566"/>
                </a:lnTo>
                <a:lnTo>
                  <a:pt x="6361" y="4571"/>
                </a:lnTo>
                <a:lnTo>
                  <a:pt x="6361" y="4574"/>
                </a:lnTo>
                <a:lnTo>
                  <a:pt x="6360" y="4577"/>
                </a:lnTo>
                <a:lnTo>
                  <a:pt x="6358" y="4578"/>
                </a:lnTo>
                <a:lnTo>
                  <a:pt x="6355" y="4577"/>
                </a:lnTo>
                <a:lnTo>
                  <a:pt x="6351" y="4576"/>
                </a:lnTo>
                <a:lnTo>
                  <a:pt x="6349" y="4576"/>
                </a:lnTo>
                <a:lnTo>
                  <a:pt x="6347" y="4576"/>
                </a:lnTo>
                <a:lnTo>
                  <a:pt x="6345" y="4577"/>
                </a:lnTo>
                <a:lnTo>
                  <a:pt x="6344" y="4580"/>
                </a:lnTo>
                <a:lnTo>
                  <a:pt x="6343" y="4584"/>
                </a:lnTo>
                <a:lnTo>
                  <a:pt x="6341" y="4589"/>
                </a:lnTo>
                <a:lnTo>
                  <a:pt x="6341" y="4597"/>
                </a:lnTo>
                <a:lnTo>
                  <a:pt x="6341" y="4608"/>
                </a:lnTo>
                <a:lnTo>
                  <a:pt x="6352" y="4610"/>
                </a:lnTo>
                <a:lnTo>
                  <a:pt x="6370" y="4612"/>
                </a:lnTo>
                <a:lnTo>
                  <a:pt x="6390" y="4614"/>
                </a:lnTo>
                <a:lnTo>
                  <a:pt x="6412" y="4615"/>
                </a:lnTo>
                <a:lnTo>
                  <a:pt x="6423" y="4614"/>
                </a:lnTo>
                <a:lnTo>
                  <a:pt x="6433" y="4613"/>
                </a:lnTo>
                <a:lnTo>
                  <a:pt x="6442" y="4612"/>
                </a:lnTo>
                <a:lnTo>
                  <a:pt x="6451" y="4609"/>
                </a:lnTo>
                <a:lnTo>
                  <a:pt x="6458" y="4605"/>
                </a:lnTo>
                <a:lnTo>
                  <a:pt x="6463" y="4601"/>
                </a:lnTo>
                <a:lnTo>
                  <a:pt x="6465" y="4597"/>
                </a:lnTo>
                <a:lnTo>
                  <a:pt x="6467" y="4594"/>
                </a:lnTo>
                <a:lnTo>
                  <a:pt x="6467" y="4590"/>
                </a:lnTo>
                <a:lnTo>
                  <a:pt x="6468" y="4587"/>
                </a:lnTo>
                <a:lnTo>
                  <a:pt x="6480" y="4586"/>
                </a:lnTo>
                <a:lnTo>
                  <a:pt x="6493" y="4583"/>
                </a:lnTo>
                <a:lnTo>
                  <a:pt x="6504" y="4578"/>
                </a:lnTo>
                <a:lnTo>
                  <a:pt x="6515" y="4573"/>
                </a:lnTo>
                <a:lnTo>
                  <a:pt x="6525" y="4565"/>
                </a:lnTo>
                <a:lnTo>
                  <a:pt x="6535" y="4557"/>
                </a:lnTo>
                <a:lnTo>
                  <a:pt x="6544" y="4547"/>
                </a:lnTo>
                <a:lnTo>
                  <a:pt x="6552" y="4537"/>
                </a:lnTo>
                <a:lnTo>
                  <a:pt x="6559" y="4526"/>
                </a:lnTo>
                <a:lnTo>
                  <a:pt x="6565" y="4514"/>
                </a:lnTo>
                <a:lnTo>
                  <a:pt x="6571" y="4502"/>
                </a:lnTo>
                <a:lnTo>
                  <a:pt x="6576" y="4489"/>
                </a:lnTo>
                <a:lnTo>
                  <a:pt x="6579" y="4477"/>
                </a:lnTo>
                <a:lnTo>
                  <a:pt x="6582" y="4463"/>
                </a:lnTo>
                <a:lnTo>
                  <a:pt x="6584" y="4451"/>
                </a:lnTo>
                <a:lnTo>
                  <a:pt x="6584" y="4439"/>
                </a:lnTo>
                <a:lnTo>
                  <a:pt x="6588" y="4437"/>
                </a:lnTo>
                <a:lnTo>
                  <a:pt x="6592" y="4437"/>
                </a:lnTo>
                <a:lnTo>
                  <a:pt x="6597" y="4438"/>
                </a:lnTo>
                <a:lnTo>
                  <a:pt x="6602" y="4441"/>
                </a:lnTo>
                <a:lnTo>
                  <a:pt x="6606" y="4445"/>
                </a:lnTo>
                <a:lnTo>
                  <a:pt x="6611" y="4450"/>
                </a:lnTo>
                <a:lnTo>
                  <a:pt x="6617" y="4456"/>
                </a:lnTo>
                <a:lnTo>
                  <a:pt x="6622" y="4463"/>
                </a:lnTo>
                <a:lnTo>
                  <a:pt x="6633" y="4481"/>
                </a:lnTo>
                <a:lnTo>
                  <a:pt x="6643" y="4501"/>
                </a:lnTo>
                <a:lnTo>
                  <a:pt x="6655" y="4522"/>
                </a:lnTo>
                <a:lnTo>
                  <a:pt x="6666" y="4545"/>
                </a:lnTo>
                <a:lnTo>
                  <a:pt x="6677" y="4568"/>
                </a:lnTo>
                <a:lnTo>
                  <a:pt x="6689" y="4590"/>
                </a:lnTo>
                <a:lnTo>
                  <a:pt x="6700" y="4612"/>
                </a:lnTo>
                <a:lnTo>
                  <a:pt x="6711" y="4632"/>
                </a:lnTo>
                <a:lnTo>
                  <a:pt x="6722" y="4648"/>
                </a:lnTo>
                <a:lnTo>
                  <a:pt x="6733" y="4661"/>
                </a:lnTo>
                <a:lnTo>
                  <a:pt x="6738" y="4665"/>
                </a:lnTo>
                <a:lnTo>
                  <a:pt x="6744" y="4669"/>
                </a:lnTo>
                <a:lnTo>
                  <a:pt x="6749" y="4671"/>
                </a:lnTo>
                <a:lnTo>
                  <a:pt x="6754" y="4672"/>
                </a:lnTo>
                <a:lnTo>
                  <a:pt x="6762" y="4683"/>
                </a:lnTo>
                <a:lnTo>
                  <a:pt x="6771" y="4695"/>
                </a:lnTo>
                <a:lnTo>
                  <a:pt x="6782" y="4707"/>
                </a:lnTo>
                <a:lnTo>
                  <a:pt x="6794" y="4720"/>
                </a:lnTo>
                <a:lnTo>
                  <a:pt x="6820" y="4747"/>
                </a:lnTo>
                <a:lnTo>
                  <a:pt x="6847" y="4774"/>
                </a:lnTo>
                <a:lnTo>
                  <a:pt x="6860" y="4787"/>
                </a:lnTo>
                <a:lnTo>
                  <a:pt x="6873" y="4800"/>
                </a:lnTo>
                <a:lnTo>
                  <a:pt x="6884" y="4813"/>
                </a:lnTo>
                <a:lnTo>
                  <a:pt x="6893" y="4826"/>
                </a:lnTo>
                <a:lnTo>
                  <a:pt x="6901" y="4838"/>
                </a:lnTo>
                <a:lnTo>
                  <a:pt x="6907" y="4850"/>
                </a:lnTo>
                <a:lnTo>
                  <a:pt x="6910" y="4857"/>
                </a:lnTo>
                <a:lnTo>
                  <a:pt x="6911" y="4862"/>
                </a:lnTo>
                <a:lnTo>
                  <a:pt x="6912" y="4868"/>
                </a:lnTo>
                <a:lnTo>
                  <a:pt x="6913" y="4873"/>
                </a:lnTo>
                <a:lnTo>
                  <a:pt x="6931" y="4888"/>
                </a:lnTo>
                <a:lnTo>
                  <a:pt x="6948" y="4902"/>
                </a:lnTo>
                <a:lnTo>
                  <a:pt x="6952" y="4906"/>
                </a:lnTo>
                <a:lnTo>
                  <a:pt x="6955" y="4911"/>
                </a:lnTo>
                <a:lnTo>
                  <a:pt x="6958" y="4917"/>
                </a:lnTo>
                <a:lnTo>
                  <a:pt x="6960" y="4925"/>
                </a:lnTo>
                <a:lnTo>
                  <a:pt x="6962" y="4933"/>
                </a:lnTo>
                <a:lnTo>
                  <a:pt x="6964" y="4943"/>
                </a:lnTo>
                <a:lnTo>
                  <a:pt x="6965" y="4954"/>
                </a:lnTo>
                <a:lnTo>
                  <a:pt x="6965" y="4968"/>
                </a:lnTo>
                <a:lnTo>
                  <a:pt x="6968" y="4967"/>
                </a:lnTo>
                <a:lnTo>
                  <a:pt x="6971" y="4966"/>
                </a:lnTo>
                <a:lnTo>
                  <a:pt x="6975" y="4965"/>
                </a:lnTo>
                <a:lnTo>
                  <a:pt x="6978" y="4962"/>
                </a:lnTo>
                <a:lnTo>
                  <a:pt x="6986" y="4957"/>
                </a:lnTo>
                <a:lnTo>
                  <a:pt x="6994" y="4950"/>
                </a:lnTo>
                <a:lnTo>
                  <a:pt x="7010" y="4934"/>
                </a:lnTo>
                <a:lnTo>
                  <a:pt x="7025" y="4919"/>
                </a:lnTo>
                <a:lnTo>
                  <a:pt x="7033" y="4913"/>
                </a:lnTo>
                <a:lnTo>
                  <a:pt x="7039" y="4910"/>
                </a:lnTo>
                <a:lnTo>
                  <a:pt x="7042" y="4909"/>
                </a:lnTo>
                <a:lnTo>
                  <a:pt x="7045" y="4908"/>
                </a:lnTo>
                <a:lnTo>
                  <a:pt x="7048" y="4909"/>
                </a:lnTo>
                <a:lnTo>
                  <a:pt x="7050" y="4910"/>
                </a:lnTo>
                <a:lnTo>
                  <a:pt x="7053" y="4912"/>
                </a:lnTo>
                <a:lnTo>
                  <a:pt x="7055" y="4915"/>
                </a:lnTo>
                <a:lnTo>
                  <a:pt x="7057" y="4919"/>
                </a:lnTo>
                <a:lnTo>
                  <a:pt x="7058" y="4925"/>
                </a:lnTo>
                <a:lnTo>
                  <a:pt x="7060" y="4938"/>
                </a:lnTo>
                <a:lnTo>
                  <a:pt x="7061" y="4957"/>
                </a:lnTo>
                <a:lnTo>
                  <a:pt x="7067" y="4958"/>
                </a:lnTo>
                <a:lnTo>
                  <a:pt x="7074" y="4960"/>
                </a:lnTo>
                <a:lnTo>
                  <a:pt x="7083" y="4963"/>
                </a:lnTo>
                <a:lnTo>
                  <a:pt x="7092" y="4968"/>
                </a:lnTo>
                <a:lnTo>
                  <a:pt x="7101" y="4974"/>
                </a:lnTo>
                <a:lnTo>
                  <a:pt x="7111" y="4981"/>
                </a:lnTo>
                <a:lnTo>
                  <a:pt x="7122" y="4988"/>
                </a:lnTo>
                <a:lnTo>
                  <a:pt x="7132" y="4997"/>
                </a:lnTo>
                <a:lnTo>
                  <a:pt x="7142" y="5005"/>
                </a:lnTo>
                <a:lnTo>
                  <a:pt x="7151" y="5014"/>
                </a:lnTo>
                <a:lnTo>
                  <a:pt x="7160" y="5024"/>
                </a:lnTo>
                <a:lnTo>
                  <a:pt x="7168" y="5034"/>
                </a:lnTo>
                <a:lnTo>
                  <a:pt x="7175" y="5044"/>
                </a:lnTo>
                <a:lnTo>
                  <a:pt x="7180" y="5054"/>
                </a:lnTo>
                <a:lnTo>
                  <a:pt x="7185" y="5064"/>
                </a:lnTo>
                <a:lnTo>
                  <a:pt x="7188" y="5073"/>
                </a:lnTo>
                <a:lnTo>
                  <a:pt x="7175" y="5074"/>
                </a:lnTo>
                <a:lnTo>
                  <a:pt x="7166" y="5077"/>
                </a:lnTo>
                <a:lnTo>
                  <a:pt x="7162" y="5078"/>
                </a:lnTo>
                <a:lnTo>
                  <a:pt x="7159" y="5080"/>
                </a:lnTo>
                <a:lnTo>
                  <a:pt x="7157" y="5082"/>
                </a:lnTo>
                <a:lnTo>
                  <a:pt x="7155" y="5085"/>
                </a:lnTo>
                <a:lnTo>
                  <a:pt x="7152" y="5091"/>
                </a:lnTo>
                <a:lnTo>
                  <a:pt x="7151" y="5097"/>
                </a:lnTo>
                <a:lnTo>
                  <a:pt x="7152" y="5104"/>
                </a:lnTo>
                <a:lnTo>
                  <a:pt x="7153" y="5111"/>
                </a:lnTo>
                <a:lnTo>
                  <a:pt x="7156" y="5125"/>
                </a:lnTo>
                <a:lnTo>
                  <a:pt x="7158" y="5137"/>
                </a:lnTo>
                <a:lnTo>
                  <a:pt x="7157" y="5141"/>
                </a:lnTo>
                <a:lnTo>
                  <a:pt x="7155" y="5145"/>
                </a:lnTo>
                <a:lnTo>
                  <a:pt x="7154" y="5146"/>
                </a:lnTo>
                <a:lnTo>
                  <a:pt x="7151" y="5147"/>
                </a:lnTo>
                <a:lnTo>
                  <a:pt x="7149" y="5148"/>
                </a:lnTo>
                <a:lnTo>
                  <a:pt x="7145" y="5148"/>
                </a:lnTo>
                <a:lnTo>
                  <a:pt x="7145" y="5155"/>
                </a:lnTo>
                <a:lnTo>
                  <a:pt x="7144" y="5160"/>
                </a:lnTo>
                <a:lnTo>
                  <a:pt x="7141" y="5165"/>
                </a:lnTo>
                <a:lnTo>
                  <a:pt x="7138" y="5170"/>
                </a:lnTo>
                <a:lnTo>
                  <a:pt x="7135" y="5173"/>
                </a:lnTo>
                <a:lnTo>
                  <a:pt x="7130" y="5176"/>
                </a:lnTo>
                <a:lnTo>
                  <a:pt x="7125" y="5179"/>
                </a:lnTo>
                <a:lnTo>
                  <a:pt x="7118" y="5181"/>
                </a:lnTo>
                <a:lnTo>
                  <a:pt x="7106" y="5184"/>
                </a:lnTo>
                <a:lnTo>
                  <a:pt x="7091" y="5185"/>
                </a:lnTo>
                <a:lnTo>
                  <a:pt x="7075" y="5184"/>
                </a:lnTo>
                <a:lnTo>
                  <a:pt x="7059" y="5182"/>
                </a:lnTo>
                <a:lnTo>
                  <a:pt x="7025" y="5176"/>
                </a:lnTo>
                <a:lnTo>
                  <a:pt x="6991" y="5169"/>
                </a:lnTo>
                <a:lnTo>
                  <a:pt x="6963" y="5162"/>
                </a:lnTo>
                <a:lnTo>
                  <a:pt x="6944" y="5159"/>
                </a:lnTo>
                <a:lnTo>
                  <a:pt x="6939" y="5179"/>
                </a:lnTo>
                <a:lnTo>
                  <a:pt x="6932" y="5197"/>
                </a:lnTo>
                <a:lnTo>
                  <a:pt x="6924" y="5212"/>
                </a:lnTo>
                <a:lnTo>
                  <a:pt x="6914" y="5226"/>
                </a:lnTo>
                <a:lnTo>
                  <a:pt x="6904" y="5239"/>
                </a:lnTo>
                <a:lnTo>
                  <a:pt x="6892" y="5250"/>
                </a:lnTo>
                <a:lnTo>
                  <a:pt x="6879" y="5259"/>
                </a:lnTo>
                <a:lnTo>
                  <a:pt x="6864" y="5266"/>
                </a:lnTo>
                <a:lnTo>
                  <a:pt x="6849" y="5272"/>
                </a:lnTo>
                <a:lnTo>
                  <a:pt x="6834" y="5276"/>
                </a:lnTo>
                <a:lnTo>
                  <a:pt x="6817" y="5280"/>
                </a:lnTo>
                <a:lnTo>
                  <a:pt x="6800" y="5282"/>
                </a:lnTo>
                <a:lnTo>
                  <a:pt x="6782" y="5284"/>
                </a:lnTo>
                <a:lnTo>
                  <a:pt x="6763" y="5284"/>
                </a:lnTo>
                <a:lnTo>
                  <a:pt x="6744" y="5284"/>
                </a:lnTo>
                <a:lnTo>
                  <a:pt x="6724" y="5283"/>
                </a:lnTo>
                <a:lnTo>
                  <a:pt x="6643" y="5277"/>
                </a:lnTo>
                <a:lnTo>
                  <a:pt x="6559" y="5270"/>
                </a:lnTo>
                <a:lnTo>
                  <a:pt x="6538" y="5269"/>
                </a:lnTo>
                <a:lnTo>
                  <a:pt x="6518" y="5268"/>
                </a:lnTo>
                <a:lnTo>
                  <a:pt x="6498" y="5268"/>
                </a:lnTo>
                <a:lnTo>
                  <a:pt x="6477" y="5269"/>
                </a:lnTo>
                <a:lnTo>
                  <a:pt x="6458" y="5271"/>
                </a:lnTo>
                <a:lnTo>
                  <a:pt x="6440" y="5273"/>
                </a:lnTo>
                <a:lnTo>
                  <a:pt x="6421" y="5277"/>
                </a:lnTo>
                <a:lnTo>
                  <a:pt x="6404" y="5282"/>
                </a:lnTo>
                <a:lnTo>
                  <a:pt x="6395" y="5285"/>
                </a:lnTo>
                <a:lnTo>
                  <a:pt x="6385" y="5289"/>
                </a:lnTo>
                <a:lnTo>
                  <a:pt x="6375" y="5295"/>
                </a:lnTo>
                <a:lnTo>
                  <a:pt x="6364" y="5301"/>
                </a:lnTo>
                <a:lnTo>
                  <a:pt x="6341" y="5316"/>
                </a:lnTo>
                <a:lnTo>
                  <a:pt x="6318" y="5335"/>
                </a:lnTo>
                <a:lnTo>
                  <a:pt x="6294" y="5356"/>
                </a:lnTo>
                <a:lnTo>
                  <a:pt x="6270" y="5379"/>
                </a:lnTo>
                <a:lnTo>
                  <a:pt x="6247" y="5404"/>
                </a:lnTo>
                <a:lnTo>
                  <a:pt x="6223" y="5430"/>
                </a:lnTo>
                <a:lnTo>
                  <a:pt x="6201" y="5456"/>
                </a:lnTo>
                <a:lnTo>
                  <a:pt x="6180" y="5485"/>
                </a:lnTo>
                <a:lnTo>
                  <a:pt x="6162" y="5512"/>
                </a:lnTo>
                <a:lnTo>
                  <a:pt x="6145" y="5539"/>
                </a:lnTo>
                <a:lnTo>
                  <a:pt x="6138" y="5552"/>
                </a:lnTo>
                <a:lnTo>
                  <a:pt x="6131" y="5565"/>
                </a:lnTo>
                <a:lnTo>
                  <a:pt x="6125" y="5578"/>
                </a:lnTo>
                <a:lnTo>
                  <a:pt x="6120" y="5590"/>
                </a:lnTo>
                <a:lnTo>
                  <a:pt x="6116" y="5602"/>
                </a:lnTo>
                <a:lnTo>
                  <a:pt x="6112" y="5614"/>
                </a:lnTo>
                <a:lnTo>
                  <a:pt x="6109" y="5625"/>
                </a:lnTo>
                <a:lnTo>
                  <a:pt x="6107" y="5635"/>
                </a:lnTo>
                <a:lnTo>
                  <a:pt x="6119" y="5635"/>
                </a:lnTo>
                <a:lnTo>
                  <a:pt x="6130" y="5634"/>
                </a:lnTo>
                <a:lnTo>
                  <a:pt x="6140" y="5633"/>
                </a:lnTo>
                <a:lnTo>
                  <a:pt x="6150" y="5631"/>
                </a:lnTo>
                <a:lnTo>
                  <a:pt x="6168" y="5626"/>
                </a:lnTo>
                <a:lnTo>
                  <a:pt x="6186" y="5619"/>
                </a:lnTo>
                <a:lnTo>
                  <a:pt x="6203" y="5611"/>
                </a:lnTo>
                <a:lnTo>
                  <a:pt x="6219" y="5601"/>
                </a:lnTo>
                <a:lnTo>
                  <a:pt x="6234" y="5590"/>
                </a:lnTo>
                <a:lnTo>
                  <a:pt x="6251" y="5579"/>
                </a:lnTo>
                <a:lnTo>
                  <a:pt x="6281" y="5556"/>
                </a:lnTo>
                <a:lnTo>
                  <a:pt x="6312" y="5534"/>
                </a:lnTo>
                <a:lnTo>
                  <a:pt x="6329" y="5523"/>
                </a:lnTo>
                <a:lnTo>
                  <a:pt x="6346" y="5513"/>
                </a:lnTo>
                <a:lnTo>
                  <a:pt x="6365" y="5505"/>
                </a:lnTo>
                <a:lnTo>
                  <a:pt x="6383" y="5497"/>
                </a:lnTo>
                <a:lnTo>
                  <a:pt x="6399" y="5497"/>
                </a:lnTo>
                <a:lnTo>
                  <a:pt x="6412" y="5495"/>
                </a:lnTo>
                <a:lnTo>
                  <a:pt x="6425" y="5492"/>
                </a:lnTo>
                <a:lnTo>
                  <a:pt x="6437" y="5489"/>
                </a:lnTo>
                <a:lnTo>
                  <a:pt x="6447" y="5485"/>
                </a:lnTo>
                <a:lnTo>
                  <a:pt x="6457" y="5479"/>
                </a:lnTo>
                <a:lnTo>
                  <a:pt x="6467" y="5473"/>
                </a:lnTo>
                <a:lnTo>
                  <a:pt x="6476" y="5468"/>
                </a:lnTo>
                <a:lnTo>
                  <a:pt x="6495" y="5456"/>
                </a:lnTo>
                <a:lnTo>
                  <a:pt x="6515" y="5444"/>
                </a:lnTo>
                <a:lnTo>
                  <a:pt x="6526" y="5438"/>
                </a:lnTo>
                <a:lnTo>
                  <a:pt x="6537" y="5432"/>
                </a:lnTo>
                <a:lnTo>
                  <a:pt x="6550" y="5427"/>
                </a:lnTo>
                <a:lnTo>
                  <a:pt x="6563" y="5423"/>
                </a:lnTo>
                <a:lnTo>
                  <a:pt x="6564" y="5427"/>
                </a:lnTo>
                <a:lnTo>
                  <a:pt x="6564" y="5430"/>
                </a:lnTo>
                <a:lnTo>
                  <a:pt x="6565" y="5432"/>
                </a:lnTo>
                <a:lnTo>
                  <a:pt x="6567" y="5434"/>
                </a:lnTo>
                <a:lnTo>
                  <a:pt x="6570" y="5437"/>
                </a:lnTo>
                <a:lnTo>
                  <a:pt x="6574" y="5439"/>
                </a:lnTo>
                <a:lnTo>
                  <a:pt x="6578" y="5441"/>
                </a:lnTo>
                <a:lnTo>
                  <a:pt x="6581" y="5444"/>
                </a:lnTo>
                <a:lnTo>
                  <a:pt x="6582" y="5446"/>
                </a:lnTo>
                <a:lnTo>
                  <a:pt x="6583" y="5448"/>
                </a:lnTo>
                <a:lnTo>
                  <a:pt x="6584" y="5451"/>
                </a:lnTo>
                <a:lnTo>
                  <a:pt x="6584" y="5455"/>
                </a:lnTo>
                <a:lnTo>
                  <a:pt x="6571" y="5455"/>
                </a:lnTo>
                <a:lnTo>
                  <a:pt x="6559" y="5456"/>
                </a:lnTo>
                <a:lnTo>
                  <a:pt x="6548" y="5457"/>
                </a:lnTo>
                <a:lnTo>
                  <a:pt x="6539" y="5459"/>
                </a:lnTo>
                <a:lnTo>
                  <a:pt x="6531" y="5461"/>
                </a:lnTo>
                <a:lnTo>
                  <a:pt x="6524" y="5464"/>
                </a:lnTo>
                <a:lnTo>
                  <a:pt x="6518" y="5467"/>
                </a:lnTo>
                <a:lnTo>
                  <a:pt x="6513" y="5471"/>
                </a:lnTo>
                <a:lnTo>
                  <a:pt x="6509" y="5475"/>
                </a:lnTo>
                <a:lnTo>
                  <a:pt x="6506" y="5479"/>
                </a:lnTo>
                <a:lnTo>
                  <a:pt x="6503" y="5485"/>
                </a:lnTo>
                <a:lnTo>
                  <a:pt x="6502" y="5490"/>
                </a:lnTo>
                <a:lnTo>
                  <a:pt x="6502" y="5495"/>
                </a:lnTo>
                <a:lnTo>
                  <a:pt x="6502" y="5501"/>
                </a:lnTo>
                <a:lnTo>
                  <a:pt x="6503" y="5507"/>
                </a:lnTo>
                <a:lnTo>
                  <a:pt x="6504" y="5513"/>
                </a:lnTo>
                <a:lnTo>
                  <a:pt x="6509" y="5526"/>
                </a:lnTo>
                <a:lnTo>
                  <a:pt x="6515" y="5539"/>
                </a:lnTo>
                <a:lnTo>
                  <a:pt x="6523" y="5553"/>
                </a:lnTo>
                <a:lnTo>
                  <a:pt x="6532" y="5567"/>
                </a:lnTo>
                <a:lnTo>
                  <a:pt x="6551" y="5596"/>
                </a:lnTo>
                <a:lnTo>
                  <a:pt x="6569" y="5624"/>
                </a:lnTo>
                <a:lnTo>
                  <a:pt x="6577" y="5636"/>
                </a:lnTo>
                <a:lnTo>
                  <a:pt x="6585" y="5647"/>
                </a:lnTo>
                <a:lnTo>
                  <a:pt x="6593" y="5658"/>
                </a:lnTo>
                <a:lnTo>
                  <a:pt x="6602" y="5667"/>
                </a:lnTo>
                <a:lnTo>
                  <a:pt x="6610" y="5675"/>
                </a:lnTo>
                <a:lnTo>
                  <a:pt x="6620" y="5683"/>
                </a:lnTo>
                <a:lnTo>
                  <a:pt x="6629" y="5690"/>
                </a:lnTo>
                <a:lnTo>
                  <a:pt x="6638" y="5696"/>
                </a:lnTo>
                <a:lnTo>
                  <a:pt x="6648" y="5701"/>
                </a:lnTo>
                <a:lnTo>
                  <a:pt x="6658" y="5705"/>
                </a:lnTo>
                <a:lnTo>
                  <a:pt x="6668" y="5709"/>
                </a:lnTo>
                <a:lnTo>
                  <a:pt x="6678" y="5712"/>
                </a:lnTo>
                <a:lnTo>
                  <a:pt x="6688" y="5715"/>
                </a:lnTo>
                <a:lnTo>
                  <a:pt x="6699" y="5717"/>
                </a:lnTo>
                <a:lnTo>
                  <a:pt x="6710" y="5718"/>
                </a:lnTo>
                <a:lnTo>
                  <a:pt x="6722" y="5719"/>
                </a:lnTo>
                <a:lnTo>
                  <a:pt x="6718" y="5727"/>
                </a:lnTo>
                <a:lnTo>
                  <a:pt x="6713" y="5734"/>
                </a:lnTo>
                <a:lnTo>
                  <a:pt x="6707" y="5739"/>
                </a:lnTo>
                <a:lnTo>
                  <a:pt x="6700" y="5742"/>
                </a:lnTo>
                <a:lnTo>
                  <a:pt x="6685" y="5747"/>
                </a:lnTo>
                <a:lnTo>
                  <a:pt x="6669" y="5749"/>
                </a:lnTo>
                <a:lnTo>
                  <a:pt x="6661" y="5750"/>
                </a:lnTo>
                <a:lnTo>
                  <a:pt x="6653" y="5752"/>
                </a:lnTo>
                <a:lnTo>
                  <a:pt x="6646" y="5754"/>
                </a:lnTo>
                <a:lnTo>
                  <a:pt x="6640" y="5757"/>
                </a:lnTo>
                <a:lnTo>
                  <a:pt x="6635" y="5761"/>
                </a:lnTo>
                <a:lnTo>
                  <a:pt x="6631" y="5767"/>
                </a:lnTo>
                <a:lnTo>
                  <a:pt x="6628" y="5774"/>
                </a:lnTo>
                <a:lnTo>
                  <a:pt x="6627" y="5783"/>
                </a:lnTo>
                <a:lnTo>
                  <a:pt x="6601" y="5792"/>
                </a:lnTo>
                <a:lnTo>
                  <a:pt x="6572" y="5805"/>
                </a:lnTo>
                <a:lnTo>
                  <a:pt x="6559" y="5812"/>
                </a:lnTo>
                <a:lnTo>
                  <a:pt x="6547" y="5819"/>
                </a:lnTo>
                <a:lnTo>
                  <a:pt x="6542" y="5823"/>
                </a:lnTo>
                <a:lnTo>
                  <a:pt x="6537" y="5827"/>
                </a:lnTo>
                <a:lnTo>
                  <a:pt x="6534" y="5831"/>
                </a:lnTo>
                <a:lnTo>
                  <a:pt x="6531" y="5836"/>
                </a:lnTo>
                <a:lnTo>
                  <a:pt x="6478" y="5841"/>
                </a:lnTo>
                <a:lnTo>
                  <a:pt x="6446" y="5844"/>
                </a:lnTo>
                <a:lnTo>
                  <a:pt x="6436" y="5844"/>
                </a:lnTo>
                <a:lnTo>
                  <a:pt x="6430" y="5844"/>
                </a:lnTo>
                <a:lnTo>
                  <a:pt x="6428" y="5844"/>
                </a:lnTo>
                <a:lnTo>
                  <a:pt x="6426" y="5843"/>
                </a:lnTo>
                <a:lnTo>
                  <a:pt x="6426" y="5842"/>
                </a:lnTo>
                <a:lnTo>
                  <a:pt x="6426" y="5841"/>
                </a:lnTo>
                <a:lnTo>
                  <a:pt x="6430" y="5836"/>
                </a:lnTo>
                <a:lnTo>
                  <a:pt x="6439" y="5827"/>
                </a:lnTo>
                <a:lnTo>
                  <a:pt x="6444" y="5822"/>
                </a:lnTo>
                <a:lnTo>
                  <a:pt x="6449" y="5816"/>
                </a:lnTo>
                <a:lnTo>
                  <a:pt x="6453" y="5809"/>
                </a:lnTo>
                <a:lnTo>
                  <a:pt x="6456" y="5802"/>
                </a:lnTo>
                <a:lnTo>
                  <a:pt x="6458" y="5805"/>
                </a:lnTo>
                <a:lnTo>
                  <a:pt x="6461" y="5806"/>
                </a:lnTo>
                <a:lnTo>
                  <a:pt x="6465" y="5808"/>
                </a:lnTo>
                <a:lnTo>
                  <a:pt x="6469" y="5809"/>
                </a:lnTo>
                <a:lnTo>
                  <a:pt x="6480" y="5809"/>
                </a:lnTo>
                <a:lnTo>
                  <a:pt x="6492" y="5808"/>
                </a:lnTo>
                <a:lnTo>
                  <a:pt x="6513" y="5806"/>
                </a:lnTo>
                <a:lnTo>
                  <a:pt x="6521" y="5804"/>
                </a:lnTo>
                <a:lnTo>
                  <a:pt x="6517" y="5788"/>
                </a:lnTo>
                <a:lnTo>
                  <a:pt x="6513" y="5775"/>
                </a:lnTo>
                <a:lnTo>
                  <a:pt x="6509" y="5766"/>
                </a:lnTo>
                <a:lnTo>
                  <a:pt x="6507" y="5759"/>
                </a:lnTo>
                <a:lnTo>
                  <a:pt x="6505" y="5753"/>
                </a:lnTo>
                <a:lnTo>
                  <a:pt x="6505" y="5747"/>
                </a:lnTo>
                <a:lnTo>
                  <a:pt x="6507" y="5740"/>
                </a:lnTo>
                <a:lnTo>
                  <a:pt x="6511" y="5730"/>
                </a:lnTo>
                <a:lnTo>
                  <a:pt x="6494" y="5730"/>
                </a:lnTo>
                <a:lnTo>
                  <a:pt x="6477" y="5731"/>
                </a:lnTo>
                <a:lnTo>
                  <a:pt x="6463" y="5734"/>
                </a:lnTo>
                <a:lnTo>
                  <a:pt x="6449" y="5737"/>
                </a:lnTo>
                <a:lnTo>
                  <a:pt x="6422" y="5744"/>
                </a:lnTo>
                <a:lnTo>
                  <a:pt x="6398" y="5752"/>
                </a:lnTo>
                <a:lnTo>
                  <a:pt x="6374" y="5759"/>
                </a:lnTo>
                <a:lnTo>
                  <a:pt x="6350" y="5766"/>
                </a:lnTo>
                <a:lnTo>
                  <a:pt x="6338" y="5769"/>
                </a:lnTo>
                <a:lnTo>
                  <a:pt x="6325" y="5771"/>
                </a:lnTo>
                <a:lnTo>
                  <a:pt x="6312" y="5772"/>
                </a:lnTo>
                <a:lnTo>
                  <a:pt x="6299" y="5773"/>
                </a:lnTo>
                <a:lnTo>
                  <a:pt x="6292" y="5783"/>
                </a:lnTo>
                <a:lnTo>
                  <a:pt x="6281" y="5796"/>
                </a:lnTo>
                <a:lnTo>
                  <a:pt x="6267" y="5810"/>
                </a:lnTo>
                <a:lnTo>
                  <a:pt x="6252" y="5824"/>
                </a:lnTo>
                <a:lnTo>
                  <a:pt x="6235" y="5837"/>
                </a:lnTo>
                <a:lnTo>
                  <a:pt x="6219" y="5847"/>
                </a:lnTo>
                <a:lnTo>
                  <a:pt x="6212" y="5851"/>
                </a:lnTo>
                <a:lnTo>
                  <a:pt x="6205" y="5854"/>
                </a:lnTo>
                <a:lnTo>
                  <a:pt x="6198" y="5856"/>
                </a:lnTo>
                <a:lnTo>
                  <a:pt x="6193" y="5857"/>
                </a:lnTo>
                <a:lnTo>
                  <a:pt x="6183" y="5884"/>
                </a:lnTo>
                <a:lnTo>
                  <a:pt x="6172" y="5914"/>
                </a:lnTo>
                <a:lnTo>
                  <a:pt x="6158" y="5946"/>
                </a:lnTo>
                <a:lnTo>
                  <a:pt x="6143" y="5978"/>
                </a:lnTo>
                <a:lnTo>
                  <a:pt x="6134" y="5995"/>
                </a:lnTo>
                <a:lnTo>
                  <a:pt x="6126" y="6010"/>
                </a:lnTo>
                <a:lnTo>
                  <a:pt x="6116" y="6024"/>
                </a:lnTo>
                <a:lnTo>
                  <a:pt x="6106" y="6038"/>
                </a:lnTo>
                <a:lnTo>
                  <a:pt x="6096" y="6050"/>
                </a:lnTo>
                <a:lnTo>
                  <a:pt x="6086" y="6062"/>
                </a:lnTo>
                <a:lnTo>
                  <a:pt x="6076" y="6071"/>
                </a:lnTo>
                <a:lnTo>
                  <a:pt x="6066" y="6079"/>
                </a:lnTo>
                <a:lnTo>
                  <a:pt x="6065" y="6078"/>
                </a:lnTo>
                <a:lnTo>
                  <a:pt x="6064" y="6077"/>
                </a:lnTo>
                <a:lnTo>
                  <a:pt x="6062" y="6078"/>
                </a:lnTo>
                <a:lnTo>
                  <a:pt x="6059" y="6078"/>
                </a:lnTo>
                <a:lnTo>
                  <a:pt x="6052" y="6081"/>
                </a:lnTo>
                <a:lnTo>
                  <a:pt x="6042" y="6087"/>
                </a:lnTo>
                <a:lnTo>
                  <a:pt x="6019" y="6102"/>
                </a:lnTo>
                <a:lnTo>
                  <a:pt x="5993" y="6121"/>
                </a:lnTo>
                <a:lnTo>
                  <a:pt x="5966" y="6140"/>
                </a:lnTo>
                <a:lnTo>
                  <a:pt x="5944" y="6157"/>
                </a:lnTo>
                <a:lnTo>
                  <a:pt x="5936" y="6164"/>
                </a:lnTo>
                <a:lnTo>
                  <a:pt x="5930" y="6170"/>
                </a:lnTo>
                <a:lnTo>
                  <a:pt x="5929" y="6172"/>
                </a:lnTo>
                <a:lnTo>
                  <a:pt x="5928" y="6173"/>
                </a:lnTo>
                <a:lnTo>
                  <a:pt x="5927" y="6174"/>
                </a:lnTo>
                <a:lnTo>
                  <a:pt x="5928" y="6174"/>
                </a:lnTo>
                <a:lnTo>
                  <a:pt x="5922" y="6184"/>
                </a:lnTo>
                <a:lnTo>
                  <a:pt x="5915" y="6192"/>
                </a:lnTo>
                <a:lnTo>
                  <a:pt x="5909" y="6200"/>
                </a:lnTo>
                <a:lnTo>
                  <a:pt x="5903" y="6207"/>
                </a:lnTo>
                <a:lnTo>
                  <a:pt x="5891" y="6219"/>
                </a:lnTo>
                <a:lnTo>
                  <a:pt x="5879" y="6231"/>
                </a:lnTo>
                <a:lnTo>
                  <a:pt x="5873" y="6239"/>
                </a:lnTo>
                <a:lnTo>
                  <a:pt x="5868" y="6246"/>
                </a:lnTo>
                <a:lnTo>
                  <a:pt x="5863" y="6254"/>
                </a:lnTo>
                <a:lnTo>
                  <a:pt x="5857" y="6263"/>
                </a:lnTo>
                <a:lnTo>
                  <a:pt x="5853" y="6273"/>
                </a:lnTo>
                <a:lnTo>
                  <a:pt x="5849" y="6284"/>
                </a:lnTo>
                <a:lnTo>
                  <a:pt x="5846" y="6297"/>
                </a:lnTo>
                <a:lnTo>
                  <a:pt x="5843" y="6312"/>
                </a:lnTo>
                <a:lnTo>
                  <a:pt x="5841" y="6314"/>
                </a:lnTo>
                <a:lnTo>
                  <a:pt x="5838" y="6320"/>
                </a:lnTo>
                <a:lnTo>
                  <a:pt x="5834" y="6327"/>
                </a:lnTo>
                <a:lnTo>
                  <a:pt x="5830" y="6337"/>
                </a:lnTo>
                <a:lnTo>
                  <a:pt x="5822" y="6362"/>
                </a:lnTo>
                <a:lnTo>
                  <a:pt x="5813" y="6391"/>
                </a:lnTo>
                <a:lnTo>
                  <a:pt x="5804" y="6419"/>
                </a:lnTo>
                <a:lnTo>
                  <a:pt x="5797" y="6446"/>
                </a:lnTo>
                <a:lnTo>
                  <a:pt x="5792" y="6467"/>
                </a:lnTo>
                <a:lnTo>
                  <a:pt x="5791" y="6481"/>
                </a:lnTo>
                <a:lnTo>
                  <a:pt x="5785" y="6485"/>
                </a:lnTo>
                <a:lnTo>
                  <a:pt x="5779" y="6491"/>
                </a:lnTo>
                <a:lnTo>
                  <a:pt x="5773" y="6497"/>
                </a:lnTo>
                <a:lnTo>
                  <a:pt x="5768" y="6504"/>
                </a:lnTo>
                <a:lnTo>
                  <a:pt x="5757" y="6518"/>
                </a:lnTo>
                <a:lnTo>
                  <a:pt x="5748" y="6535"/>
                </a:lnTo>
                <a:lnTo>
                  <a:pt x="5727" y="6571"/>
                </a:lnTo>
                <a:lnTo>
                  <a:pt x="5707" y="6608"/>
                </a:lnTo>
                <a:lnTo>
                  <a:pt x="5696" y="6628"/>
                </a:lnTo>
                <a:lnTo>
                  <a:pt x="5685" y="6645"/>
                </a:lnTo>
                <a:lnTo>
                  <a:pt x="5678" y="6653"/>
                </a:lnTo>
                <a:lnTo>
                  <a:pt x="5672" y="6661"/>
                </a:lnTo>
                <a:lnTo>
                  <a:pt x="5666" y="6668"/>
                </a:lnTo>
                <a:lnTo>
                  <a:pt x="5659" y="6675"/>
                </a:lnTo>
                <a:lnTo>
                  <a:pt x="5651" y="6681"/>
                </a:lnTo>
                <a:lnTo>
                  <a:pt x="5644" y="6687"/>
                </a:lnTo>
                <a:lnTo>
                  <a:pt x="5636" y="6692"/>
                </a:lnTo>
                <a:lnTo>
                  <a:pt x="5628" y="6696"/>
                </a:lnTo>
                <a:lnTo>
                  <a:pt x="5619" y="6699"/>
                </a:lnTo>
                <a:lnTo>
                  <a:pt x="5610" y="6701"/>
                </a:lnTo>
                <a:lnTo>
                  <a:pt x="5599" y="6703"/>
                </a:lnTo>
                <a:lnTo>
                  <a:pt x="5589" y="6703"/>
                </a:lnTo>
                <a:lnTo>
                  <a:pt x="5583" y="6716"/>
                </a:lnTo>
                <a:lnTo>
                  <a:pt x="5576" y="6727"/>
                </a:lnTo>
                <a:lnTo>
                  <a:pt x="5569" y="6738"/>
                </a:lnTo>
                <a:lnTo>
                  <a:pt x="5562" y="6749"/>
                </a:lnTo>
                <a:lnTo>
                  <a:pt x="5547" y="6766"/>
                </a:lnTo>
                <a:lnTo>
                  <a:pt x="5531" y="6782"/>
                </a:lnTo>
                <a:lnTo>
                  <a:pt x="5500" y="6810"/>
                </a:lnTo>
                <a:lnTo>
                  <a:pt x="5468" y="6836"/>
                </a:lnTo>
                <a:lnTo>
                  <a:pt x="5454" y="6849"/>
                </a:lnTo>
                <a:lnTo>
                  <a:pt x="5441" y="6863"/>
                </a:lnTo>
                <a:lnTo>
                  <a:pt x="5435" y="6872"/>
                </a:lnTo>
                <a:lnTo>
                  <a:pt x="5429" y="6880"/>
                </a:lnTo>
                <a:lnTo>
                  <a:pt x="5424" y="6889"/>
                </a:lnTo>
                <a:lnTo>
                  <a:pt x="5419" y="6898"/>
                </a:lnTo>
                <a:lnTo>
                  <a:pt x="5415" y="6908"/>
                </a:lnTo>
                <a:lnTo>
                  <a:pt x="5411" y="6918"/>
                </a:lnTo>
                <a:lnTo>
                  <a:pt x="5407" y="6929"/>
                </a:lnTo>
                <a:lnTo>
                  <a:pt x="5405" y="6941"/>
                </a:lnTo>
                <a:lnTo>
                  <a:pt x="5402" y="6955"/>
                </a:lnTo>
                <a:lnTo>
                  <a:pt x="5401" y="6968"/>
                </a:lnTo>
                <a:lnTo>
                  <a:pt x="5400" y="6983"/>
                </a:lnTo>
                <a:lnTo>
                  <a:pt x="5399" y="7000"/>
                </a:lnTo>
                <a:lnTo>
                  <a:pt x="5403" y="7005"/>
                </a:lnTo>
                <a:lnTo>
                  <a:pt x="5407" y="7010"/>
                </a:lnTo>
                <a:lnTo>
                  <a:pt x="5410" y="7016"/>
                </a:lnTo>
                <a:lnTo>
                  <a:pt x="5413" y="7023"/>
                </a:lnTo>
                <a:lnTo>
                  <a:pt x="5420" y="7038"/>
                </a:lnTo>
                <a:lnTo>
                  <a:pt x="5426" y="7055"/>
                </a:lnTo>
                <a:lnTo>
                  <a:pt x="5431" y="7074"/>
                </a:lnTo>
                <a:lnTo>
                  <a:pt x="5436" y="7094"/>
                </a:lnTo>
                <a:lnTo>
                  <a:pt x="5441" y="7116"/>
                </a:lnTo>
                <a:lnTo>
                  <a:pt x="5445" y="7139"/>
                </a:lnTo>
                <a:lnTo>
                  <a:pt x="5452" y="7183"/>
                </a:lnTo>
                <a:lnTo>
                  <a:pt x="5458" y="7225"/>
                </a:lnTo>
                <a:lnTo>
                  <a:pt x="5464" y="7263"/>
                </a:lnTo>
                <a:lnTo>
                  <a:pt x="5469" y="7291"/>
                </a:lnTo>
                <a:lnTo>
                  <a:pt x="5475" y="7318"/>
                </a:lnTo>
                <a:lnTo>
                  <a:pt x="5480" y="7346"/>
                </a:lnTo>
                <a:lnTo>
                  <a:pt x="5483" y="7359"/>
                </a:lnTo>
                <a:lnTo>
                  <a:pt x="5484" y="7372"/>
                </a:lnTo>
                <a:lnTo>
                  <a:pt x="5484" y="7384"/>
                </a:lnTo>
                <a:lnTo>
                  <a:pt x="5483" y="7395"/>
                </a:lnTo>
                <a:lnTo>
                  <a:pt x="5480" y="7406"/>
                </a:lnTo>
                <a:lnTo>
                  <a:pt x="5476" y="7415"/>
                </a:lnTo>
                <a:lnTo>
                  <a:pt x="5474" y="7419"/>
                </a:lnTo>
                <a:lnTo>
                  <a:pt x="5470" y="7423"/>
                </a:lnTo>
                <a:lnTo>
                  <a:pt x="5467" y="7427"/>
                </a:lnTo>
                <a:lnTo>
                  <a:pt x="5463" y="7430"/>
                </a:lnTo>
                <a:lnTo>
                  <a:pt x="5458" y="7433"/>
                </a:lnTo>
                <a:lnTo>
                  <a:pt x="5453" y="7436"/>
                </a:lnTo>
                <a:lnTo>
                  <a:pt x="5448" y="7438"/>
                </a:lnTo>
                <a:lnTo>
                  <a:pt x="5441" y="7440"/>
                </a:lnTo>
                <a:lnTo>
                  <a:pt x="5427" y="7443"/>
                </a:lnTo>
                <a:lnTo>
                  <a:pt x="5410" y="7444"/>
                </a:lnTo>
                <a:lnTo>
                  <a:pt x="5395" y="7422"/>
                </a:lnTo>
                <a:lnTo>
                  <a:pt x="5371" y="7383"/>
                </a:lnTo>
                <a:lnTo>
                  <a:pt x="5359" y="7362"/>
                </a:lnTo>
                <a:lnTo>
                  <a:pt x="5349" y="7344"/>
                </a:lnTo>
                <a:lnTo>
                  <a:pt x="5346" y="7338"/>
                </a:lnTo>
                <a:lnTo>
                  <a:pt x="5344" y="7333"/>
                </a:lnTo>
                <a:lnTo>
                  <a:pt x="5344" y="7331"/>
                </a:lnTo>
                <a:lnTo>
                  <a:pt x="5344" y="7329"/>
                </a:lnTo>
                <a:lnTo>
                  <a:pt x="5345" y="7328"/>
                </a:lnTo>
                <a:lnTo>
                  <a:pt x="5346" y="7328"/>
                </a:lnTo>
                <a:lnTo>
                  <a:pt x="5345" y="7319"/>
                </a:lnTo>
                <a:lnTo>
                  <a:pt x="5343" y="7308"/>
                </a:lnTo>
                <a:lnTo>
                  <a:pt x="5341" y="7295"/>
                </a:lnTo>
                <a:lnTo>
                  <a:pt x="5337" y="7281"/>
                </a:lnTo>
                <a:lnTo>
                  <a:pt x="5327" y="7249"/>
                </a:lnTo>
                <a:lnTo>
                  <a:pt x="5315" y="7214"/>
                </a:lnTo>
                <a:lnTo>
                  <a:pt x="5302" y="7181"/>
                </a:lnTo>
                <a:lnTo>
                  <a:pt x="5288" y="7149"/>
                </a:lnTo>
                <a:lnTo>
                  <a:pt x="5281" y="7135"/>
                </a:lnTo>
                <a:lnTo>
                  <a:pt x="5274" y="7122"/>
                </a:lnTo>
                <a:lnTo>
                  <a:pt x="5268" y="7110"/>
                </a:lnTo>
                <a:lnTo>
                  <a:pt x="5262" y="7101"/>
                </a:lnTo>
                <a:lnTo>
                  <a:pt x="5258" y="7095"/>
                </a:lnTo>
                <a:lnTo>
                  <a:pt x="5253" y="7091"/>
                </a:lnTo>
                <a:lnTo>
                  <a:pt x="5249" y="7087"/>
                </a:lnTo>
                <a:lnTo>
                  <a:pt x="5245" y="7084"/>
                </a:lnTo>
                <a:lnTo>
                  <a:pt x="5240" y="7082"/>
                </a:lnTo>
                <a:lnTo>
                  <a:pt x="5235" y="7080"/>
                </a:lnTo>
                <a:lnTo>
                  <a:pt x="5230" y="7078"/>
                </a:lnTo>
                <a:lnTo>
                  <a:pt x="5224" y="7077"/>
                </a:lnTo>
                <a:lnTo>
                  <a:pt x="5213" y="7076"/>
                </a:lnTo>
                <a:lnTo>
                  <a:pt x="5202" y="7077"/>
                </a:lnTo>
                <a:lnTo>
                  <a:pt x="5190" y="7078"/>
                </a:lnTo>
                <a:lnTo>
                  <a:pt x="5179" y="7080"/>
                </a:lnTo>
                <a:lnTo>
                  <a:pt x="5154" y="7085"/>
                </a:lnTo>
                <a:lnTo>
                  <a:pt x="5130" y="7089"/>
                </a:lnTo>
                <a:lnTo>
                  <a:pt x="5117" y="7090"/>
                </a:lnTo>
                <a:lnTo>
                  <a:pt x="5105" y="7090"/>
                </a:lnTo>
                <a:lnTo>
                  <a:pt x="5093" y="7088"/>
                </a:lnTo>
                <a:lnTo>
                  <a:pt x="5081" y="7084"/>
                </a:lnTo>
                <a:lnTo>
                  <a:pt x="5078" y="7080"/>
                </a:lnTo>
                <a:lnTo>
                  <a:pt x="5075" y="7075"/>
                </a:lnTo>
                <a:lnTo>
                  <a:pt x="5070" y="7071"/>
                </a:lnTo>
                <a:lnTo>
                  <a:pt x="5065" y="7067"/>
                </a:lnTo>
                <a:lnTo>
                  <a:pt x="5053" y="7059"/>
                </a:lnTo>
                <a:lnTo>
                  <a:pt x="5038" y="7053"/>
                </a:lnTo>
                <a:lnTo>
                  <a:pt x="5021" y="7047"/>
                </a:lnTo>
                <a:lnTo>
                  <a:pt x="5003" y="7042"/>
                </a:lnTo>
                <a:lnTo>
                  <a:pt x="4984" y="7037"/>
                </a:lnTo>
                <a:lnTo>
                  <a:pt x="4963" y="7034"/>
                </a:lnTo>
                <a:lnTo>
                  <a:pt x="4921" y="7028"/>
                </a:lnTo>
                <a:lnTo>
                  <a:pt x="4881" y="7024"/>
                </a:lnTo>
                <a:lnTo>
                  <a:pt x="4845" y="7022"/>
                </a:lnTo>
                <a:lnTo>
                  <a:pt x="4817" y="7021"/>
                </a:lnTo>
                <a:lnTo>
                  <a:pt x="4821" y="7035"/>
                </a:lnTo>
                <a:lnTo>
                  <a:pt x="4827" y="7046"/>
                </a:lnTo>
                <a:lnTo>
                  <a:pt x="4834" y="7057"/>
                </a:lnTo>
                <a:lnTo>
                  <a:pt x="4840" y="7067"/>
                </a:lnTo>
                <a:lnTo>
                  <a:pt x="4847" y="7077"/>
                </a:lnTo>
                <a:lnTo>
                  <a:pt x="4853" y="7088"/>
                </a:lnTo>
                <a:lnTo>
                  <a:pt x="4856" y="7094"/>
                </a:lnTo>
                <a:lnTo>
                  <a:pt x="4857" y="7101"/>
                </a:lnTo>
                <a:lnTo>
                  <a:pt x="4859" y="7108"/>
                </a:lnTo>
                <a:lnTo>
                  <a:pt x="4860" y="7116"/>
                </a:lnTo>
                <a:lnTo>
                  <a:pt x="4823" y="7133"/>
                </a:lnTo>
                <a:lnTo>
                  <a:pt x="4792" y="7146"/>
                </a:lnTo>
                <a:lnTo>
                  <a:pt x="4777" y="7151"/>
                </a:lnTo>
                <a:lnTo>
                  <a:pt x="4761" y="7154"/>
                </a:lnTo>
                <a:lnTo>
                  <a:pt x="4752" y="7155"/>
                </a:lnTo>
                <a:lnTo>
                  <a:pt x="4743" y="7156"/>
                </a:lnTo>
                <a:lnTo>
                  <a:pt x="4734" y="7155"/>
                </a:lnTo>
                <a:lnTo>
                  <a:pt x="4723" y="7154"/>
                </a:lnTo>
                <a:lnTo>
                  <a:pt x="4707" y="7151"/>
                </a:lnTo>
                <a:lnTo>
                  <a:pt x="4694" y="7147"/>
                </a:lnTo>
                <a:lnTo>
                  <a:pt x="4681" y="7142"/>
                </a:lnTo>
                <a:lnTo>
                  <a:pt x="4671" y="7136"/>
                </a:lnTo>
                <a:lnTo>
                  <a:pt x="4653" y="7122"/>
                </a:lnTo>
                <a:lnTo>
                  <a:pt x="4636" y="7108"/>
                </a:lnTo>
                <a:lnTo>
                  <a:pt x="4628" y="7101"/>
                </a:lnTo>
                <a:lnTo>
                  <a:pt x="4620" y="7095"/>
                </a:lnTo>
                <a:lnTo>
                  <a:pt x="4611" y="7089"/>
                </a:lnTo>
                <a:lnTo>
                  <a:pt x="4600" y="7085"/>
                </a:lnTo>
                <a:lnTo>
                  <a:pt x="4588" y="7081"/>
                </a:lnTo>
                <a:lnTo>
                  <a:pt x="4575" y="7079"/>
                </a:lnTo>
                <a:lnTo>
                  <a:pt x="4559" y="7078"/>
                </a:lnTo>
                <a:lnTo>
                  <a:pt x="4542" y="7079"/>
                </a:lnTo>
                <a:lnTo>
                  <a:pt x="4527" y="7081"/>
                </a:lnTo>
                <a:lnTo>
                  <a:pt x="4512" y="7083"/>
                </a:lnTo>
                <a:lnTo>
                  <a:pt x="4498" y="7087"/>
                </a:lnTo>
                <a:lnTo>
                  <a:pt x="4484" y="7091"/>
                </a:lnTo>
                <a:lnTo>
                  <a:pt x="4469" y="7095"/>
                </a:lnTo>
                <a:lnTo>
                  <a:pt x="4456" y="7100"/>
                </a:lnTo>
                <a:lnTo>
                  <a:pt x="4443" y="7106"/>
                </a:lnTo>
                <a:lnTo>
                  <a:pt x="4430" y="7112"/>
                </a:lnTo>
                <a:lnTo>
                  <a:pt x="4418" y="7120"/>
                </a:lnTo>
                <a:lnTo>
                  <a:pt x="4406" y="7127"/>
                </a:lnTo>
                <a:lnTo>
                  <a:pt x="4395" y="7135"/>
                </a:lnTo>
                <a:lnTo>
                  <a:pt x="4384" y="7143"/>
                </a:lnTo>
                <a:lnTo>
                  <a:pt x="4373" y="7152"/>
                </a:lnTo>
                <a:lnTo>
                  <a:pt x="4363" y="7161"/>
                </a:lnTo>
                <a:lnTo>
                  <a:pt x="4353" y="7171"/>
                </a:lnTo>
                <a:lnTo>
                  <a:pt x="4343" y="7181"/>
                </a:lnTo>
                <a:lnTo>
                  <a:pt x="4334" y="7192"/>
                </a:lnTo>
                <a:lnTo>
                  <a:pt x="4326" y="7203"/>
                </a:lnTo>
                <a:lnTo>
                  <a:pt x="4318" y="7214"/>
                </a:lnTo>
                <a:lnTo>
                  <a:pt x="4311" y="7226"/>
                </a:lnTo>
                <a:lnTo>
                  <a:pt x="4304" y="7238"/>
                </a:lnTo>
                <a:lnTo>
                  <a:pt x="4298" y="7251"/>
                </a:lnTo>
                <a:lnTo>
                  <a:pt x="4292" y="7264"/>
                </a:lnTo>
                <a:lnTo>
                  <a:pt x="4287" y="7277"/>
                </a:lnTo>
                <a:lnTo>
                  <a:pt x="4282" y="7291"/>
                </a:lnTo>
                <a:lnTo>
                  <a:pt x="4278" y="7304"/>
                </a:lnTo>
                <a:lnTo>
                  <a:pt x="4275" y="7318"/>
                </a:lnTo>
                <a:lnTo>
                  <a:pt x="4272" y="7332"/>
                </a:lnTo>
                <a:lnTo>
                  <a:pt x="4270" y="7347"/>
                </a:lnTo>
                <a:lnTo>
                  <a:pt x="4268" y="7361"/>
                </a:lnTo>
                <a:lnTo>
                  <a:pt x="4267" y="7377"/>
                </a:lnTo>
                <a:lnTo>
                  <a:pt x="4267" y="7392"/>
                </a:lnTo>
                <a:lnTo>
                  <a:pt x="4265" y="7393"/>
                </a:lnTo>
                <a:lnTo>
                  <a:pt x="4264" y="7395"/>
                </a:lnTo>
                <a:lnTo>
                  <a:pt x="4262" y="7400"/>
                </a:lnTo>
                <a:lnTo>
                  <a:pt x="4261" y="7405"/>
                </a:lnTo>
                <a:lnTo>
                  <a:pt x="4259" y="7421"/>
                </a:lnTo>
                <a:lnTo>
                  <a:pt x="4257" y="7441"/>
                </a:lnTo>
                <a:lnTo>
                  <a:pt x="4255" y="7491"/>
                </a:lnTo>
                <a:lnTo>
                  <a:pt x="4254" y="7550"/>
                </a:lnTo>
                <a:lnTo>
                  <a:pt x="4255" y="7608"/>
                </a:lnTo>
                <a:lnTo>
                  <a:pt x="4257" y="7659"/>
                </a:lnTo>
                <a:lnTo>
                  <a:pt x="4259" y="7680"/>
                </a:lnTo>
                <a:lnTo>
                  <a:pt x="4261" y="7695"/>
                </a:lnTo>
                <a:lnTo>
                  <a:pt x="4262" y="7701"/>
                </a:lnTo>
                <a:lnTo>
                  <a:pt x="4264" y="7705"/>
                </a:lnTo>
                <a:lnTo>
                  <a:pt x="4265" y="7708"/>
                </a:lnTo>
                <a:lnTo>
                  <a:pt x="4267" y="7709"/>
                </a:lnTo>
                <a:lnTo>
                  <a:pt x="4268" y="7725"/>
                </a:lnTo>
                <a:lnTo>
                  <a:pt x="4270" y="7741"/>
                </a:lnTo>
                <a:lnTo>
                  <a:pt x="4274" y="7757"/>
                </a:lnTo>
                <a:lnTo>
                  <a:pt x="4278" y="7772"/>
                </a:lnTo>
                <a:lnTo>
                  <a:pt x="4284" y="7787"/>
                </a:lnTo>
                <a:lnTo>
                  <a:pt x="4290" y="7801"/>
                </a:lnTo>
                <a:lnTo>
                  <a:pt x="4297" y="7815"/>
                </a:lnTo>
                <a:lnTo>
                  <a:pt x="4304" y="7828"/>
                </a:lnTo>
                <a:lnTo>
                  <a:pt x="4317" y="7854"/>
                </a:lnTo>
                <a:lnTo>
                  <a:pt x="4329" y="7881"/>
                </a:lnTo>
                <a:lnTo>
                  <a:pt x="4333" y="7894"/>
                </a:lnTo>
                <a:lnTo>
                  <a:pt x="4337" y="7906"/>
                </a:lnTo>
                <a:lnTo>
                  <a:pt x="4339" y="7919"/>
                </a:lnTo>
                <a:lnTo>
                  <a:pt x="4340" y="7931"/>
                </a:lnTo>
                <a:lnTo>
                  <a:pt x="4348" y="7932"/>
                </a:lnTo>
                <a:lnTo>
                  <a:pt x="4355" y="7933"/>
                </a:lnTo>
                <a:lnTo>
                  <a:pt x="4362" y="7935"/>
                </a:lnTo>
                <a:lnTo>
                  <a:pt x="4368" y="7938"/>
                </a:lnTo>
                <a:lnTo>
                  <a:pt x="4382" y="7946"/>
                </a:lnTo>
                <a:lnTo>
                  <a:pt x="4396" y="7956"/>
                </a:lnTo>
                <a:lnTo>
                  <a:pt x="4410" y="7968"/>
                </a:lnTo>
                <a:lnTo>
                  <a:pt x="4424" y="7981"/>
                </a:lnTo>
                <a:lnTo>
                  <a:pt x="4438" y="7995"/>
                </a:lnTo>
                <a:lnTo>
                  <a:pt x="4452" y="8011"/>
                </a:lnTo>
                <a:lnTo>
                  <a:pt x="4466" y="8026"/>
                </a:lnTo>
                <a:lnTo>
                  <a:pt x="4481" y="8040"/>
                </a:lnTo>
                <a:lnTo>
                  <a:pt x="4495" y="8053"/>
                </a:lnTo>
                <a:lnTo>
                  <a:pt x="4509" y="8065"/>
                </a:lnTo>
                <a:lnTo>
                  <a:pt x="4523" y="8075"/>
                </a:lnTo>
                <a:lnTo>
                  <a:pt x="4536" y="8083"/>
                </a:lnTo>
                <a:lnTo>
                  <a:pt x="4543" y="8086"/>
                </a:lnTo>
                <a:lnTo>
                  <a:pt x="4550" y="8088"/>
                </a:lnTo>
                <a:lnTo>
                  <a:pt x="4556" y="8089"/>
                </a:lnTo>
                <a:lnTo>
                  <a:pt x="4563" y="8090"/>
                </a:lnTo>
                <a:lnTo>
                  <a:pt x="4564" y="8100"/>
                </a:lnTo>
                <a:lnTo>
                  <a:pt x="4564" y="8108"/>
                </a:lnTo>
                <a:lnTo>
                  <a:pt x="4563" y="8116"/>
                </a:lnTo>
                <a:lnTo>
                  <a:pt x="4563" y="8123"/>
                </a:lnTo>
                <a:lnTo>
                  <a:pt x="4562" y="8130"/>
                </a:lnTo>
                <a:lnTo>
                  <a:pt x="4562" y="8135"/>
                </a:lnTo>
                <a:lnTo>
                  <a:pt x="4562" y="8140"/>
                </a:lnTo>
                <a:lnTo>
                  <a:pt x="4563" y="8144"/>
                </a:lnTo>
                <a:lnTo>
                  <a:pt x="4566" y="8147"/>
                </a:lnTo>
                <a:lnTo>
                  <a:pt x="4570" y="8149"/>
                </a:lnTo>
                <a:lnTo>
                  <a:pt x="4576" y="8151"/>
                </a:lnTo>
                <a:lnTo>
                  <a:pt x="4585" y="8152"/>
                </a:lnTo>
                <a:lnTo>
                  <a:pt x="4610" y="8154"/>
                </a:lnTo>
                <a:lnTo>
                  <a:pt x="4648" y="8154"/>
                </a:lnTo>
                <a:lnTo>
                  <a:pt x="4658" y="8144"/>
                </a:lnTo>
                <a:lnTo>
                  <a:pt x="4681" y="8125"/>
                </a:lnTo>
                <a:lnTo>
                  <a:pt x="4694" y="8113"/>
                </a:lnTo>
                <a:lnTo>
                  <a:pt x="4706" y="8099"/>
                </a:lnTo>
                <a:lnTo>
                  <a:pt x="4711" y="8092"/>
                </a:lnTo>
                <a:lnTo>
                  <a:pt x="4716" y="8084"/>
                </a:lnTo>
                <a:lnTo>
                  <a:pt x="4719" y="8077"/>
                </a:lnTo>
                <a:lnTo>
                  <a:pt x="4721" y="8069"/>
                </a:lnTo>
                <a:lnTo>
                  <a:pt x="4714" y="8066"/>
                </a:lnTo>
                <a:lnTo>
                  <a:pt x="4708" y="8064"/>
                </a:lnTo>
                <a:lnTo>
                  <a:pt x="4702" y="8061"/>
                </a:lnTo>
                <a:lnTo>
                  <a:pt x="4698" y="8057"/>
                </a:lnTo>
                <a:lnTo>
                  <a:pt x="4694" y="8054"/>
                </a:lnTo>
                <a:lnTo>
                  <a:pt x="4691" y="8049"/>
                </a:lnTo>
                <a:lnTo>
                  <a:pt x="4689" y="8045"/>
                </a:lnTo>
                <a:lnTo>
                  <a:pt x="4687" y="8040"/>
                </a:lnTo>
                <a:lnTo>
                  <a:pt x="4686" y="8035"/>
                </a:lnTo>
                <a:lnTo>
                  <a:pt x="4686" y="8030"/>
                </a:lnTo>
                <a:lnTo>
                  <a:pt x="4687" y="8024"/>
                </a:lnTo>
                <a:lnTo>
                  <a:pt x="4688" y="8019"/>
                </a:lnTo>
                <a:lnTo>
                  <a:pt x="4691" y="8007"/>
                </a:lnTo>
                <a:lnTo>
                  <a:pt x="4697" y="7994"/>
                </a:lnTo>
                <a:lnTo>
                  <a:pt x="4704" y="7983"/>
                </a:lnTo>
                <a:lnTo>
                  <a:pt x="4712" y="7971"/>
                </a:lnTo>
                <a:lnTo>
                  <a:pt x="4721" y="7960"/>
                </a:lnTo>
                <a:lnTo>
                  <a:pt x="4733" y="7950"/>
                </a:lnTo>
                <a:lnTo>
                  <a:pt x="4743" y="7940"/>
                </a:lnTo>
                <a:lnTo>
                  <a:pt x="4754" y="7932"/>
                </a:lnTo>
                <a:lnTo>
                  <a:pt x="4765" y="7926"/>
                </a:lnTo>
                <a:lnTo>
                  <a:pt x="4775" y="7921"/>
                </a:lnTo>
                <a:lnTo>
                  <a:pt x="4775" y="7927"/>
                </a:lnTo>
                <a:lnTo>
                  <a:pt x="4776" y="7933"/>
                </a:lnTo>
                <a:lnTo>
                  <a:pt x="4777" y="7937"/>
                </a:lnTo>
                <a:lnTo>
                  <a:pt x="4779" y="7941"/>
                </a:lnTo>
                <a:lnTo>
                  <a:pt x="4782" y="7944"/>
                </a:lnTo>
                <a:lnTo>
                  <a:pt x="4784" y="7946"/>
                </a:lnTo>
                <a:lnTo>
                  <a:pt x="4788" y="7948"/>
                </a:lnTo>
                <a:lnTo>
                  <a:pt x="4791" y="7948"/>
                </a:lnTo>
                <a:lnTo>
                  <a:pt x="4799" y="7948"/>
                </a:lnTo>
                <a:lnTo>
                  <a:pt x="4808" y="7945"/>
                </a:lnTo>
                <a:lnTo>
                  <a:pt x="4817" y="7941"/>
                </a:lnTo>
                <a:lnTo>
                  <a:pt x="4827" y="7936"/>
                </a:lnTo>
                <a:lnTo>
                  <a:pt x="4837" y="7929"/>
                </a:lnTo>
                <a:lnTo>
                  <a:pt x="4846" y="7922"/>
                </a:lnTo>
                <a:lnTo>
                  <a:pt x="4856" y="7914"/>
                </a:lnTo>
                <a:lnTo>
                  <a:pt x="4864" y="7907"/>
                </a:lnTo>
                <a:lnTo>
                  <a:pt x="4876" y="7896"/>
                </a:lnTo>
                <a:lnTo>
                  <a:pt x="4881" y="7889"/>
                </a:lnTo>
                <a:lnTo>
                  <a:pt x="4904" y="7881"/>
                </a:lnTo>
                <a:lnTo>
                  <a:pt x="4943" y="7865"/>
                </a:lnTo>
                <a:lnTo>
                  <a:pt x="4981" y="7852"/>
                </a:lnTo>
                <a:lnTo>
                  <a:pt x="4997" y="7846"/>
                </a:lnTo>
                <a:lnTo>
                  <a:pt x="4998" y="7839"/>
                </a:lnTo>
                <a:lnTo>
                  <a:pt x="4998" y="7832"/>
                </a:lnTo>
                <a:lnTo>
                  <a:pt x="4999" y="7827"/>
                </a:lnTo>
                <a:lnTo>
                  <a:pt x="5001" y="7822"/>
                </a:lnTo>
                <a:lnTo>
                  <a:pt x="5002" y="7819"/>
                </a:lnTo>
                <a:lnTo>
                  <a:pt x="5004" y="7816"/>
                </a:lnTo>
                <a:lnTo>
                  <a:pt x="5006" y="7814"/>
                </a:lnTo>
                <a:lnTo>
                  <a:pt x="5009" y="7812"/>
                </a:lnTo>
                <a:lnTo>
                  <a:pt x="5011" y="7812"/>
                </a:lnTo>
                <a:lnTo>
                  <a:pt x="5014" y="7812"/>
                </a:lnTo>
                <a:lnTo>
                  <a:pt x="5017" y="7812"/>
                </a:lnTo>
                <a:lnTo>
                  <a:pt x="5019" y="7813"/>
                </a:lnTo>
                <a:lnTo>
                  <a:pt x="5025" y="7817"/>
                </a:lnTo>
                <a:lnTo>
                  <a:pt x="5029" y="7823"/>
                </a:lnTo>
                <a:lnTo>
                  <a:pt x="5034" y="7830"/>
                </a:lnTo>
                <a:lnTo>
                  <a:pt x="5037" y="7838"/>
                </a:lnTo>
                <a:lnTo>
                  <a:pt x="5039" y="7847"/>
                </a:lnTo>
                <a:lnTo>
                  <a:pt x="5039" y="7856"/>
                </a:lnTo>
                <a:lnTo>
                  <a:pt x="5039" y="7860"/>
                </a:lnTo>
                <a:lnTo>
                  <a:pt x="5038" y="7865"/>
                </a:lnTo>
                <a:lnTo>
                  <a:pt x="5036" y="7869"/>
                </a:lnTo>
                <a:lnTo>
                  <a:pt x="5034" y="7873"/>
                </a:lnTo>
                <a:lnTo>
                  <a:pt x="5031" y="7878"/>
                </a:lnTo>
                <a:lnTo>
                  <a:pt x="5027" y="7882"/>
                </a:lnTo>
                <a:lnTo>
                  <a:pt x="5023" y="7886"/>
                </a:lnTo>
                <a:lnTo>
                  <a:pt x="5018" y="7889"/>
                </a:lnTo>
                <a:lnTo>
                  <a:pt x="5013" y="7889"/>
                </a:lnTo>
                <a:lnTo>
                  <a:pt x="5008" y="7890"/>
                </a:lnTo>
                <a:lnTo>
                  <a:pt x="5004" y="7892"/>
                </a:lnTo>
                <a:lnTo>
                  <a:pt x="4999" y="7893"/>
                </a:lnTo>
                <a:lnTo>
                  <a:pt x="4992" y="7898"/>
                </a:lnTo>
                <a:lnTo>
                  <a:pt x="4985" y="7904"/>
                </a:lnTo>
                <a:lnTo>
                  <a:pt x="4980" y="7911"/>
                </a:lnTo>
                <a:lnTo>
                  <a:pt x="4974" y="7919"/>
                </a:lnTo>
                <a:lnTo>
                  <a:pt x="4970" y="7928"/>
                </a:lnTo>
                <a:lnTo>
                  <a:pt x="4966" y="7937"/>
                </a:lnTo>
                <a:lnTo>
                  <a:pt x="4959" y="7954"/>
                </a:lnTo>
                <a:lnTo>
                  <a:pt x="4952" y="7969"/>
                </a:lnTo>
                <a:lnTo>
                  <a:pt x="4948" y="7975"/>
                </a:lnTo>
                <a:lnTo>
                  <a:pt x="4944" y="7980"/>
                </a:lnTo>
                <a:lnTo>
                  <a:pt x="4941" y="7982"/>
                </a:lnTo>
                <a:lnTo>
                  <a:pt x="4939" y="7983"/>
                </a:lnTo>
                <a:lnTo>
                  <a:pt x="4936" y="7984"/>
                </a:lnTo>
                <a:lnTo>
                  <a:pt x="4933" y="7984"/>
                </a:lnTo>
                <a:lnTo>
                  <a:pt x="4928" y="8010"/>
                </a:lnTo>
                <a:lnTo>
                  <a:pt x="4921" y="8034"/>
                </a:lnTo>
                <a:lnTo>
                  <a:pt x="4914" y="8058"/>
                </a:lnTo>
                <a:lnTo>
                  <a:pt x="4906" y="8082"/>
                </a:lnTo>
                <a:lnTo>
                  <a:pt x="4898" y="8105"/>
                </a:lnTo>
                <a:lnTo>
                  <a:pt x="4891" y="8130"/>
                </a:lnTo>
                <a:lnTo>
                  <a:pt x="4884" y="8153"/>
                </a:lnTo>
                <a:lnTo>
                  <a:pt x="4877" y="8178"/>
                </a:lnTo>
                <a:lnTo>
                  <a:pt x="4874" y="8192"/>
                </a:lnTo>
                <a:lnTo>
                  <a:pt x="4873" y="8205"/>
                </a:lnTo>
                <a:lnTo>
                  <a:pt x="4874" y="8216"/>
                </a:lnTo>
                <a:lnTo>
                  <a:pt x="4875" y="8227"/>
                </a:lnTo>
                <a:lnTo>
                  <a:pt x="4878" y="8236"/>
                </a:lnTo>
                <a:lnTo>
                  <a:pt x="4882" y="8245"/>
                </a:lnTo>
                <a:lnTo>
                  <a:pt x="4885" y="8255"/>
                </a:lnTo>
                <a:lnTo>
                  <a:pt x="4890" y="8263"/>
                </a:lnTo>
                <a:lnTo>
                  <a:pt x="4894" y="8271"/>
                </a:lnTo>
                <a:lnTo>
                  <a:pt x="4898" y="8279"/>
                </a:lnTo>
                <a:lnTo>
                  <a:pt x="4901" y="8288"/>
                </a:lnTo>
                <a:lnTo>
                  <a:pt x="4904" y="8297"/>
                </a:lnTo>
                <a:lnTo>
                  <a:pt x="4905" y="8307"/>
                </a:lnTo>
                <a:lnTo>
                  <a:pt x="4906" y="8318"/>
                </a:lnTo>
                <a:lnTo>
                  <a:pt x="4905" y="8330"/>
                </a:lnTo>
                <a:lnTo>
                  <a:pt x="4902" y="8344"/>
                </a:lnTo>
                <a:lnTo>
                  <a:pt x="4917" y="8346"/>
                </a:lnTo>
                <a:lnTo>
                  <a:pt x="4933" y="8348"/>
                </a:lnTo>
                <a:lnTo>
                  <a:pt x="4949" y="8349"/>
                </a:lnTo>
                <a:lnTo>
                  <a:pt x="4965" y="8350"/>
                </a:lnTo>
                <a:lnTo>
                  <a:pt x="4997" y="8351"/>
                </a:lnTo>
                <a:lnTo>
                  <a:pt x="5029" y="8350"/>
                </a:lnTo>
                <a:lnTo>
                  <a:pt x="5060" y="8348"/>
                </a:lnTo>
                <a:lnTo>
                  <a:pt x="5092" y="8346"/>
                </a:lnTo>
                <a:lnTo>
                  <a:pt x="5124" y="8345"/>
                </a:lnTo>
                <a:lnTo>
                  <a:pt x="5156" y="8344"/>
                </a:lnTo>
                <a:lnTo>
                  <a:pt x="5155" y="8333"/>
                </a:lnTo>
                <a:lnTo>
                  <a:pt x="5153" y="8322"/>
                </a:lnTo>
                <a:lnTo>
                  <a:pt x="5150" y="8312"/>
                </a:lnTo>
                <a:lnTo>
                  <a:pt x="5145" y="8302"/>
                </a:lnTo>
                <a:lnTo>
                  <a:pt x="5156" y="8303"/>
                </a:lnTo>
                <a:lnTo>
                  <a:pt x="5165" y="8304"/>
                </a:lnTo>
                <a:lnTo>
                  <a:pt x="5174" y="8308"/>
                </a:lnTo>
                <a:lnTo>
                  <a:pt x="5181" y="8312"/>
                </a:lnTo>
                <a:lnTo>
                  <a:pt x="5187" y="8317"/>
                </a:lnTo>
                <a:lnTo>
                  <a:pt x="5192" y="8323"/>
                </a:lnTo>
                <a:lnTo>
                  <a:pt x="5196" y="8330"/>
                </a:lnTo>
                <a:lnTo>
                  <a:pt x="5199" y="8338"/>
                </a:lnTo>
                <a:lnTo>
                  <a:pt x="5202" y="8346"/>
                </a:lnTo>
                <a:lnTo>
                  <a:pt x="5204" y="8355"/>
                </a:lnTo>
                <a:lnTo>
                  <a:pt x="5205" y="8365"/>
                </a:lnTo>
                <a:lnTo>
                  <a:pt x="5206" y="8375"/>
                </a:lnTo>
                <a:lnTo>
                  <a:pt x="5206" y="8397"/>
                </a:lnTo>
                <a:lnTo>
                  <a:pt x="5205" y="8418"/>
                </a:lnTo>
                <a:lnTo>
                  <a:pt x="5204" y="8440"/>
                </a:lnTo>
                <a:lnTo>
                  <a:pt x="5202" y="8461"/>
                </a:lnTo>
                <a:lnTo>
                  <a:pt x="5202" y="8480"/>
                </a:lnTo>
                <a:lnTo>
                  <a:pt x="5202" y="8497"/>
                </a:lnTo>
                <a:lnTo>
                  <a:pt x="5203" y="8506"/>
                </a:lnTo>
                <a:lnTo>
                  <a:pt x="5205" y="8513"/>
                </a:lnTo>
                <a:lnTo>
                  <a:pt x="5207" y="8519"/>
                </a:lnTo>
                <a:lnTo>
                  <a:pt x="5210" y="8525"/>
                </a:lnTo>
                <a:lnTo>
                  <a:pt x="5213" y="8529"/>
                </a:lnTo>
                <a:lnTo>
                  <a:pt x="5218" y="8532"/>
                </a:lnTo>
                <a:lnTo>
                  <a:pt x="5223" y="8534"/>
                </a:lnTo>
                <a:lnTo>
                  <a:pt x="5230" y="8535"/>
                </a:lnTo>
                <a:lnTo>
                  <a:pt x="5231" y="8551"/>
                </a:lnTo>
                <a:lnTo>
                  <a:pt x="5232" y="8566"/>
                </a:lnTo>
                <a:lnTo>
                  <a:pt x="5234" y="8582"/>
                </a:lnTo>
                <a:lnTo>
                  <a:pt x="5237" y="8597"/>
                </a:lnTo>
                <a:lnTo>
                  <a:pt x="5244" y="8625"/>
                </a:lnTo>
                <a:lnTo>
                  <a:pt x="5251" y="8653"/>
                </a:lnTo>
                <a:lnTo>
                  <a:pt x="5259" y="8678"/>
                </a:lnTo>
                <a:lnTo>
                  <a:pt x="5266" y="8702"/>
                </a:lnTo>
                <a:lnTo>
                  <a:pt x="5268" y="8714"/>
                </a:lnTo>
                <a:lnTo>
                  <a:pt x="5270" y="8725"/>
                </a:lnTo>
                <a:lnTo>
                  <a:pt x="5272" y="8735"/>
                </a:lnTo>
                <a:lnTo>
                  <a:pt x="5272" y="8746"/>
                </a:lnTo>
                <a:lnTo>
                  <a:pt x="5282" y="8753"/>
                </a:lnTo>
                <a:lnTo>
                  <a:pt x="5292" y="8762"/>
                </a:lnTo>
                <a:lnTo>
                  <a:pt x="5301" y="8769"/>
                </a:lnTo>
                <a:lnTo>
                  <a:pt x="5310" y="8778"/>
                </a:lnTo>
                <a:lnTo>
                  <a:pt x="5318" y="8786"/>
                </a:lnTo>
                <a:lnTo>
                  <a:pt x="5325" y="8795"/>
                </a:lnTo>
                <a:lnTo>
                  <a:pt x="5331" y="8804"/>
                </a:lnTo>
                <a:lnTo>
                  <a:pt x="5337" y="8814"/>
                </a:lnTo>
                <a:lnTo>
                  <a:pt x="5341" y="8824"/>
                </a:lnTo>
                <a:lnTo>
                  <a:pt x="5345" y="8834"/>
                </a:lnTo>
                <a:lnTo>
                  <a:pt x="5348" y="8845"/>
                </a:lnTo>
                <a:lnTo>
                  <a:pt x="5350" y="8856"/>
                </a:lnTo>
                <a:lnTo>
                  <a:pt x="5350" y="8867"/>
                </a:lnTo>
                <a:lnTo>
                  <a:pt x="5350" y="8879"/>
                </a:lnTo>
                <a:lnTo>
                  <a:pt x="5348" y="8892"/>
                </a:lnTo>
                <a:lnTo>
                  <a:pt x="5346" y="8905"/>
                </a:lnTo>
                <a:lnTo>
                  <a:pt x="5376" y="8909"/>
                </a:lnTo>
                <a:lnTo>
                  <a:pt x="5410" y="8912"/>
                </a:lnTo>
                <a:lnTo>
                  <a:pt x="5429" y="8913"/>
                </a:lnTo>
                <a:lnTo>
                  <a:pt x="5447" y="8913"/>
                </a:lnTo>
                <a:lnTo>
                  <a:pt x="5465" y="8913"/>
                </a:lnTo>
                <a:lnTo>
                  <a:pt x="5484" y="8911"/>
                </a:lnTo>
                <a:lnTo>
                  <a:pt x="5501" y="8909"/>
                </a:lnTo>
                <a:lnTo>
                  <a:pt x="5517" y="8904"/>
                </a:lnTo>
                <a:lnTo>
                  <a:pt x="5524" y="8902"/>
                </a:lnTo>
                <a:lnTo>
                  <a:pt x="5531" y="8899"/>
                </a:lnTo>
                <a:lnTo>
                  <a:pt x="5537" y="8895"/>
                </a:lnTo>
                <a:lnTo>
                  <a:pt x="5543" y="8892"/>
                </a:lnTo>
                <a:lnTo>
                  <a:pt x="5549" y="8887"/>
                </a:lnTo>
                <a:lnTo>
                  <a:pt x="5554" y="8881"/>
                </a:lnTo>
                <a:lnTo>
                  <a:pt x="5558" y="8876"/>
                </a:lnTo>
                <a:lnTo>
                  <a:pt x="5561" y="8870"/>
                </a:lnTo>
                <a:lnTo>
                  <a:pt x="5564" y="8864"/>
                </a:lnTo>
                <a:lnTo>
                  <a:pt x="5566" y="8857"/>
                </a:lnTo>
                <a:lnTo>
                  <a:pt x="5567" y="8849"/>
                </a:lnTo>
                <a:lnTo>
                  <a:pt x="5568" y="8841"/>
                </a:lnTo>
                <a:lnTo>
                  <a:pt x="5587" y="8842"/>
                </a:lnTo>
                <a:lnTo>
                  <a:pt x="5603" y="8844"/>
                </a:lnTo>
                <a:lnTo>
                  <a:pt x="5619" y="8848"/>
                </a:lnTo>
                <a:lnTo>
                  <a:pt x="5631" y="8854"/>
                </a:lnTo>
                <a:lnTo>
                  <a:pt x="5642" y="8860"/>
                </a:lnTo>
                <a:lnTo>
                  <a:pt x="5651" y="8868"/>
                </a:lnTo>
                <a:lnTo>
                  <a:pt x="5658" y="8877"/>
                </a:lnTo>
                <a:lnTo>
                  <a:pt x="5664" y="8888"/>
                </a:lnTo>
                <a:lnTo>
                  <a:pt x="5669" y="8899"/>
                </a:lnTo>
                <a:lnTo>
                  <a:pt x="5673" y="8910"/>
                </a:lnTo>
                <a:lnTo>
                  <a:pt x="5675" y="8922"/>
                </a:lnTo>
                <a:lnTo>
                  <a:pt x="5676" y="8935"/>
                </a:lnTo>
                <a:lnTo>
                  <a:pt x="5677" y="8948"/>
                </a:lnTo>
                <a:lnTo>
                  <a:pt x="5677" y="8962"/>
                </a:lnTo>
                <a:lnTo>
                  <a:pt x="5676" y="8975"/>
                </a:lnTo>
                <a:lnTo>
                  <a:pt x="5674" y="8989"/>
                </a:lnTo>
                <a:lnTo>
                  <a:pt x="5693" y="8988"/>
                </a:lnTo>
                <a:lnTo>
                  <a:pt x="5710" y="8987"/>
                </a:lnTo>
                <a:lnTo>
                  <a:pt x="5725" y="8984"/>
                </a:lnTo>
                <a:lnTo>
                  <a:pt x="5740" y="8980"/>
                </a:lnTo>
                <a:lnTo>
                  <a:pt x="5752" y="8975"/>
                </a:lnTo>
                <a:lnTo>
                  <a:pt x="5762" y="8970"/>
                </a:lnTo>
                <a:lnTo>
                  <a:pt x="5771" y="8963"/>
                </a:lnTo>
                <a:lnTo>
                  <a:pt x="5778" y="8956"/>
                </a:lnTo>
                <a:lnTo>
                  <a:pt x="5785" y="8949"/>
                </a:lnTo>
                <a:lnTo>
                  <a:pt x="5790" y="8940"/>
                </a:lnTo>
                <a:lnTo>
                  <a:pt x="5795" y="8932"/>
                </a:lnTo>
                <a:lnTo>
                  <a:pt x="5798" y="8923"/>
                </a:lnTo>
                <a:lnTo>
                  <a:pt x="5801" y="8913"/>
                </a:lnTo>
                <a:lnTo>
                  <a:pt x="5803" y="8904"/>
                </a:lnTo>
                <a:lnTo>
                  <a:pt x="5804" y="8894"/>
                </a:lnTo>
                <a:lnTo>
                  <a:pt x="5805" y="8884"/>
                </a:lnTo>
                <a:lnTo>
                  <a:pt x="5807" y="8844"/>
                </a:lnTo>
                <a:lnTo>
                  <a:pt x="5809" y="8811"/>
                </a:lnTo>
                <a:lnTo>
                  <a:pt x="5811" y="8804"/>
                </a:lnTo>
                <a:lnTo>
                  <a:pt x="5813" y="8797"/>
                </a:lnTo>
                <a:lnTo>
                  <a:pt x="5816" y="8792"/>
                </a:lnTo>
                <a:lnTo>
                  <a:pt x="5819" y="8787"/>
                </a:lnTo>
                <a:lnTo>
                  <a:pt x="5823" y="8783"/>
                </a:lnTo>
                <a:lnTo>
                  <a:pt x="5829" y="8780"/>
                </a:lnTo>
                <a:lnTo>
                  <a:pt x="5835" y="8779"/>
                </a:lnTo>
                <a:lnTo>
                  <a:pt x="5843" y="8778"/>
                </a:lnTo>
                <a:lnTo>
                  <a:pt x="5846" y="8766"/>
                </a:lnTo>
                <a:lnTo>
                  <a:pt x="5850" y="8758"/>
                </a:lnTo>
                <a:lnTo>
                  <a:pt x="5852" y="8753"/>
                </a:lnTo>
                <a:lnTo>
                  <a:pt x="5855" y="8750"/>
                </a:lnTo>
                <a:lnTo>
                  <a:pt x="5857" y="8748"/>
                </a:lnTo>
                <a:lnTo>
                  <a:pt x="5861" y="8747"/>
                </a:lnTo>
                <a:lnTo>
                  <a:pt x="5864" y="8746"/>
                </a:lnTo>
                <a:lnTo>
                  <a:pt x="5866" y="8746"/>
                </a:lnTo>
                <a:lnTo>
                  <a:pt x="5870" y="8746"/>
                </a:lnTo>
                <a:lnTo>
                  <a:pt x="5873" y="8747"/>
                </a:lnTo>
                <a:lnTo>
                  <a:pt x="5879" y="8752"/>
                </a:lnTo>
                <a:lnTo>
                  <a:pt x="5887" y="8760"/>
                </a:lnTo>
                <a:lnTo>
                  <a:pt x="5895" y="8763"/>
                </a:lnTo>
                <a:lnTo>
                  <a:pt x="5903" y="8765"/>
                </a:lnTo>
                <a:lnTo>
                  <a:pt x="5910" y="8764"/>
                </a:lnTo>
                <a:lnTo>
                  <a:pt x="5918" y="8763"/>
                </a:lnTo>
                <a:lnTo>
                  <a:pt x="5925" y="8760"/>
                </a:lnTo>
                <a:lnTo>
                  <a:pt x="5932" y="8754"/>
                </a:lnTo>
                <a:lnTo>
                  <a:pt x="5939" y="8749"/>
                </a:lnTo>
                <a:lnTo>
                  <a:pt x="5945" y="8743"/>
                </a:lnTo>
                <a:lnTo>
                  <a:pt x="5959" y="8730"/>
                </a:lnTo>
                <a:lnTo>
                  <a:pt x="5972" y="8717"/>
                </a:lnTo>
                <a:lnTo>
                  <a:pt x="5986" y="8704"/>
                </a:lnTo>
                <a:lnTo>
                  <a:pt x="5999" y="8694"/>
                </a:lnTo>
                <a:lnTo>
                  <a:pt x="6011" y="8687"/>
                </a:lnTo>
                <a:lnTo>
                  <a:pt x="6028" y="8677"/>
                </a:lnTo>
                <a:lnTo>
                  <a:pt x="6045" y="8668"/>
                </a:lnTo>
                <a:lnTo>
                  <a:pt x="6055" y="8665"/>
                </a:lnTo>
                <a:lnTo>
                  <a:pt x="6073" y="8674"/>
                </a:lnTo>
                <a:lnTo>
                  <a:pt x="6084" y="8680"/>
                </a:lnTo>
                <a:lnTo>
                  <a:pt x="6088" y="8683"/>
                </a:lnTo>
                <a:lnTo>
                  <a:pt x="6092" y="8686"/>
                </a:lnTo>
                <a:lnTo>
                  <a:pt x="6096" y="8691"/>
                </a:lnTo>
                <a:lnTo>
                  <a:pt x="6100" y="8697"/>
                </a:lnTo>
                <a:lnTo>
                  <a:pt x="6112" y="8697"/>
                </a:lnTo>
                <a:lnTo>
                  <a:pt x="6123" y="8696"/>
                </a:lnTo>
                <a:lnTo>
                  <a:pt x="6133" y="8694"/>
                </a:lnTo>
                <a:lnTo>
                  <a:pt x="6144" y="8691"/>
                </a:lnTo>
                <a:lnTo>
                  <a:pt x="6166" y="8685"/>
                </a:lnTo>
                <a:lnTo>
                  <a:pt x="6187" y="8676"/>
                </a:lnTo>
                <a:lnTo>
                  <a:pt x="6207" y="8666"/>
                </a:lnTo>
                <a:lnTo>
                  <a:pt x="6228" y="8655"/>
                </a:lnTo>
                <a:lnTo>
                  <a:pt x="6248" y="8643"/>
                </a:lnTo>
                <a:lnTo>
                  <a:pt x="6267" y="8629"/>
                </a:lnTo>
                <a:lnTo>
                  <a:pt x="6274" y="8630"/>
                </a:lnTo>
                <a:lnTo>
                  <a:pt x="6280" y="8633"/>
                </a:lnTo>
                <a:lnTo>
                  <a:pt x="6286" y="8636"/>
                </a:lnTo>
                <a:lnTo>
                  <a:pt x="6291" y="8640"/>
                </a:lnTo>
                <a:lnTo>
                  <a:pt x="6296" y="8645"/>
                </a:lnTo>
                <a:lnTo>
                  <a:pt x="6301" y="8649"/>
                </a:lnTo>
                <a:lnTo>
                  <a:pt x="6305" y="8655"/>
                </a:lnTo>
                <a:lnTo>
                  <a:pt x="6309" y="8661"/>
                </a:lnTo>
                <a:lnTo>
                  <a:pt x="6324" y="8689"/>
                </a:lnTo>
                <a:lnTo>
                  <a:pt x="6339" y="8721"/>
                </a:lnTo>
                <a:lnTo>
                  <a:pt x="6347" y="8737"/>
                </a:lnTo>
                <a:lnTo>
                  <a:pt x="6357" y="8753"/>
                </a:lnTo>
                <a:lnTo>
                  <a:pt x="6362" y="8761"/>
                </a:lnTo>
                <a:lnTo>
                  <a:pt x="6369" y="8768"/>
                </a:lnTo>
                <a:lnTo>
                  <a:pt x="6375" y="8775"/>
                </a:lnTo>
                <a:lnTo>
                  <a:pt x="6382" y="8782"/>
                </a:lnTo>
                <a:lnTo>
                  <a:pt x="6389" y="8788"/>
                </a:lnTo>
                <a:lnTo>
                  <a:pt x="6397" y="8793"/>
                </a:lnTo>
                <a:lnTo>
                  <a:pt x="6406" y="8798"/>
                </a:lnTo>
                <a:lnTo>
                  <a:pt x="6415" y="8803"/>
                </a:lnTo>
                <a:lnTo>
                  <a:pt x="6425" y="8807"/>
                </a:lnTo>
                <a:lnTo>
                  <a:pt x="6436" y="8810"/>
                </a:lnTo>
                <a:lnTo>
                  <a:pt x="6448" y="8812"/>
                </a:lnTo>
                <a:lnTo>
                  <a:pt x="6461" y="8813"/>
                </a:lnTo>
                <a:lnTo>
                  <a:pt x="6486" y="8815"/>
                </a:lnTo>
                <a:lnTo>
                  <a:pt x="6516" y="8818"/>
                </a:lnTo>
                <a:lnTo>
                  <a:pt x="6549" y="8820"/>
                </a:lnTo>
                <a:lnTo>
                  <a:pt x="6584" y="8820"/>
                </a:lnTo>
                <a:lnTo>
                  <a:pt x="6601" y="8820"/>
                </a:lnTo>
                <a:lnTo>
                  <a:pt x="6619" y="8820"/>
                </a:lnTo>
                <a:lnTo>
                  <a:pt x="6635" y="8818"/>
                </a:lnTo>
                <a:lnTo>
                  <a:pt x="6651" y="8816"/>
                </a:lnTo>
                <a:lnTo>
                  <a:pt x="6665" y="8814"/>
                </a:lnTo>
                <a:lnTo>
                  <a:pt x="6679" y="8810"/>
                </a:lnTo>
                <a:lnTo>
                  <a:pt x="6690" y="8805"/>
                </a:lnTo>
                <a:lnTo>
                  <a:pt x="6701" y="8799"/>
                </a:lnTo>
                <a:lnTo>
                  <a:pt x="6703" y="8798"/>
                </a:lnTo>
                <a:lnTo>
                  <a:pt x="6707" y="8798"/>
                </a:lnTo>
                <a:lnTo>
                  <a:pt x="6710" y="8799"/>
                </a:lnTo>
                <a:lnTo>
                  <a:pt x="6715" y="8801"/>
                </a:lnTo>
                <a:lnTo>
                  <a:pt x="6724" y="8806"/>
                </a:lnTo>
                <a:lnTo>
                  <a:pt x="6734" y="8812"/>
                </a:lnTo>
                <a:lnTo>
                  <a:pt x="6745" y="8820"/>
                </a:lnTo>
                <a:lnTo>
                  <a:pt x="6754" y="8829"/>
                </a:lnTo>
                <a:lnTo>
                  <a:pt x="6760" y="8837"/>
                </a:lnTo>
                <a:lnTo>
                  <a:pt x="6764" y="8843"/>
                </a:lnTo>
                <a:lnTo>
                  <a:pt x="6772" y="8844"/>
                </a:lnTo>
                <a:lnTo>
                  <a:pt x="6779" y="8845"/>
                </a:lnTo>
                <a:lnTo>
                  <a:pt x="6785" y="8847"/>
                </a:lnTo>
                <a:lnTo>
                  <a:pt x="6791" y="8850"/>
                </a:lnTo>
                <a:lnTo>
                  <a:pt x="6795" y="8853"/>
                </a:lnTo>
                <a:lnTo>
                  <a:pt x="6799" y="8856"/>
                </a:lnTo>
                <a:lnTo>
                  <a:pt x="6802" y="8860"/>
                </a:lnTo>
                <a:lnTo>
                  <a:pt x="6805" y="8864"/>
                </a:lnTo>
                <a:lnTo>
                  <a:pt x="6811" y="8871"/>
                </a:lnTo>
                <a:lnTo>
                  <a:pt x="6815" y="8878"/>
                </a:lnTo>
                <a:lnTo>
                  <a:pt x="6818" y="8880"/>
                </a:lnTo>
                <a:lnTo>
                  <a:pt x="6821" y="8882"/>
                </a:lnTo>
                <a:lnTo>
                  <a:pt x="6824" y="8884"/>
                </a:lnTo>
                <a:lnTo>
                  <a:pt x="6827" y="8884"/>
                </a:lnTo>
                <a:lnTo>
                  <a:pt x="6829" y="8888"/>
                </a:lnTo>
                <a:lnTo>
                  <a:pt x="6831" y="8890"/>
                </a:lnTo>
                <a:lnTo>
                  <a:pt x="6834" y="8893"/>
                </a:lnTo>
                <a:lnTo>
                  <a:pt x="6836" y="8894"/>
                </a:lnTo>
                <a:lnTo>
                  <a:pt x="6839" y="8895"/>
                </a:lnTo>
                <a:lnTo>
                  <a:pt x="6842" y="8896"/>
                </a:lnTo>
                <a:lnTo>
                  <a:pt x="6845" y="8896"/>
                </a:lnTo>
                <a:lnTo>
                  <a:pt x="6848" y="8895"/>
                </a:lnTo>
                <a:lnTo>
                  <a:pt x="6850" y="8898"/>
                </a:lnTo>
                <a:lnTo>
                  <a:pt x="6852" y="8901"/>
                </a:lnTo>
                <a:lnTo>
                  <a:pt x="6855" y="8904"/>
                </a:lnTo>
                <a:lnTo>
                  <a:pt x="6858" y="8907"/>
                </a:lnTo>
                <a:lnTo>
                  <a:pt x="6866" y="8913"/>
                </a:lnTo>
                <a:lnTo>
                  <a:pt x="6876" y="8919"/>
                </a:lnTo>
                <a:lnTo>
                  <a:pt x="6886" y="8928"/>
                </a:lnTo>
                <a:lnTo>
                  <a:pt x="6895" y="8938"/>
                </a:lnTo>
                <a:lnTo>
                  <a:pt x="6900" y="8944"/>
                </a:lnTo>
                <a:lnTo>
                  <a:pt x="6905" y="8951"/>
                </a:lnTo>
                <a:lnTo>
                  <a:pt x="6909" y="8959"/>
                </a:lnTo>
                <a:lnTo>
                  <a:pt x="6913" y="8968"/>
                </a:lnTo>
                <a:lnTo>
                  <a:pt x="6913" y="8972"/>
                </a:lnTo>
                <a:lnTo>
                  <a:pt x="6914" y="8976"/>
                </a:lnTo>
                <a:lnTo>
                  <a:pt x="6915" y="8980"/>
                </a:lnTo>
                <a:lnTo>
                  <a:pt x="6917" y="8984"/>
                </a:lnTo>
                <a:lnTo>
                  <a:pt x="6921" y="8990"/>
                </a:lnTo>
                <a:lnTo>
                  <a:pt x="6927" y="8996"/>
                </a:lnTo>
                <a:lnTo>
                  <a:pt x="6935" y="9002"/>
                </a:lnTo>
                <a:lnTo>
                  <a:pt x="6943" y="9007"/>
                </a:lnTo>
                <a:lnTo>
                  <a:pt x="6951" y="9012"/>
                </a:lnTo>
                <a:lnTo>
                  <a:pt x="6960" y="9017"/>
                </a:lnTo>
                <a:lnTo>
                  <a:pt x="6977" y="9025"/>
                </a:lnTo>
                <a:lnTo>
                  <a:pt x="6992" y="9034"/>
                </a:lnTo>
                <a:lnTo>
                  <a:pt x="6999" y="9038"/>
                </a:lnTo>
                <a:lnTo>
                  <a:pt x="7004" y="9043"/>
                </a:lnTo>
                <a:lnTo>
                  <a:pt x="7007" y="9048"/>
                </a:lnTo>
                <a:lnTo>
                  <a:pt x="7008" y="9053"/>
                </a:lnTo>
                <a:lnTo>
                  <a:pt x="7019" y="9059"/>
                </a:lnTo>
                <a:lnTo>
                  <a:pt x="7027" y="9065"/>
                </a:lnTo>
                <a:lnTo>
                  <a:pt x="7032" y="9070"/>
                </a:lnTo>
                <a:lnTo>
                  <a:pt x="7035" y="9075"/>
                </a:lnTo>
                <a:lnTo>
                  <a:pt x="7036" y="9079"/>
                </a:lnTo>
                <a:lnTo>
                  <a:pt x="7036" y="9083"/>
                </a:lnTo>
                <a:lnTo>
                  <a:pt x="7036" y="9088"/>
                </a:lnTo>
                <a:lnTo>
                  <a:pt x="7035" y="9091"/>
                </a:lnTo>
                <a:lnTo>
                  <a:pt x="7035" y="9095"/>
                </a:lnTo>
                <a:lnTo>
                  <a:pt x="7035" y="9099"/>
                </a:lnTo>
                <a:lnTo>
                  <a:pt x="7038" y="9104"/>
                </a:lnTo>
                <a:lnTo>
                  <a:pt x="7042" y="9108"/>
                </a:lnTo>
                <a:lnTo>
                  <a:pt x="7048" y="9112"/>
                </a:lnTo>
                <a:lnTo>
                  <a:pt x="7058" y="9117"/>
                </a:lnTo>
                <a:lnTo>
                  <a:pt x="7071" y="9122"/>
                </a:lnTo>
                <a:lnTo>
                  <a:pt x="7088" y="9128"/>
                </a:lnTo>
                <a:lnTo>
                  <a:pt x="7110" y="9136"/>
                </a:lnTo>
                <a:lnTo>
                  <a:pt x="7132" y="9144"/>
                </a:lnTo>
                <a:lnTo>
                  <a:pt x="7153" y="9152"/>
                </a:lnTo>
                <a:lnTo>
                  <a:pt x="7174" y="9160"/>
                </a:lnTo>
                <a:lnTo>
                  <a:pt x="7195" y="9167"/>
                </a:lnTo>
                <a:lnTo>
                  <a:pt x="7216" y="9173"/>
                </a:lnTo>
                <a:lnTo>
                  <a:pt x="7239" y="9177"/>
                </a:lnTo>
                <a:lnTo>
                  <a:pt x="7262" y="9180"/>
                </a:lnTo>
                <a:lnTo>
                  <a:pt x="7264" y="9173"/>
                </a:lnTo>
                <a:lnTo>
                  <a:pt x="7266" y="9168"/>
                </a:lnTo>
                <a:lnTo>
                  <a:pt x="7269" y="9163"/>
                </a:lnTo>
                <a:lnTo>
                  <a:pt x="7271" y="9159"/>
                </a:lnTo>
                <a:lnTo>
                  <a:pt x="7274" y="9156"/>
                </a:lnTo>
                <a:lnTo>
                  <a:pt x="7277" y="9153"/>
                </a:lnTo>
                <a:lnTo>
                  <a:pt x="7281" y="9151"/>
                </a:lnTo>
                <a:lnTo>
                  <a:pt x="7284" y="9150"/>
                </a:lnTo>
                <a:lnTo>
                  <a:pt x="7291" y="9149"/>
                </a:lnTo>
                <a:lnTo>
                  <a:pt x="7299" y="9151"/>
                </a:lnTo>
                <a:lnTo>
                  <a:pt x="7307" y="9153"/>
                </a:lnTo>
                <a:lnTo>
                  <a:pt x="7315" y="9157"/>
                </a:lnTo>
                <a:lnTo>
                  <a:pt x="7332" y="9168"/>
                </a:lnTo>
                <a:lnTo>
                  <a:pt x="7349" y="9179"/>
                </a:lnTo>
                <a:lnTo>
                  <a:pt x="7357" y="9183"/>
                </a:lnTo>
                <a:lnTo>
                  <a:pt x="7364" y="9187"/>
                </a:lnTo>
                <a:lnTo>
                  <a:pt x="7372" y="9190"/>
                </a:lnTo>
                <a:lnTo>
                  <a:pt x="7379" y="9191"/>
                </a:lnTo>
                <a:lnTo>
                  <a:pt x="7385" y="9201"/>
                </a:lnTo>
                <a:lnTo>
                  <a:pt x="7390" y="9207"/>
                </a:lnTo>
                <a:lnTo>
                  <a:pt x="7395" y="9210"/>
                </a:lnTo>
                <a:lnTo>
                  <a:pt x="7400" y="9212"/>
                </a:lnTo>
                <a:lnTo>
                  <a:pt x="7404" y="9213"/>
                </a:lnTo>
                <a:lnTo>
                  <a:pt x="7409" y="9216"/>
                </a:lnTo>
                <a:lnTo>
                  <a:pt x="7414" y="9222"/>
                </a:lnTo>
                <a:lnTo>
                  <a:pt x="7420" y="9233"/>
                </a:lnTo>
                <a:lnTo>
                  <a:pt x="7437" y="9247"/>
                </a:lnTo>
                <a:lnTo>
                  <a:pt x="7450" y="9258"/>
                </a:lnTo>
                <a:lnTo>
                  <a:pt x="7460" y="9269"/>
                </a:lnTo>
                <a:lnTo>
                  <a:pt x="7467" y="9277"/>
                </a:lnTo>
                <a:lnTo>
                  <a:pt x="7472" y="9284"/>
                </a:lnTo>
                <a:lnTo>
                  <a:pt x="7475" y="9290"/>
                </a:lnTo>
                <a:lnTo>
                  <a:pt x="7477" y="9295"/>
                </a:lnTo>
                <a:lnTo>
                  <a:pt x="7478" y="9300"/>
                </a:lnTo>
                <a:lnTo>
                  <a:pt x="7478" y="9310"/>
                </a:lnTo>
                <a:lnTo>
                  <a:pt x="7479" y="9324"/>
                </a:lnTo>
                <a:lnTo>
                  <a:pt x="7480" y="9332"/>
                </a:lnTo>
                <a:lnTo>
                  <a:pt x="7483" y="9343"/>
                </a:lnTo>
                <a:lnTo>
                  <a:pt x="7487" y="9355"/>
                </a:lnTo>
                <a:lnTo>
                  <a:pt x="7494" y="9370"/>
                </a:lnTo>
                <a:lnTo>
                  <a:pt x="7503" y="9377"/>
                </a:lnTo>
                <a:lnTo>
                  <a:pt x="7511" y="9385"/>
                </a:lnTo>
                <a:lnTo>
                  <a:pt x="7518" y="9396"/>
                </a:lnTo>
                <a:lnTo>
                  <a:pt x="7524" y="9406"/>
                </a:lnTo>
                <a:lnTo>
                  <a:pt x="7530" y="9418"/>
                </a:lnTo>
                <a:lnTo>
                  <a:pt x="7535" y="9431"/>
                </a:lnTo>
                <a:lnTo>
                  <a:pt x="7540" y="9445"/>
                </a:lnTo>
                <a:lnTo>
                  <a:pt x="7544" y="9459"/>
                </a:lnTo>
                <a:lnTo>
                  <a:pt x="7552" y="9488"/>
                </a:lnTo>
                <a:lnTo>
                  <a:pt x="7558" y="9519"/>
                </a:lnTo>
                <a:lnTo>
                  <a:pt x="7564" y="9546"/>
                </a:lnTo>
                <a:lnTo>
                  <a:pt x="7569" y="9571"/>
                </a:lnTo>
                <a:lnTo>
                  <a:pt x="7565" y="9572"/>
                </a:lnTo>
                <a:lnTo>
                  <a:pt x="7562" y="9573"/>
                </a:lnTo>
                <a:lnTo>
                  <a:pt x="7560" y="9575"/>
                </a:lnTo>
                <a:lnTo>
                  <a:pt x="7557" y="9578"/>
                </a:lnTo>
                <a:lnTo>
                  <a:pt x="7554" y="9585"/>
                </a:lnTo>
                <a:lnTo>
                  <a:pt x="7551" y="9594"/>
                </a:lnTo>
                <a:lnTo>
                  <a:pt x="7549" y="9605"/>
                </a:lnTo>
                <a:lnTo>
                  <a:pt x="7549" y="9618"/>
                </a:lnTo>
                <a:lnTo>
                  <a:pt x="7549" y="9631"/>
                </a:lnTo>
                <a:lnTo>
                  <a:pt x="7549" y="9646"/>
                </a:lnTo>
                <a:lnTo>
                  <a:pt x="7551" y="9674"/>
                </a:lnTo>
                <a:lnTo>
                  <a:pt x="7554" y="9700"/>
                </a:lnTo>
                <a:lnTo>
                  <a:pt x="7557" y="9719"/>
                </a:lnTo>
                <a:lnTo>
                  <a:pt x="7558" y="9730"/>
                </a:lnTo>
                <a:lnTo>
                  <a:pt x="7554" y="9730"/>
                </a:lnTo>
                <a:lnTo>
                  <a:pt x="7552" y="9731"/>
                </a:lnTo>
                <a:lnTo>
                  <a:pt x="7550" y="9732"/>
                </a:lnTo>
                <a:lnTo>
                  <a:pt x="7550" y="9733"/>
                </a:lnTo>
                <a:lnTo>
                  <a:pt x="7552" y="9737"/>
                </a:lnTo>
                <a:lnTo>
                  <a:pt x="7557" y="9742"/>
                </a:lnTo>
                <a:lnTo>
                  <a:pt x="7564" y="9747"/>
                </a:lnTo>
                <a:lnTo>
                  <a:pt x="7574" y="9752"/>
                </a:lnTo>
                <a:lnTo>
                  <a:pt x="7586" y="9756"/>
                </a:lnTo>
                <a:lnTo>
                  <a:pt x="7599" y="9760"/>
                </a:lnTo>
                <a:lnTo>
                  <a:pt x="7612" y="9762"/>
                </a:lnTo>
                <a:lnTo>
                  <a:pt x="7626" y="9763"/>
                </a:lnTo>
                <a:lnTo>
                  <a:pt x="7632" y="9763"/>
                </a:lnTo>
                <a:lnTo>
                  <a:pt x="7639" y="9762"/>
                </a:lnTo>
                <a:lnTo>
                  <a:pt x="7644" y="9760"/>
                </a:lnTo>
                <a:lnTo>
                  <a:pt x="7650" y="9758"/>
                </a:lnTo>
                <a:lnTo>
                  <a:pt x="7655" y="9755"/>
                </a:lnTo>
                <a:lnTo>
                  <a:pt x="7660" y="9751"/>
                </a:lnTo>
                <a:lnTo>
                  <a:pt x="7664" y="9746"/>
                </a:lnTo>
                <a:lnTo>
                  <a:pt x="7668" y="9741"/>
                </a:lnTo>
                <a:lnTo>
                  <a:pt x="7671" y="9734"/>
                </a:lnTo>
                <a:lnTo>
                  <a:pt x="7673" y="9727"/>
                </a:lnTo>
                <a:lnTo>
                  <a:pt x="7674" y="9719"/>
                </a:lnTo>
                <a:lnTo>
                  <a:pt x="7675" y="9709"/>
                </a:lnTo>
                <a:lnTo>
                  <a:pt x="7687" y="9712"/>
                </a:lnTo>
                <a:lnTo>
                  <a:pt x="7698" y="9716"/>
                </a:lnTo>
                <a:lnTo>
                  <a:pt x="7710" y="9721"/>
                </a:lnTo>
                <a:lnTo>
                  <a:pt x="7720" y="9727"/>
                </a:lnTo>
                <a:lnTo>
                  <a:pt x="7741" y="9740"/>
                </a:lnTo>
                <a:lnTo>
                  <a:pt x="7761" y="9755"/>
                </a:lnTo>
                <a:lnTo>
                  <a:pt x="7780" y="9770"/>
                </a:lnTo>
                <a:lnTo>
                  <a:pt x="7798" y="9782"/>
                </a:lnTo>
                <a:lnTo>
                  <a:pt x="7806" y="9787"/>
                </a:lnTo>
                <a:lnTo>
                  <a:pt x="7815" y="9791"/>
                </a:lnTo>
                <a:lnTo>
                  <a:pt x="7824" y="9793"/>
                </a:lnTo>
                <a:lnTo>
                  <a:pt x="7833" y="9794"/>
                </a:lnTo>
                <a:lnTo>
                  <a:pt x="7831" y="9800"/>
                </a:lnTo>
                <a:lnTo>
                  <a:pt x="7829" y="9805"/>
                </a:lnTo>
                <a:lnTo>
                  <a:pt x="7828" y="9811"/>
                </a:lnTo>
                <a:lnTo>
                  <a:pt x="7828" y="9816"/>
                </a:lnTo>
                <a:lnTo>
                  <a:pt x="7829" y="9822"/>
                </a:lnTo>
                <a:lnTo>
                  <a:pt x="7829" y="9827"/>
                </a:lnTo>
                <a:lnTo>
                  <a:pt x="7831" y="9832"/>
                </a:lnTo>
                <a:lnTo>
                  <a:pt x="7833" y="9836"/>
                </a:lnTo>
                <a:lnTo>
                  <a:pt x="7838" y="9844"/>
                </a:lnTo>
                <a:lnTo>
                  <a:pt x="7844" y="9851"/>
                </a:lnTo>
                <a:lnTo>
                  <a:pt x="7851" y="9857"/>
                </a:lnTo>
                <a:lnTo>
                  <a:pt x="7859" y="9860"/>
                </a:lnTo>
                <a:lnTo>
                  <a:pt x="7863" y="9862"/>
                </a:lnTo>
                <a:lnTo>
                  <a:pt x="7868" y="9862"/>
                </a:lnTo>
                <a:lnTo>
                  <a:pt x="7872" y="9862"/>
                </a:lnTo>
                <a:lnTo>
                  <a:pt x="7877" y="9862"/>
                </a:lnTo>
                <a:lnTo>
                  <a:pt x="7881" y="9861"/>
                </a:lnTo>
                <a:lnTo>
                  <a:pt x="7885" y="9859"/>
                </a:lnTo>
                <a:lnTo>
                  <a:pt x="7889" y="9857"/>
                </a:lnTo>
                <a:lnTo>
                  <a:pt x="7892" y="9854"/>
                </a:lnTo>
                <a:lnTo>
                  <a:pt x="7895" y="9850"/>
                </a:lnTo>
                <a:lnTo>
                  <a:pt x="7898" y="9846"/>
                </a:lnTo>
                <a:lnTo>
                  <a:pt x="7901" y="9841"/>
                </a:lnTo>
                <a:lnTo>
                  <a:pt x="7903" y="9836"/>
                </a:lnTo>
                <a:lnTo>
                  <a:pt x="7905" y="9829"/>
                </a:lnTo>
                <a:lnTo>
                  <a:pt x="7906" y="9822"/>
                </a:lnTo>
                <a:lnTo>
                  <a:pt x="7907" y="9814"/>
                </a:lnTo>
                <a:lnTo>
                  <a:pt x="7907" y="9805"/>
                </a:lnTo>
                <a:lnTo>
                  <a:pt x="7916" y="9806"/>
                </a:lnTo>
                <a:lnTo>
                  <a:pt x="7925" y="9808"/>
                </a:lnTo>
                <a:lnTo>
                  <a:pt x="7932" y="9811"/>
                </a:lnTo>
                <a:lnTo>
                  <a:pt x="7939" y="9815"/>
                </a:lnTo>
                <a:lnTo>
                  <a:pt x="7945" y="9819"/>
                </a:lnTo>
                <a:lnTo>
                  <a:pt x="7951" y="9824"/>
                </a:lnTo>
                <a:lnTo>
                  <a:pt x="7956" y="9829"/>
                </a:lnTo>
                <a:lnTo>
                  <a:pt x="7961" y="9835"/>
                </a:lnTo>
                <a:lnTo>
                  <a:pt x="7965" y="9841"/>
                </a:lnTo>
                <a:lnTo>
                  <a:pt x="7968" y="9848"/>
                </a:lnTo>
                <a:lnTo>
                  <a:pt x="7971" y="9855"/>
                </a:lnTo>
                <a:lnTo>
                  <a:pt x="7974" y="9862"/>
                </a:lnTo>
                <a:lnTo>
                  <a:pt x="7978" y="9878"/>
                </a:lnTo>
                <a:lnTo>
                  <a:pt x="7980" y="9896"/>
                </a:lnTo>
                <a:lnTo>
                  <a:pt x="7981" y="9913"/>
                </a:lnTo>
                <a:lnTo>
                  <a:pt x="7981" y="9930"/>
                </a:lnTo>
                <a:lnTo>
                  <a:pt x="7980" y="9947"/>
                </a:lnTo>
                <a:lnTo>
                  <a:pt x="7979" y="9963"/>
                </a:lnTo>
                <a:lnTo>
                  <a:pt x="7975" y="9993"/>
                </a:lnTo>
                <a:lnTo>
                  <a:pt x="7970" y="10016"/>
                </a:lnTo>
                <a:lnTo>
                  <a:pt x="7985" y="10015"/>
                </a:lnTo>
                <a:lnTo>
                  <a:pt x="7998" y="10013"/>
                </a:lnTo>
                <a:lnTo>
                  <a:pt x="8011" y="10010"/>
                </a:lnTo>
                <a:lnTo>
                  <a:pt x="8022" y="10007"/>
                </a:lnTo>
                <a:lnTo>
                  <a:pt x="8041" y="9998"/>
                </a:lnTo>
                <a:lnTo>
                  <a:pt x="8059" y="9987"/>
                </a:lnTo>
                <a:lnTo>
                  <a:pt x="8068" y="9982"/>
                </a:lnTo>
                <a:lnTo>
                  <a:pt x="8077" y="9977"/>
                </a:lnTo>
                <a:lnTo>
                  <a:pt x="8086" y="9972"/>
                </a:lnTo>
                <a:lnTo>
                  <a:pt x="8096" y="9968"/>
                </a:lnTo>
                <a:lnTo>
                  <a:pt x="8107" y="9965"/>
                </a:lnTo>
                <a:lnTo>
                  <a:pt x="8120" y="9962"/>
                </a:lnTo>
                <a:lnTo>
                  <a:pt x="8134" y="9961"/>
                </a:lnTo>
                <a:lnTo>
                  <a:pt x="8149" y="9961"/>
                </a:lnTo>
                <a:lnTo>
                  <a:pt x="8186" y="9966"/>
                </a:lnTo>
                <a:lnTo>
                  <a:pt x="8219" y="9972"/>
                </a:lnTo>
                <a:lnTo>
                  <a:pt x="8227" y="9973"/>
                </a:lnTo>
                <a:lnTo>
                  <a:pt x="8234" y="9972"/>
                </a:lnTo>
                <a:lnTo>
                  <a:pt x="8241" y="9971"/>
                </a:lnTo>
                <a:lnTo>
                  <a:pt x="8247" y="9968"/>
                </a:lnTo>
                <a:lnTo>
                  <a:pt x="8254" y="9964"/>
                </a:lnTo>
                <a:lnTo>
                  <a:pt x="8259" y="9959"/>
                </a:lnTo>
                <a:lnTo>
                  <a:pt x="8264" y="9951"/>
                </a:lnTo>
                <a:lnTo>
                  <a:pt x="8267" y="9942"/>
                </a:lnTo>
                <a:lnTo>
                  <a:pt x="8289" y="9949"/>
                </a:lnTo>
                <a:lnTo>
                  <a:pt x="8309" y="9957"/>
                </a:lnTo>
                <a:lnTo>
                  <a:pt x="8327" y="9964"/>
                </a:lnTo>
                <a:lnTo>
                  <a:pt x="8344" y="9972"/>
                </a:lnTo>
                <a:lnTo>
                  <a:pt x="8361" y="9980"/>
                </a:lnTo>
                <a:lnTo>
                  <a:pt x="8376" y="9988"/>
                </a:lnTo>
                <a:lnTo>
                  <a:pt x="8392" y="9996"/>
                </a:lnTo>
                <a:lnTo>
                  <a:pt x="8406" y="10005"/>
                </a:lnTo>
                <a:lnTo>
                  <a:pt x="8433" y="10024"/>
                </a:lnTo>
                <a:lnTo>
                  <a:pt x="8459" y="10044"/>
                </a:lnTo>
                <a:lnTo>
                  <a:pt x="8486" y="10067"/>
                </a:lnTo>
                <a:lnTo>
                  <a:pt x="8515" y="10092"/>
                </a:lnTo>
                <a:lnTo>
                  <a:pt x="8528" y="10104"/>
                </a:lnTo>
                <a:lnTo>
                  <a:pt x="8540" y="10116"/>
                </a:lnTo>
                <a:lnTo>
                  <a:pt x="8550" y="10130"/>
                </a:lnTo>
                <a:lnTo>
                  <a:pt x="8561" y="10146"/>
                </a:lnTo>
                <a:lnTo>
                  <a:pt x="8570" y="10161"/>
                </a:lnTo>
                <a:lnTo>
                  <a:pt x="8579" y="10178"/>
                </a:lnTo>
                <a:lnTo>
                  <a:pt x="8587" y="10195"/>
                </a:lnTo>
                <a:lnTo>
                  <a:pt x="8595" y="10212"/>
                </a:lnTo>
                <a:lnTo>
                  <a:pt x="8602" y="10230"/>
                </a:lnTo>
                <a:lnTo>
                  <a:pt x="8607" y="10249"/>
                </a:lnTo>
                <a:lnTo>
                  <a:pt x="8613" y="10268"/>
                </a:lnTo>
                <a:lnTo>
                  <a:pt x="8617" y="10288"/>
                </a:lnTo>
                <a:lnTo>
                  <a:pt x="8621" y="10307"/>
                </a:lnTo>
                <a:lnTo>
                  <a:pt x="8624" y="10327"/>
                </a:lnTo>
                <a:lnTo>
                  <a:pt x="8626" y="10347"/>
                </a:lnTo>
                <a:lnTo>
                  <a:pt x="8627" y="10366"/>
                </a:lnTo>
                <a:lnTo>
                  <a:pt x="8628" y="10386"/>
                </a:lnTo>
                <a:lnTo>
                  <a:pt x="8627" y="10407"/>
                </a:lnTo>
                <a:lnTo>
                  <a:pt x="8626" y="10426"/>
                </a:lnTo>
                <a:lnTo>
                  <a:pt x="8624" y="10445"/>
                </a:lnTo>
                <a:lnTo>
                  <a:pt x="8621" y="10464"/>
                </a:lnTo>
                <a:lnTo>
                  <a:pt x="8617" y="10482"/>
                </a:lnTo>
                <a:lnTo>
                  <a:pt x="8613" y="10500"/>
                </a:lnTo>
                <a:lnTo>
                  <a:pt x="8607" y="10518"/>
                </a:lnTo>
                <a:lnTo>
                  <a:pt x="8601" y="10535"/>
                </a:lnTo>
                <a:lnTo>
                  <a:pt x="8594" y="10551"/>
                </a:lnTo>
                <a:lnTo>
                  <a:pt x="8586" y="10567"/>
                </a:lnTo>
                <a:lnTo>
                  <a:pt x="8577" y="10581"/>
                </a:lnTo>
                <a:lnTo>
                  <a:pt x="8567" y="10595"/>
                </a:lnTo>
                <a:lnTo>
                  <a:pt x="8556" y="10607"/>
                </a:lnTo>
                <a:lnTo>
                  <a:pt x="8544" y="10619"/>
                </a:lnTo>
                <a:lnTo>
                  <a:pt x="8532" y="10629"/>
                </a:lnTo>
                <a:lnTo>
                  <a:pt x="8530" y="10635"/>
                </a:lnTo>
                <a:lnTo>
                  <a:pt x="8525" y="10643"/>
                </a:lnTo>
                <a:lnTo>
                  <a:pt x="8518" y="10655"/>
                </a:lnTo>
                <a:lnTo>
                  <a:pt x="8508" y="10668"/>
                </a:lnTo>
                <a:lnTo>
                  <a:pt x="8482" y="10699"/>
                </a:lnTo>
                <a:lnTo>
                  <a:pt x="8454" y="10732"/>
                </a:lnTo>
                <a:lnTo>
                  <a:pt x="8425" y="10765"/>
                </a:lnTo>
                <a:lnTo>
                  <a:pt x="8400" y="10794"/>
                </a:lnTo>
                <a:lnTo>
                  <a:pt x="8382" y="10813"/>
                </a:lnTo>
                <a:lnTo>
                  <a:pt x="8373" y="10821"/>
                </a:lnTo>
                <a:lnTo>
                  <a:pt x="8372" y="10836"/>
                </a:lnTo>
                <a:lnTo>
                  <a:pt x="8372" y="10865"/>
                </a:lnTo>
                <a:lnTo>
                  <a:pt x="8371" y="10904"/>
                </a:lnTo>
                <a:lnTo>
                  <a:pt x="8369" y="10945"/>
                </a:lnTo>
                <a:lnTo>
                  <a:pt x="8368" y="10985"/>
                </a:lnTo>
                <a:lnTo>
                  <a:pt x="8366" y="11019"/>
                </a:lnTo>
                <a:lnTo>
                  <a:pt x="8365" y="11034"/>
                </a:lnTo>
                <a:lnTo>
                  <a:pt x="8364" y="11044"/>
                </a:lnTo>
                <a:lnTo>
                  <a:pt x="8363" y="11051"/>
                </a:lnTo>
                <a:lnTo>
                  <a:pt x="8362" y="11053"/>
                </a:lnTo>
                <a:lnTo>
                  <a:pt x="8360" y="11077"/>
                </a:lnTo>
                <a:lnTo>
                  <a:pt x="8356" y="11114"/>
                </a:lnTo>
                <a:lnTo>
                  <a:pt x="8350" y="11159"/>
                </a:lnTo>
                <a:lnTo>
                  <a:pt x="8342" y="11207"/>
                </a:lnTo>
                <a:lnTo>
                  <a:pt x="8337" y="11230"/>
                </a:lnTo>
                <a:lnTo>
                  <a:pt x="8332" y="11252"/>
                </a:lnTo>
                <a:lnTo>
                  <a:pt x="8327" y="11272"/>
                </a:lnTo>
                <a:lnTo>
                  <a:pt x="8322" y="11292"/>
                </a:lnTo>
                <a:lnTo>
                  <a:pt x="8316" y="11307"/>
                </a:lnTo>
                <a:lnTo>
                  <a:pt x="8310" y="11318"/>
                </a:lnTo>
                <a:lnTo>
                  <a:pt x="8307" y="11323"/>
                </a:lnTo>
                <a:lnTo>
                  <a:pt x="8305" y="11326"/>
                </a:lnTo>
                <a:lnTo>
                  <a:pt x="8302" y="11328"/>
                </a:lnTo>
                <a:lnTo>
                  <a:pt x="8299" y="11328"/>
                </a:lnTo>
                <a:lnTo>
                  <a:pt x="8298" y="11350"/>
                </a:lnTo>
                <a:lnTo>
                  <a:pt x="8295" y="11369"/>
                </a:lnTo>
                <a:lnTo>
                  <a:pt x="8292" y="11386"/>
                </a:lnTo>
                <a:lnTo>
                  <a:pt x="8286" y="11402"/>
                </a:lnTo>
                <a:lnTo>
                  <a:pt x="8280" y="11418"/>
                </a:lnTo>
                <a:lnTo>
                  <a:pt x="8273" y="11432"/>
                </a:lnTo>
                <a:lnTo>
                  <a:pt x="8265" y="11445"/>
                </a:lnTo>
                <a:lnTo>
                  <a:pt x="8257" y="11458"/>
                </a:lnTo>
                <a:lnTo>
                  <a:pt x="8238" y="11484"/>
                </a:lnTo>
                <a:lnTo>
                  <a:pt x="8221" y="11512"/>
                </a:lnTo>
                <a:lnTo>
                  <a:pt x="8213" y="11527"/>
                </a:lnTo>
                <a:lnTo>
                  <a:pt x="8206" y="11544"/>
                </a:lnTo>
                <a:lnTo>
                  <a:pt x="8199" y="11563"/>
                </a:lnTo>
                <a:lnTo>
                  <a:pt x="8193" y="11582"/>
                </a:lnTo>
                <a:lnTo>
                  <a:pt x="8165" y="11602"/>
                </a:lnTo>
                <a:lnTo>
                  <a:pt x="8129" y="11623"/>
                </a:lnTo>
                <a:lnTo>
                  <a:pt x="8088" y="11646"/>
                </a:lnTo>
                <a:lnTo>
                  <a:pt x="8047" y="11671"/>
                </a:lnTo>
                <a:lnTo>
                  <a:pt x="8027" y="11683"/>
                </a:lnTo>
                <a:lnTo>
                  <a:pt x="8007" y="11695"/>
                </a:lnTo>
                <a:lnTo>
                  <a:pt x="7988" y="11707"/>
                </a:lnTo>
                <a:lnTo>
                  <a:pt x="7972" y="11719"/>
                </a:lnTo>
                <a:lnTo>
                  <a:pt x="7957" y="11730"/>
                </a:lnTo>
                <a:lnTo>
                  <a:pt x="7945" y="11741"/>
                </a:lnTo>
                <a:lnTo>
                  <a:pt x="7940" y="11747"/>
                </a:lnTo>
                <a:lnTo>
                  <a:pt x="7935" y="11752"/>
                </a:lnTo>
                <a:lnTo>
                  <a:pt x="7931" y="11757"/>
                </a:lnTo>
                <a:lnTo>
                  <a:pt x="7928" y="11762"/>
                </a:lnTo>
                <a:lnTo>
                  <a:pt x="7919" y="11762"/>
                </a:lnTo>
                <a:lnTo>
                  <a:pt x="7910" y="11764"/>
                </a:lnTo>
                <a:lnTo>
                  <a:pt x="7902" y="11766"/>
                </a:lnTo>
                <a:lnTo>
                  <a:pt x="7893" y="11769"/>
                </a:lnTo>
                <a:lnTo>
                  <a:pt x="7877" y="11775"/>
                </a:lnTo>
                <a:lnTo>
                  <a:pt x="7859" y="11784"/>
                </a:lnTo>
                <a:lnTo>
                  <a:pt x="7843" y="11792"/>
                </a:lnTo>
                <a:lnTo>
                  <a:pt x="7826" y="11798"/>
                </a:lnTo>
                <a:lnTo>
                  <a:pt x="7818" y="11801"/>
                </a:lnTo>
                <a:lnTo>
                  <a:pt x="7809" y="11803"/>
                </a:lnTo>
                <a:lnTo>
                  <a:pt x="7800" y="11804"/>
                </a:lnTo>
                <a:lnTo>
                  <a:pt x="7791" y="11805"/>
                </a:lnTo>
                <a:lnTo>
                  <a:pt x="7784" y="11814"/>
                </a:lnTo>
                <a:lnTo>
                  <a:pt x="7770" y="11829"/>
                </a:lnTo>
                <a:lnTo>
                  <a:pt x="7753" y="11848"/>
                </a:lnTo>
                <a:lnTo>
                  <a:pt x="7733" y="11868"/>
                </a:lnTo>
                <a:lnTo>
                  <a:pt x="7715" y="11888"/>
                </a:lnTo>
                <a:lnTo>
                  <a:pt x="7701" y="11904"/>
                </a:lnTo>
                <a:lnTo>
                  <a:pt x="7696" y="11912"/>
                </a:lnTo>
                <a:lnTo>
                  <a:pt x="7694" y="11917"/>
                </a:lnTo>
                <a:lnTo>
                  <a:pt x="7693" y="11919"/>
                </a:lnTo>
                <a:lnTo>
                  <a:pt x="7693" y="11920"/>
                </a:lnTo>
                <a:lnTo>
                  <a:pt x="7694" y="11921"/>
                </a:lnTo>
                <a:lnTo>
                  <a:pt x="7695" y="11921"/>
                </a:lnTo>
                <a:lnTo>
                  <a:pt x="7693" y="11954"/>
                </a:lnTo>
                <a:lnTo>
                  <a:pt x="7692" y="11993"/>
                </a:lnTo>
                <a:lnTo>
                  <a:pt x="7691" y="12037"/>
                </a:lnTo>
                <a:lnTo>
                  <a:pt x="7690" y="12081"/>
                </a:lnTo>
                <a:lnTo>
                  <a:pt x="7689" y="12103"/>
                </a:lnTo>
                <a:lnTo>
                  <a:pt x="7687" y="12125"/>
                </a:lnTo>
                <a:lnTo>
                  <a:pt x="7685" y="12145"/>
                </a:lnTo>
                <a:lnTo>
                  <a:pt x="7682" y="12165"/>
                </a:lnTo>
                <a:lnTo>
                  <a:pt x="7678" y="12183"/>
                </a:lnTo>
                <a:lnTo>
                  <a:pt x="7673" y="12198"/>
                </a:lnTo>
                <a:lnTo>
                  <a:pt x="7670" y="12205"/>
                </a:lnTo>
                <a:lnTo>
                  <a:pt x="7667" y="12212"/>
                </a:lnTo>
                <a:lnTo>
                  <a:pt x="7664" y="12217"/>
                </a:lnTo>
                <a:lnTo>
                  <a:pt x="7660" y="12222"/>
                </a:lnTo>
                <a:lnTo>
                  <a:pt x="7650" y="12233"/>
                </a:lnTo>
                <a:lnTo>
                  <a:pt x="7639" y="12241"/>
                </a:lnTo>
                <a:lnTo>
                  <a:pt x="7629" y="12248"/>
                </a:lnTo>
                <a:lnTo>
                  <a:pt x="7619" y="12255"/>
                </a:lnTo>
                <a:lnTo>
                  <a:pt x="7615" y="12259"/>
                </a:lnTo>
                <a:lnTo>
                  <a:pt x="7612" y="12263"/>
                </a:lnTo>
                <a:lnTo>
                  <a:pt x="7609" y="12267"/>
                </a:lnTo>
                <a:lnTo>
                  <a:pt x="7607" y="12273"/>
                </a:lnTo>
                <a:lnTo>
                  <a:pt x="7607" y="12278"/>
                </a:lnTo>
                <a:lnTo>
                  <a:pt x="7607" y="12286"/>
                </a:lnTo>
                <a:lnTo>
                  <a:pt x="7608" y="12294"/>
                </a:lnTo>
                <a:lnTo>
                  <a:pt x="7611" y="12303"/>
                </a:lnTo>
                <a:lnTo>
                  <a:pt x="7601" y="12303"/>
                </a:lnTo>
                <a:lnTo>
                  <a:pt x="7594" y="12304"/>
                </a:lnTo>
                <a:lnTo>
                  <a:pt x="7588" y="12306"/>
                </a:lnTo>
                <a:lnTo>
                  <a:pt x="7585" y="12309"/>
                </a:lnTo>
                <a:lnTo>
                  <a:pt x="7581" y="12316"/>
                </a:lnTo>
                <a:lnTo>
                  <a:pt x="7579" y="12323"/>
                </a:lnTo>
                <a:lnTo>
                  <a:pt x="7577" y="12327"/>
                </a:lnTo>
                <a:lnTo>
                  <a:pt x="7575" y="12331"/>
                </a:lnTo>
                <a:lnTo>
                  <a:pt x="7571" y="12335"/>
                </a:lnTo>
                <a:lnTo>
                  <a:pt x="7566" y="12338"/>
                </a:lnTo>
                <a:lnTo>
                  <a:pt x="7559" y="12340"/>
                </a:lnTo>
                <a:lnTo>
                  <a:pt x="7549" y="12343"/>
                </a:lnTo>
                <a:lnTo>
                  <a:pt x="7537" y="12344"/>
                </a:lnTo>
                <a:lnTo>
                  <a:pt x="7521" y="12344"/>
                </a:lnTo>
                <a:lnTo>
                  <a:pt x="7510" y="12345"/>
                </a:lnTo>
                <a:lnTo>
                  <a:pt x="7496" y="12348"/>
                </a:lnTo>
                <a:lnTo>
                  <a:pt x="7483" y="12353"/>
                </a:lnTo>
                <a:lnTo>
                  <a:pt x="7470" y="12359"/>
                </a:lnTo>
                <a:lnTo>
                  <a:pt x="7456" y="12366"/>
                </a:lnTo>
                <a:lnTo>
                  <a:pt x="7443" y="12375"/>
                </a:lnTo>
                <a:lnTo>
                  <a:pt x="7429" y="12384"/>
                </a:lnTo>
                <a:lnTo>
                  <a:pt x="7416" y="12395"/>
                </a:lnTo>
                <a:lnTo>
                  <a:pt x="7404" y="12407"/>
                </a:lnTo>
                <a:lnTo>
                  <a:pt x="7392" y="12420"/>
                </a:lnTo>
                <a:lnTo>
                  <a:pt x="7382" y="12433"/>
                </a:lnTo>
                <a:lnTo>
                  <a:pt x="7373" y="12446"/>
                </a:lnTo>
                <a:lnTo>
                  <a:pt x="7364" y="12460"/>
                </a:lnTo>
                <a:lnTo>
                  <a:pt x="7359" y="12473"/>
                </a:lnTo>
                <a:lnTo>
                  <a:pt x="7356" y="12480"/>
                </a:lnTo>
                <a:lnTo>
                  <a:pt x="7355" y="12487"/>
                </a:lnTo>
                <a:lnTo>
                  <a:pt x="7354" y="12493"/>
                </a:lnTo>
                <a:lnTo>
                  <a:pt x="7353" y="12500"/>
                </a:lnTo>
                <a:lnTo>
                  <a:pt x="7352" y="12516"/>
                </a:lnTo>
                <a:lnTo>
                  <a:pt x="7350" y="12531"/>
                </a:lnTo>
                <a:lnTo>
                  <a:pt x="7348" y="12547"/>
                </a:lnTo>
                <a:lnTo>
                  <a:pt x="7346" y="12562"/>
                </a:lnTo>
                <a:lnTo>
                  <a:pt x="7343" y="12576"/>
                </a:lnTo>
                <a:lnTo>
                  <a:pt x="7339" y="12589"/>
                </a:lnTo>
                <a:lnTo>
                  <a:pt x="7334" y="12602"/>
                </a:lnTo>
                <a:lnTo>
                  <a:pt x="7329" y="12615"/>
                </a:lnTo>
                <a:lnTo>
                  <a:pt x="7322" y="12627"/>
                </a:lnTo>
                <a:lnTo>
                  <a:pt x="7315" y="12639"/>
                </a:lnTo>
                <a:lnTo>
                  <a:pt x="7307" y="12651"/>
                </a:lnTo>
                <a:lnTo>
                  <a:pt x="7298" y="12662"/>
                </a:lnTo>
                <a:lnTo>
                  <a:pt x="7288" y="12674"/>
                </a:lnTo>
                <a:lnTo>
                  <a:pt x="7277" y="12684"/>
                </a:lnTo>
                <a:lnTo>
                  <a:pt x="7265" y="12694"/>
                </a:lnTo>
                <a:lnTo>
                  <a:pt x="7251" y="12705"/>
                </a:lnTo>
                <a:lnTo>
                  <a:pt x="7251" y="12707"/>
                </a:lnTo>
                <a:lnTo>
                  <a:pt x="7250" y="12710"/>
                </a:lnTo>
                <a:lnTo>
                  <a:pt x="7248" y="12712"/>
                </a:lnTo>
                <a:lnTo>
                  <a:pt x="7246" y="12715"/>
                </a:lnTo>
                <a:lnTo>
                  <a:pt x="7238" y="12720"/>
                </a:lnTo>
                <a:lnTo>
                  <a:pt x="7229" y="12724"/>
                </a:lnTo>
                <a:lnTo>
                  <a:pt x="7207" y="12734"/>
                </a:lnTo>
                <a:lnTo>
                  <a:pt x="7182" y="12744"/>
                </a:lnTo>
                <a:lnTo>
                  <a:pt x="7169" y="12751"/>
                </a:lnTo>
                <a:lnTo>
                  <a:pt x="7157" y="12757"/>
                </a:lnTo>
                <a:lnTo>
                  <a:pt x="7146" y="12765"/>
                </a:lnTo>
                <a:lnTo>
                  <a:pt x="7135" y="12773"/>
                </a:lnTo>
                <a:lnTo>
                  <a:pt x="7131" y="12778"/>
                </a:lnTo>
                <a:lnTo>
                  <a:pt x="7127" y="12783"/>
                </a:lnTo>
                <a:lnTo>
                  <a:pt x="7123" y="12788"/>
                </a:lnTo>
                <a:lnTo>
                  <a:pt x="7120" y="12795"/>
                </a:lnTo>
                <a:lnTo>
                  <a:pt x="7116" y="12801"/>
                </a:lnTo>
                <a:lnTo>
                  <a:pt x="7114" y="12807"/>
                </a:lnTo>
                <a:lnTo>
                  <a:pt x="7113" y="12814"/>
                </a:lnTo>
                <a:lnTo>
                  <a:pt x="7113" y="12821"/>
                </a:lnTo>
                <a:lnTo>
                  <a:pt x="7115" y="12822"/>
                </a:lnTo>
                <a:lnTo>
                  <a:pt x="7117" y="12827"/>
                </a:lnTo>
                <a:lnTo>
                  <a:pt x="7118" y="12834"/>
                </a:lnTo>
                <a:lnTo>
                  <a:pt x="7118" y="12843"/>
                </a:lnTo>
                <a:lnTo>
                  <a:pt x="7120" y="12867"/>
                </a:lnTo>
                <a:lnTo>
                  <a:pt x="7118" y="12894"/>
                </a:lnTo>
                <a:lnTo>
                  <a:pt x="7116" y="12923"/>
                </a:lnTo>
                <a:lnTo>
                  <a:pt x="7115" y="12949"/>
                </a:lnTo>
                <a:lnTo>
                  <a:pt x="7113" y="12968"/>
                </a:lnTo>
                <a:lnTo>
                  <a:pt x="7113" y="12979"/>
                </a:lnTo>
                <a:lnTo>
                  <a:pt x="7105" y="12980"/>
                </a:lnTo>
                <a:lnTo>
                  <a:pt x="7095" y="12981"/>
                </a:lnTo>
                <a:lnTo>
                  <a:pt x="7085" y="12983"/>
                </a:lnTo>
                <a:lnTo>
                  <a:pt x="7074" y="12986"/>
                </a:lnTo>
                <a:lnTo>
                  <a:pt x="7050" y="12993"/>
                </a:lnTo>
                <a:lnTo>
                  <a:pt x="7025" y="13003"/>
                </a:lnTo>
                <a:lnTo>
                  <a:pt x="7014" y="13008"/>
                </a:lnTo>
                <a:lnTo>
                  <a:pt x="7002" y="13014"/>
                </a:lnTo>
                <a:lnTo>
                  <a:pt x="6990" y="13021"/>
                </a:lnTo>
                <a:lnTo>
                  <a:pt x="6981" y="13027"/>
                </a:lnTo>
                <a:lnTo>
                  <a:pt x="6972" y="13033"/>
                </a:lnTo>
                <a:lnTo>
                  <a:pt x="6964" y="13040"/>
                </a:lnTo>
                <a:lnTo>
                  <a:pt x="6959" y="13047"/>
                </a:lnTo>
                <a:lnTo>
                  <a:pt x="6954" y="13054"/>
                </a:lnTo>
                <a:lnTo>
                  <a:pt x="6930" y="13054"/>
                </a:lnTo>
                <a:lnTo>
                  <a:pt x="6910" y="13054"/>
                </a:lnTo>
                <a:lnTo>
                  <a:pt x="6892" y="13055"/>
                </a:lnTo>
                <a:lnTo>
                  <a:pt x="6876" y="13057"/>
                </a:lnTo>
                <a:lnTo>
                  <a:pt x="6862" y="13059"/>
                </a:lnTo>
                <a:lnTo>
                  <a:pt x="6850" y="13061"/>
                </a:lnTo>
                <a:lnTo>
                  <a:pt x="6840" y="13064"/>
                </a:lnTo>
                <a:lnTo>
                  <a:pt x="6830" y="13068"/>
                </a:lnTo>
                <a:lnTo>
                  <a:pt x="6822" y="13073"/>
                </a:lnTo>
                <a:lnTo>
                  <a:pt x="6813" y="13078"/>
                </a:lnTo>
                <a:lnTo>
                  <a:pt x="6804" y="13084"/>
                </a:lnTo>
                <a:lnTo>
                  <a:pt x="6795" y="13091"/>
                </a:lnTo>
                <a:lnTo>
                  <a:pt x="6773" y="13107"/>
                </a:lnTo>
                <a:lnTo>
                  <a:pt x="6743" y="13127"/>
                </a:lnTo>
                <a:lnTo>
                  <a:pt x="6743" y="13136"/>
                </a:lnTo>
                <a:lnTo>
                  <a:pt x="6740" y="13148"/>
                </a:lnTo>
                <a:lnTo>
                  <a:pt x="6738" y="13162"/>
                </a:lnTo>
                <a:lnTo>
                  <a:pt x="6734" y="13177"/>
                </a:lnTo>
                <a:lnTo>
                  <a:pt x="6729" y="13191"/>
                </a:lnTo>
                <a:lnTo>
                  <a:pt x="6724" y="13202"/>
                </a:lnTo>
                <a:lnTo>
                  <a:pt x="6721" y="13206"/>
                </a:lnTo>
                <a:lnTo>
                  <a:pt x="6718" y="13209"/>
                </a:lnTo>
                <a:lnTo>
                  <a:pt x="6715" y="13211"/>
                </a:lnTo>
                <a:lnTo>
                  <a:pt x="6711" y="13212"/>
                </a:lnTo>
                <a:lnTo>
                  <a:pt x="6711" y="13222"/>
                </a:lnTo>
                <a:lnTo>
                  <a:pt x="6710" y="13230"/>
                </a:lnTo>
                <a:lnTo>
                  <a:pt x="6709" y="13237"/>
                </a:lnTo>
                <a:lnTo>
                  <a:pt x="6708" y="13243"/>
                </a:lnTo>
                <a:lnTo>
                  <a:pt x="6706" y="13249"/>
                </a:lnTo>
                <a:lnTo>
                  <a:pt x="6704" y="13253"/>
                </a:lnTo>
                <a:lnTo>
                  <a:pt x="6701" y="13257"/>
                </a:lnTo>
                <a:lnTo>
                  <a:pt x="6698" y="13259"/>
                </a:lnTo>
                <a:lnTo>
                  <a:pt x="6695" y="13262"/>
                </a:lnTo>
                <a:lnTo>
                  <a:pt x="6692" y="13263"/>
                </a:lnTo>
                <a:lnTo>
                  <a:pt x="6688" y="13264"/>
                </a:lnTo>
                <a:lnTo>
                  <a:pt x="6684" y="13265"/>
                </a:lnTo>
                <a:lnTo>
                  <a:pt x="6675" y="13265"/>
                </a:lnTo>
                <a:lnTo>
                  <a:pt x="6666" y="13264"/>
                </a:lnTo>
                <a:lnTo>
                  <a:pt x="6645" y="13260"/>
                </a:lnTo>
                <a:lnTo>
                  <a:pt x="6622" y="13258"/>
                </a:lnTo>
                <a:lnTo>
                  <a:pt x="6609" y="13259"/>
                </a:lnTo>
                <a:lnTo>
                  <a:pt x="6597" y="13262"/>
                </a:lnTo>
                <a:lnTo>
                  <a:pt x="6591" y="13264"/>
                </a:lnTo>
                <a:lnTo>
                  <a:pt x="6585" y="13267"/>
                </a:lnTo>
                <a:lnTo>
                  <a:pt x="6579" y="13271"/>
                </a:lnTo>
                <a:lnTo>
                  <a:pt x="6574" y="13275"/>
                </a:lnTo>
                <a:lnTo>
                  <a:pt x="6578" y="13277"/>
                </a:lnTo>
                <a:lnTo>
                  <a:pt x="6583" y="13280"/>
                </a:lnTo>
                <a:lnTo>
                  <a:pt x="6587" y="13285"/>
                </a:lnTo>
                <a:lnTo>
                  <a:pt x="6592" y="13292"/>
                </a:lnTo>
                <a:lnTo>
                  <a:pt x="6596" y="13301"/>
                </a:lnTo>
                <a:lnTo>
                  <a:pt x="6601" y="13310"/>
                </a:lnTo>
                <a:lnTo>
                  <a:pt x="6605" y="13319"/>
                </a:lnTo>
                <a:lnTo>
                  <a:pt x="6608" y="13329"/>
                </a:lnTo>
                <a:lnTo>
                  <a:pt x="6614" y="13348"/>
                </a:lnTo>
                <a:lnTo>
                  <a:pt x="6619" y="13365"/>
                </a:lnTo>
                <a:lnTo>
                  <a:pt x="6619" y="13371"/>
                </a:lnTo>
                <a:lnTo>
                  <a:pt x="6619" y="13377"/>
                </a:lnTo>
                <a:lnTo>
                  <a:pt x="6619" y="13380"/>
                </a:lnTo>
                <a:lnTo>
                  <a:pt x="6617" y="13381"/>
                </a:lnTo>
                <a:lnTo>
                  <a:pt x="6616" y="13398"/>
                </a:lnTo>
                <a:lnTo>
                  <a:pt x="6613" y="13412"/>
                </a:lnTo>
                <a:lnTo>
                  <a:pt x="6610" y="13426"/>
                </a:lnTo>
                <a:lnTo>
                  <a:pt x="6606" y="13438"/>
                </a:lnTo>
                <a:lnTo>
                  <a:pt x="6601" y="13448"/>
                </a:lnTo>
                <a:lnTo>
                  <a:pt x="6594" y="13458"/>
                </a:lnTo>
                <a:lnTo>
                  <a:pt x="6587" y="13467"/>
                </a:lnTo>
                <a:lnTo>
                  <a:pt x="6580" y="13475"/>
                </a:lnTo>
                <a:lnTo>
                  <a:pt x="6562" y="13492"/>
                </a:lnTo>
                <a:lnTo>
                  <a:pt x="6543" y="13508"/>
                </a:lnTo>
                <a:lnTo>
                  <a:pt x="6532" y="13517"/>
                </a:lnTo>
                <a:lnTo>
                  <a:pt x="6522" y="13527"/>
                </a:lnTo>
                <a:lnTo>
                  <a:pt x="6511" y="13538"/>
                </a:lnTo>
                <a:lnTo>
                  <a:pt x="6500" y="13551"/>
                </a:lnTo>
                <a:lnTo>
                  <a:pt x="6495" y="13555"/>
                </a:lnTo>
                <a:lnTo>
                  <a:pt x="6490" y="13561"/>
                </a:lnTo>
                <a:lnTo>
                  <a:pt x="6484" y="13567"/>
                </a:lnTo>
                <a:lnTo>
                  <a:pt x="6479" y="13574"/>
                </a:lnTo>
                <a:lnTo>
                  <a:pt x="6469" y="13589"/>
                </a:lnTo>
                <a:lnTo>
                  <a:pt x="6459" y="13606"/>
                </a:lnTo>
                <a:lnTo>
                  <a:pt x="6450" y="13621"/>
                </a:lnTo>
                <a:lnTo>
                  <a:pt x="6442" y="13634"/>
                </a:lnTo>
                <a:lnTo>
                  <a:pt x="6437" y="13639"/>
                </a:lnTo>
                <a:lnTo>
                  <a:pt x="6433" y="13642"/>
                </a:lnTo>
                <a:lnTo>
                  <a:pt x="6429" y="13645"/>
                </a:lnTo>
                <a:lnTo>
                  <a:pt x="6426" y="13646"/>
                </a:lnTo>
                <a:lnTo>
                  <a:pt x="6425" y="13657"/>
                </a:lnTo>
                <a:lnTo>
                  <a:pt x="6424" y="13669"/>
                </a:lnTo>
                <a:lnTo>
                  <a:pt x="6423" y="13681"/>
                </a:lnTo>
                <a:lnTo>
                  <a:pt x="6421" y="13693"/>
                </a:lnTo>
                <a:lnTo>
                  <a:pt x="6416" y="13715"/>
                </a:lnTo>
                <a:lnTo>
                  <a:pt x="6410" y="13737"/>
                </a:lnTo>
                <a:lnTo>
                  <a:pt x="6404" y="13759"/>
                </a:lnTo>
                <a:lnTo>
                  <a:pt x="6399" y="13781"/>
                </a:lnTo>
                <a:lnTo>
                  <a:pt x="6397" y="13792"/>
                </a:lnTo>
                <a:lnTo>
                  <a:pt x="6396" y="13804"/>
                </a:lnTo>
                <a:lnTo>
                  <a:pt x="6395" y="13815"/>
                </a:lnTo>
                <a:lnTo>
                  <a:pt x="6394" y="13826"/>
                </a:lnTo>
                <a:lnTo>
                  <a:pt x="6397" y="13827"/>
                </a:lnTo>
                <a:lnTo>
                  <a:pt x="6398" y="13828"/>
                </a:lnTo>
                <a:lnTo>
                  <a:pt x="6399" y="13829"/>
                </a:lnTo>
                <a:lnTo>
                  <a:pt x="6400" y="13831"/>
                </a:lnTo>
                <a:lnTo>
                  <a:pt x="6401" y="13836"/>
                </a:lnTo>
                <a:lnTo>
                  <a:pt x="6401" y="13843"/>
                </a:lnTo>
                <a:lnTo>
                  <a:pt x="6401" y="13851"/>
                </a:lnTo>
                <a:lnTo>
                  <a:pt x="6401" y="13860"/>
                </a:lnTo>
                <a:lnTo>
                  <a:pt x="6402" y="13869"/>
                </a:lnTo>
                <a:lnTo>
                  <a:pt x="6405" y="13878"/>
                </a:lnTo>
                <a:lnTo>
                  <a:pt x="6410" y="13877"/>
                </a:lnTo>
                <a:lnTo>
                  <a:pt x="6414" y="13874"/>
                </a:lnTo>
                <a:lnTo>
                  <a:pt x="6418" y="13871"/>
                </a:lnTo>
                <a:lnTo>
                  <a:pt x="6422" y="13868"/>
                </a:lnTo>
                <a:lnTo>
                  <a:pt x="6428" y="13862"/>
                </a:lnTo>
                <a:lnTo>
                  <a:pt x="6432" y="13854"/>
                </a:lnTo>
                <a:lnTo>
                  <a:pt x="6436" y="13848"/>
                </a:lnTo>
                <a:lnTo>
                  <a:pt x="6439" y="13842"/>
                </a:lnTo>
                <a:lnTo>
                  <a:pt x="6441" y="13840"/>
                </a:lnTo>
                <a:lnTo>
                  <a:pt x="6443" y="13838"/>
                </a:lnTo>
                <a:lnTo>
                  <a:pt x="6445" y="13837"/>
                </a:lnTo>
                <a:lnTo>
                  <a:pt x="6447" y="13837"/>
                </a:lnTo>
                <a:lnTo>
                  <a:pt x="6447" y="13832"/>
                </a:lnTo>
                <a:lnTo>
                  <a:pt x="6448" y="13828"/>
                </a:lnTo>
                <a:lnTo>
                  <a:pt x="6449" y="13825"/>
                </a:lnTo>
                <a:lnTo>
                  <a:pt x="6450" y="13823"/>
                </a:lnTo>
                <a:lnTo>
                  <a:pt x="6452" y="13821"/>
                </a:lnTo>
                <a:lnTo>
                  <a:pt x="6454" y="13820"/>
                </a:lnTo>
                <a:lnTo>
                  <a:pt x="6456" y="13820"/>
                </a:lnTo>
                <a:lnTo>
                  <a:pt x="6459" y="13820"/>
                </a:lnTo>
                <a:lnTo>
                  <a:pt x="6464" y="13821"/>
                </a:lnTo>
                <a:lnTo>
                  <a:pt x="6470" y="13824"/>
                </a:lnTo>
                <a:lnTo>
                  <a:pt x="6476" y="13828"/>
                </a:lnTo>
                <a:lnTo>
                  <a:pt x="6482" y="13833"/>
                </a:lnTo>
                <a:lnTo>
                  <a:pt x="6487" y="13838"/>
                </a:lnTo>
                <a:lnTo>
                  <a:pt x="6492" y="13844"/>
                </a:lnTo>
                <a:lnTo>
                  <a:pt x="6495" y="13850"/>
                </a:lnTo>
                <a:lnTo>
                  <a:pt x="6496" y="13856"/>
                </a:lnTo>
                <a:lnTo>
                  <a:pt x="6496" y="13858"/>
                </a:lnTo>
                <a:lnTo>
                  <a:pt x="6495" y="13861"/>
                </a:lnTo>
                <a:lnTo>
                  <a:pt x="6494" y="13863"/>
                </a:lnTo>
                <a:lnTo>
                  <a:pt x="6493" y="13865"/>
                </a:lnTo>
                <a:lnTo>
                  <a:pt x="6490" y="13866"/>
                </a:lnTo>
                <a:lnTo>
                  <a:pt x="6486" y="13867"/>
                </a:lnTo>
                <a:lnTo>
                  <a:pt x="6483" y="13868"/>
                </a:lnTo>
                <a:lnTo>
                  <a:pt x="6478" y="13868"/>
                </a:lnTo>
                <a:lnTo>
                  <a:pt x="6470" y="13880"/>
                </a:lnTo>
                <a:lnTo>
                  <a:pt x="6462" y="13890"/>
                </a:lnTo>
                <a:lnTo>
                  <a:pt x="6454" y="13899"/>
                </a:lnTo>
                <a:lnTo>
                  <a:pt x="6445" y="13908"/>
                </a:lnTo>
                <a:lnTo>
                  <a:pt x="6429" y="13924"/>
                </a:lnTo>
                <a:lnTo>
                  <a:pt x="6414" y="13938"/>
                </a:lnTo>
                <a:lnTo>
                  <a:pt x="6406" y="13946"/>
                </a:lnTo>
                <a:lnTo>
                  <a:pt x="6399" y="13954"/>
                </a:lnTo>
                <a:lnTo>
                  <a:pt x="6392" y="13963"/>
                </a:lnTo>
                <a:lnTo>
                  <a:pt x="6385" y="13973"/>
                </a:lnTo>
                <a:lnTo>
                  <a:pt x="6379" y="13984"/>
                </a:lnTo>
                <a:lnTo>
                  <a:pt x="6373" y="13997"/>
                </a:lnTo>
                <a:lnTo>
                  <a:pt x="6368" y="14011"/>
                </a:lnTo>
                <a:lnTo>
                  <a:pt x="6361" y="14027"/>
                </a:lnTo>
                <a:lnTo>
                  <a:pt x="6354" y="14027"/>
                </a:lnTo>
                <a:lnTo>
                  <a:pt x="6348" y="14029"/>
                </a:lnTo>
                <a:lnTo>
                  <a:pt x="6341" y="14031"/>
                </a:lnTo>
                <a:lnTo>
                  <a:pt x="6334" y="14035"/>
                </a:lnTo>
                <a:lnTo>
                  <a:pt x="6327" y="14039"/>
                </a:lnTo>
                <a:lnTo>
                  <a:pt x="6321" y="14044"/>
                </a:lnTo>
                <a:lnTo>
                  <a:pt x="6315" y="14051"/>
                </a:lnTo>
                <a:lnTo>
                  <a:pt x="6309" y="14057"/>
                </a:lnTo>
                <a:lnTo>
                  <a:pt x="6297" y="14072"/>
                </a:lnTo>
                <a:lnTo>
                  <a:pt x="6287" y="14088"/>
                </a:lnTo>
                <a:lnTo>
                  <a:pt x="6278" y="14105"/>
                </a:lnTo>
                <a:lnTo>
                  <a:pt x="6270" y="14122"/>
                </a:lnTo>
                <a:lnTo>
                  <a:pt x="6265" y="14140"/>
                </a:lnTo>
                <a:lnTo>
                  <a:pt x="6261" y="14157"/>
                </a:lnTo>
                <a:lnTo>
                  <a:pt x="6260" y="14165"/>
                </a:lnTo>
                <a:lnTo>
                  <a:pt x="6259" y="14173"/>
                </a:lnTo>
                <a:lnTo>
                  <a:pt x="6259" y="14181"/>
                </a:lnTo>
                <a:lnTo>
                  <a:pt x="6259" y="14188"/>
                </a:lnTo>
                <a:lnTo>
                  <a:pt x="6261" y="14195"/>
                </a:lnTo>
                <a:lnTo>
                  <a:pt x="6262" y="14200"/>
                </a:lnTo>
                <a:lnTo>
                  <a:pt x="6265" y="14205"/>
                </a:lnTo>
                <a:lnTo>
                  <a:pt x="6268" y="14210"/>
                </a:lnTo>
                <a:lnTo>
                  <a:pt x="6272" y="14213"/>
                </a:lnTo>
                <a:lnTo>
                  <a:pt x="6276" y="14216"/>
                </a:lnTo>
                <a:lnTo>
                  <a:pt x="6282" y="14217"/>
                </a:lnTo>
                <a:lnTo>
                  <a:pt x="6288" y="14218"/>
                </a:lnTo>
                <a:lnTo>
                  <a:pt x="6289" y="14230"/>
                </a:lnTo>
                <a:lnTo>
                  <a:pt x="6290" y="14242"/>
                </a:lnTo>
                <a:lnTo>
                  <a:pt x="6293" y="14254"/>
                </a:lnTo>
                <a:lnTo>
                  <a:pt x="6296" y="14265"/>
                </a:lnTo>
                <a:lnTo>
                  <a:pt x="6300" y="14276"/>
                </a:lnTo>
                <a:lnTo>
                  <a:pt x="6305" y="14287"/>
                </a:lnTo>
                <a:lnTo>
                  <a:pt x="6311" y="14297"/>
                </a:lnTo>
                <a:lnTo>
                  <a:pt x="6317" y="14308"/>
                </a:lnTo>
                <a:lnTo>
                  <a:pt x="6253" y="14289"/>
                </a:lnTo>
                <a:lnTo>
                  <a:pt x="6188" y="14270"/>
                </a:lnTo>
                <a:lnTo>
                  <a:pt x="6124" y="14251"/>
                </a:lnTo>
                <a:lnTo>
                  <a:pt x="6060" y="14231"/>
                </a:lnTo>
                <a:lnTo>
                  <a:pt x="5997" y="14210"/>
                </a:lnTo>
                <a:lnTo>
                  <a:pt x="5934" y="14189"/>
                </a:lnTo>
                <a:lnTo>
                  <a:pt x="5871" y="14166"/>
                </a:lnTo>
                <a:lnTo>
                  <a:pt x="5808" y="14143"/>
                </a:lnTo>
                <a:lnTo>
                  <a:pt x="5806" y="14058"/>
                </a:lnTo>
                <a:lnTo>
                  <a:pt x="5806" y="13953"/>
                </a:lnTo>
                <a:lnTo>
                  <a:pt x="5807" y="13895"/>
                </a:lnTo>
                <a:lnTo>
                  <a:pt x="5808" y="13837"/>
                </a:lnTo>
                <a:lnTo>
                  <a:pt x="5810" y="13778"/>
                </a:lnTo>
                <a:lnTo>
                  <a:pt x="5813" y="13722"/>
                </a:lnTo>
                <a:lnTo>
                  <a:pt x="5817" y="13666"/>
                </a:lnTo>
                <a:lnTo>
                  <a:pt x="5822" y="13615"/>
                </a:lnTo>
                <a:lnTo>
                  <a:pt x="5828" y="13568"/>
                </a:lnTo>
                <a:lnTo>
                  <a:pt x="5834" y="13527"/>
                </a:lnTo>
                <a:lnTo>
                  <a:pt x="5838" y="13509"/>
                </a:lnTo>
                <a:lnTo>
                  <a:pt x="5843" y="13493"/>
                </a:lnTo>
                <a:lnTo>
                  <a:pt x="5847" y="13479"/>
                </a:lnTo>
                <a:lnTo>
                  <a:pt x="5852" y="13467"/>
                </a:lnTo>
                <a:lnTo>
                  <a:pt x="5857" y="13458"/>
                </a:lnTo>
                <a:lnTo>
                  <a:pt x="5864" y="13451"/>
                </a:lnTo>
                <a:lnTo>
                  <a:pt x="5869" y="13447"/>
                </a:lnTo>
                <a:lnTo>
                  <a:pt x="5876" y="13445"/>
                </a:lnTo>
                <a:lnTo>
                  <a:pt x="5877" y="13429"/>
                </a:lnTo>
                <a:lnTo>
                  <a:pt x="5880" y="13404"/>
                </a:lnTo>
                <a:lnTo>
                  <a:pt x="5886" y="13377"/>
                </a:lnTo>
                <a:lnTo>
                  <a:pt x="5893" y="13348"/>
                </a:lnTo>
                <a:lnTo>
                  <a:pt x="5896" y="13334"/>
                </a:lnTo>
                <a:lnTo>
                  <a:pt x="5901" y="13321"/>
                </a:lnTo>
                <a:lnTo>
                  <a:pt x="5905" y="13309"/>
                </a:lnTo>
                <a:lnTo>
                  <a:pt x="5909" y="13298"/>
                </a:lnTo>
                <a:lnTo>
                  <a:pt x="5914" y="13288"/>
                </a:lnTo>
                <a:lnTo>
                  <a:pt x="5919" y="13281"/>
                </a:lnTo>
                <a:lnTo>
                  <a:pt x="5921" y="13279"/>
                </a:lnTo>
                <a:lnTo>
                  <a:pt x="5923" y="13277"/>
                </a:lnTo>
                <a:lnTo>
                  <a:pt x="5926" y="13276"/>
                </a:lnTo>
                <a:lnTo>
                  <a:pt x="5928" y="13275"/>
                </a:lnTo>
                <a:lnTo>
                  <a:pt x="5929" y="13243"/>
                </a:lnTo>
                <a:lnTo>
                  <a:pt x="5930" y="13210"/>
                </a:lnTo>
                <a:lnTo>
                  <a:pt x="5931" y="13175"/>
                </a:lnTo>
                <a:lnTo>
                  <a:pt x="5932" y="13139"/>
                </a:lnTo>
                <a:lnTo>
                  <a:pt x="5933" y="13103"/>
                </a:lnTo>
                <a:lnTo>
                  <a:pt x="5932" y="13066"/>
                </a:lnTo>
                <a:lnTo>
                  <a:pt x="5931" y="13027"/>
                </a:lnTo>
                <a:lnTo>
                  <a:pt x="5928" y="12990"/>
                </a:lnTo>
                <a:lnTo>
                  <a:pt x="5925" y="12984"/>
                </a:lnTo>
                <a:lnTo>
                  <a:pt x="5923" y="12978"/>
                </a:lnTo>
                <a:lnTo>
                  <a:pt x="5922" y="12972"/>
                </a:lnTo>
                <a:lnTo>
                  <a:pt x="5921" y="12966"/>
                </a:lnTo>
                <a:lnTo>
                  <a:pt x="5920" y="12953"/>
                </a:lnTo>
                <a:lnTo>
                  <a:pt x="5922" y="12940"/>
                </a:lnTo>
                <a:lnTo>
                  <a:pt x="5924" y="12926"/>
                </a:lnTo>
                <a:lnTo>
                  <a:pt x="5928" y="12911"/>
                </a:lnTo>
                <a:lnTo>
                  <a:pt x="5934" y="12896"/>
                </a:lnTo>
                <a:lnTo>
                  <a:pt x="5940" y="12882"/>
                </a:lnTo>
                <a:lnTo>
                  <a:pt x="5953" y="12851"/>
                </a:lnTo>
                <a:lnTo>
                  <a:pt x="5968" y="12818"/>
                </a:lnTo>
                <a:lnTo>
                  <a:pt x="5974" y="12801"/>
                </a:lnTo>
                <a:lnTo>
                  <a:pt x="5981" y="12783"/>
                </a:lnTo>
                <a:lnTo>
                  <a:pt x="5987" y="12765"/>
                </a:lnTo>
                <a:lnTo>
                  <a:pt x="5992" y="12747"/>
                </a:lnTo>
                <a:lnTo>
                  <a:pt x="6003" y="12739"/>
                </a:lnTo>
                <a:lnTo>
                  <a:pt x="6012" y="12729"/>
                </a:lnTo>
                <a:lnTo>
                  <a:pt x="6021" y="12716"/>
                </a:lnTo>
                <a:lnTo>
                  <a:pt x="6028" y="12700"/>
                </a:lnTo>
                <a:lnTo>
                  <a:pt x="6035" y="12682"/>
                </a:lnTo>
                <a:lnTo>
                  <a:pt x="6041" y="12661"/>
                </a:lnTo>
                <a:lnTo>
                  <a:pt x="6046" y="12639"/>
                </a:lnTo>
                <a:lnTo>
                  <a:pt x="6050" y="12615"/>
                </a:lnTo>
                <a:lnTo>
                  <a:pt x="6054" y="12589"/>
                </a:lnTo>
                <a:lnTo>
                  <a:pt x="6057" y="12563"/>
                </a:lnTo>
                <a:lnTo>
                  <a:pt x="6059" y="12534"/>
                </a:lnTo>
                <a:lnTo>
                  <a:pt x="6061" y="12505"/>
                </a:lnTo>
                <a:lnTo>
                  <a:pt x="6064" y="12446"/>
                </a:lnTo>
                <a:lnTo>
                  <a:pt x="6066" y="12385"/>
                </a:lnTo>
                <a:lnTo>
                  <a:pt x="6068" y="12325"/>
                </a:lnTo>
                <a:lnTo>
                  <a:pt x="6070" y="12267"/>
                </a:lnTo>
                <a:lnTo>
                  <a:pt x="6073" y="12214"/>
                </a:lnTo>
                <a:lnTo>
                  <a:pt x="6077" y="12167"/>
                </a:lnTo>
                <a:lnTo>
                  <a:pt x="6080" y="12145"/>
                </a:lnTo>
                <a:lnTo>
                  <a:pt x="6083" y="12126"/>
                </a:lnTo>
                <a:lnTo>
                  <a:pt x="6087" y="12110"/>
                </a:lnTo>
                <a:lnTo>
                  <a:pt x="6092" y="12096"/>
                </a:lnTo>
                <a:lnTo>
                  <a:pt x="6097" y="12085"/>
                </a:lnTo>
                <a:lnTo>
                  <a:pt x="6103" y="12076"/>
                </a:lnTo>
                <a:lnTo>
                  <a:pt x="6110" y="12071"/>
                </a:lnTo>
                <a:lnTo>
                  <a:pt x="6119" y="12070"/>
                </a:lnTo>
                <a:lnTo>
                  <a:pt x="6120" y="12013"/>
                </a:lnTo>
                <a:lnTo>
                  <a:pt x="6122" y="11959"/>
                </a:lnTo>
                <a:lnTo>
                  <a:pt x="6125" y="11909"/>
                </a:lnTo>
                <a:lnTo>
                  <a:pt x="6129" y="11859"/>
                </a:lnTo>
                <a:lnTo>
                  <a:pt x="6134" y="11811"/>
                </a:lnTo>
                <a:lnTo>
                  <a:pt x="6138" y="11764"/>
                </a:lnTo>
                <a:lnTo>
                  <a:pt x="6143" y="11719"/>
                </a:lnTo>
                <a:lnTo>
                  <a:pt x="6147" y="11675"/>
                </a:lnTo>
                <a:lnTo>
                  <a:pt x="6151" y="11630"/>
                </a:lnTo>
                <a:lnTo>
                  <a:pt x="6154" y="11586"/>
                </a:lnTo>
                <a:lnTo>
                  <a:pt x="6156" y="11541"/>
                </a:lnTo>
                <a:lnTo>
                  <a:pt x="6157" y="11494"/>
                </a:lnTo>
                <a:lnTo>
                  <a:pt x="6156" y="11448"/>
                </a:lnTo>
                <a:lnTo>
                  <a:pt x="6153" y="11399"/>
                </a:lnTo>
                <a:lnTo>
                  <a:pt x="6150" y="11374"/>
                </a:lnTo>
                <a:lnTo>
                  <a:pt x="6148" y="11349"/>
                </a:lnTo>
                <a:lnTo>
                  <a:pt x="6144" y="11323"/>
                </a:lnTo>
                <a:lnTo>
                  <a:pt x="6140" y="11297"/>
                </a:lnTo>
                <a:lnTo>
                  <a:pt x="6142" y="11296"/>
                </a:lnTo>
                <a:lnTo>
                  <a:pt x="6142" y="11295"/>
                </a:lnTo>
                <a:lnTo>
                  <a:pt x="6142" y="11293"/>
                </a:lnTo>
                <a:lnTo>
                  <a:pt x="6141" y="11290"/>
                </a:lnTo>
                <a:lnTo>
                  <a:pt x="6136" y="11281"/>
                </a:lnTo>
                <a:lnTo>
                  <a:pt x="6128" y="11269"/>
                </a:lnTo>
                <a:lnTo>
                  <a:pt x="6106" y="11242"/>
                </a:lnTo>
                <a:lnTo>
                  <a:pt x="6079" y="11211"/>
                </a:lnTo>
                <a:lnTo>
                  <a:pt x="6051" y="11180"/>
                </a:lnTo>
                <a:lnTo>
                  <a:pt x="6026" y="11153"/>
                </a:lnTo>
                <a:lnTo>
                  <a:pt x="6009" y="11133"/>
                </a:lnTo>
                <a:lnTo>
                  <a:pt x="6002" y="11127"/>
                </a:lnTo>
                <a:lnTo>
                  <a:pt x="5988" y="11126"/>
                </a:lnTo>
                <a:lnTo>
                  <a:pt x="5973" y="11124"/>
                </a:lnTo>
                <a:lnTo>
                  <a:pt x="5959" y="11121"/>
                </a:lnTo>
                <a:lnTo>
                  <a:pt x="5946" y="11116"/>
                </a:lnTo>
                <a:lnTo>
                  <a:pt x="5933" y="11110"/>
                </a:lnTo>
                <a:lnTo>
                  <a:pt x="5920" y="11103"/>
                </a:lnTo>
                <a:lnTo>
                  <a:pt x="5907" y="11095"/>
                </a:lnTo>
                <a:lnTo>
                  <a:pt x="5895" y="11087"/>
                </a:lnTo>
                <a:lnTo>
                  <a:pt x="5884" y="11077"/>
                </a:lnTo>
                <a:lnTo>
                  <a:pt x="5872" y="11066"/>
                </a:lnTo>
                <a:lnTo>
                  <a:pt x="5861" y="11055"/>
                </a:lnTo>
                <a:lnTo>
                  <a:pt x="5850" y="11043"/>
                </a:lnTo>
                <a:lnTo>
                  <a:pt x="5840" y="11030"/>
                </a:lnTo>
                <a:lnTo>
                  <a:pt x="5830" y="11016"/>
                </a:lnTo>
                <a:lnTo>
                  <a:pt x="5820" y="11002"/>
                </a:lnTo>
                <a:lnTo>
                  <a:pt x="5812" y="10988"/>
                </a:lnTo>
                <a:lnTo>
                  <a:pt x="5795" y="10959"/>
                </a:lnTo>
                <a:lnTo>
                  <a:pt x="5781" y="10930"/>
                </a:lnTo>
                <a:lnTo>
                  <a:pt x="5768" y="10900"/>
                </a:lnTo>
                <a:lnTo>
                  <a:pt x="5758" y="10870"/>
                </a:lnTo>
                <a:lnTo>
                  <a:pt x="5749" y="10841"/>
                </a:lnTo>
                <a:lnTo>
                  <a:pt x="5743" y="10815"/>
                </a:lnTo>
                <a:lnTo>
                  <a:pt x="5741" y="10802"/>
                </a:lnTo>
                <a:lnTo>
                  <a:pt x="5740" y="10790"/>
                </a:lnTo>
                <a:lnTo>
                  <a:pt x="5739" y="10779"/>
                </a:lnTo>
                <a:lnTo>
                  <a:pt x="5738" y="10767"/>
                </a:lnTo>
                <a:lnTo>
                  <a:pt x="5731" y="10748"/>
                </a:lnTo>
                <a:lnTo>
                  <a:pt x="5723" y="10727"/>
                </a:lnTo>
                <a:lnTo>
                  <a:pt x="5714" y="10705"/>
                </a:lnTo>
                <a:lnTo>
                  <a:pt x="5705" y="10682"/>
                </a:lnTo>
                <a:lnTo>
                  <a:pt x="5697" y="10658"/>
                </a:lnTo>
                <a:lnTo>
                  <a:pt x="5691" y="10634"/>
                </a:lnTo>
                <a:lnTo>
                  <a:pt x="5688" y="10622"/>
                </a:lnTo>
                <a:lnTo>
                  <a:pt x="5686" y="10610"/>
                </a:lnTo>
                <a:lnTo>
                  <a:pt x="5685" y="10599"/>
                </a:lnTo>
                <a:lnTo>
                  <a:pt x="5685" y="10587"/>
                </a:lnTo>
                <a:lnTo>
                  <a:pt x="5687" y="10586"/>
                </a:lnTo>
                <a:lnTo>
                  <a:pt x="5688" y="10583"/>
                </a:lnTo>
                <a:lnTo>
                  <a:pt x="5687" y="10578"/>
                </a:lnTo>
                <a:lnTo>
                  <a:pt x="5685" y="10571"/>
                </a:lnTo>
                <a:lnTo>
                  <a:pt x="5677" y="10553"/>
                </a:lnTo>
                <a:lnTo>
                  <a:pt x="5665" y="10529"/>
                </a:lnTo>
                <a:lnTo>
                  <a:pt x="5649" y="10500"/>
                </a:lnTo>
                <a:lnTo>
                  <a:pt x="5630" y="10468"/>
                </a:lnTo>
                <a:lnTo>
                  <a:pt x="5610" y="10434"/>
                </a:lnTo>
                <a:lnTo>
                  <a:pt x="5587" y="10400"/>
                </a:lnTo>
                <a:lnTo>
                  <a:pt x="5542" y="10331"/>
                </a:lnTo>
                <a:lnTo>
                  <a:pt x="5503" y="10272"/>
                </a:lnTo>
                <a:lnTo>
                  <a:pt x="5473" y="10230"/>
                </a:lnTo>
                <a:lnTo>
                  <a:pt x="5462" y="10217"/>
                </a:lnTo>
                <a:lnTo>
                  <a:pt x="5450" y="10210"/>
                </a:lnTo>
                <a:lnTo>
                  <a:pt x="5440" y="10203"/>
                </a:lnTo>
                <a:lnTo>
                  <a:pt x="5431" y="10195"/>
                </a:lnTo>
                <a:lnTo>
                  <a:pt x="5424" y="10187"/>
                </a:lnTo>
                <a:lnTo>
                  <a:pt x="5418" y="10180"/>
                </a:lnTo>
                <a:lnTo>
                  <a:pt x="5413" y="10172"/>
                </a:lnTo>
                <a:lnTo>
                  <a:pt x="5409" y="10163"/>
                </a:lnTo>
                <a:lnTo>
                  <a:pt x="5406" y="10155"/>
                </a:lnTo>
                <a:lnTo>
                  <a:pt x="5405" y="10147"/>
                </a:lnTo>
                <a:lnTo>
                  <a:pt x="5404" y="10137"/>
                </a:lnTo>
                <a:lnTo>
                  <a:pt x="5405" y="10128"/>
                </a:lnTo>
                <a:lnTo>
                  <a:pt x="5406" y="10119"/>
                </a:lnTo>
                <a:lnTo>
                  <a:pt x="5408" y="10110"/>
                </a:lnTo>
                <a:lnTo>
                  <a:pt x="5410" y="10101"/>
                </a:lnTo>
                <a:lnTo>
                  <a:pt x="5413" y="10092"/>
                </a:lnTo>
                <a:lnTo>
                  <a:pt x="5417" y="10082"/>
                </a:lnTo>
                <a:lnTo>
                  <a:pt x="5435" y="10042"/>
                </a:lnTo>
                <a:lnTo>
                  <a:pt x="5455" y="10000"/>
                </a:lnTo>
                <a:lnTo>
                  <a:pt x="5465" y="9978"/>
                </a:lnTo>
                <a:lnTo>
                  <a:pt x="5473" y="9956"/>
                </a:lnTo>
                <a:lnTo>
                  <a:pt x="5476" y="9945"/>
                </a:lnTo>
                <a:lnTo>
                  <a:pt x="5479" y="9934"/>
                </a:lnTo>
                <a:lnTo>
                  <a:pt x="5483" y="9922"/>
                </a:lnTo>
                <a:lnTo>
                  <a:pt x="5484" y="9911"/>
                </a:lnTo>
                <a:lnTo>
                  <a:pt x="5473" y="9906"/>
                </a:lnTo>
                <a:lnTo>
                  <a:pt x="5464" y="9900"/>
                </a:lnTo>
                <a:lnTo>
                  <a:pt x="5456" y="9893"/>
                </a:lnTo>
                <a:lnTo>
                  <a:pt x="5450" y="9883"/>
                </a:lnTo>
                <a:lnTo>
                  <a:pt x="5444" y="9873"/>
                </a:lnTo>
                <a:lnTo>
                  <a:pt x="5440" y="9862"/>
                </a:lnTo>
                <a:lnTo>
                  <a:pt x="5437" y="9850"/>
                </a:lnTo>
                <a:lnTo>
                  <a:pt x="5435" y="9837"/>
                </a:lnTo>
                <a:lnTo>
                  <a:pt x="5434" y="9824"/>
                </a:lnTo>
                <a:lnTo>
                  <a:pt x="5433" y="9809"/>
                </a:lnTo>
                <a:lnTo>
                  <a:pt x="5434" y="9795"/>
                </a:lnTo>
                <a:lnTo>
                  <a:pt x="5435" y="9779"/>
                </a:lnTo>
                <a:lnTo>
                  <a:pt x="5437" y="9763"/>
                </a:lnTo>
                <a:lnTo>
                  <a:pt x="5439" y="9747"/>
                </a:lnTo>
                <a:lnTo>
                  <a:pt x="5443" y="9731"/>
                </a:lnTo>
                <a:lnTo>
                  <a:pt x="5446" y="9715"/>
                </a:lnTo>
                <a:lnTo>
                  <a:pt x="5455" y="9684"/>
                </a:lnTo>
                <a:lnTo>
                  <a:pt x="5466" y="9654"/>
                </a:lnTo>
                <a:lnTo>
                  <a:pt x="5477" y="9625"/>
                </a:lnTo>
                <a:lnTo>
                  <a:pt x="5490" y="9601"/>
                </a:lnTo>
                <a:lnTo>
                  <a:pt x="5497" y="9590"/>
                </a:lnTo>
                <a:lnTo>
                  <a:pt x="5503" y="9580"/>
                </a:lnTo>
                <a:lnTo>
                  <a:pt x="5509" y="9572"/>
                </a:lnTo>
                <a:lnTo>
                  <a:pt x="5515" y="9564"/>
                </a:lnTo>
                <a:lnTo>
                  <a:pt x="5521" y="9558"/>
                </a:lnTo>
                <a:lnTo>
                  <a:pt x="5526" y="9554"/>
                </a:lnTo>
                <a:lnTo>
                  <a:pt x="5532" y="9551"/>
                </a:lnTo>
                <a:lnTo>
                  <a:pt x="5537" y="9551"/>
                </a:lnTo>
                <a:lnTo>
                  <a:pt x="5539" y="9536"/>
                </a:lnTo>
                <a:lnTo>
                  <a:pt x="5544" y="9523"/>
                </a:lnTo>
                <a:lnTo>
                  <a:pt x="5549" y="9510"/>
                </a:lnTo>
                <a:lnTo>
                  <a:pt x="5556" y="9499"/>
                </a:lnTo>
                <a:lnTo>
                  <a:pt x="5565" y="9489"/>
                </a:lnTo>
                <a:lnTo>
                  <a:pt x="5575" y="9480"/>
                </a:lnTo>
                <a:lnTo>
                  <a:pt x="5587" y="9472"/>
                </a:lnTo>
                <a:lnTo>
                  <a:pt x="5600" y="9466"/>
                </a:lnTo>
                <a:lnTo>
                  <a:pt x="5603" y="9475"/>
                </a:lnTo>
                <a:lnTo>
                  <a:pt x="5606" y="9482"/>
                </a:lnTo>
                <a:lnTo>
                  <a:pt x="5610" y="9489"/>
                </a:lnTo>
                <a:lnTo>
                  <a:pt x="5614" y="9494"/>
                </a:lnTo>
                <a:lnTo>
                  <a:pt x="5619" y="9497"/>
                </a:lnTo>
                <a:lnTo>
                  <a:pt x="5623" y="9500"/>
                </a:lnTo>
                <a:lnTo>
                  <a:pt x="5628" y="9501"/>
                </a:lnTo>
                <a:lnTo>
                  <a:pt x="5633" y="9502"/>
                </a:lnTo>
                <a:lnTo>
                  <a:pt x="5639" y="9501"/>
                </a:lnTo>
                <a:lnTo>
                  <a:pt x="5644" y="9500"/>
                </a:lnTo>
                <a:lnTo>
                  <a:pt x="5649" y="9498"/>
                </a:lnTo>
                <a:lnTo>
                  <a:pt x="5654" y="9495"/>
                </a:lnTo>
                <a:lnTo>
                  <a:pt x="5659" y="9492"/>
                </a:lnTo>
                <a:lnTo>
                  <a:pt x="5664" y="9488"/>
                </a:lnTo>
                <a:lnTo>
                  <a:pt x="5668" y="9484"/>
                </a:lnTo>
                <a:lnTo>
                  <a:pt x="5673" y="9479"/>
                </a:lnTo>
                <a:lnTo>
                  <a:pt x="5680" y="9468"/>
                </a:lnTo>
                <a:lnTo>
                  <a:pt x="5686" y="9457"/>
                </a:lnTo>
                <a:lnTo>
                  <a:pt x="5687" y="9452"/>
                </a:lnTo>
                <a:lnTo>
                  <a:pt x="5689" y="9447"/>
                </a:lnTo>
                <a:lnTo>
                  <a:pt x="5689" y="9441"/>
                </a:lnTo>
                <a:lnTo>
                  <a:pt x="5689" y="9436"/>
                </a:lnTo>
                <a:lnTo>
                  <a:pt x="5688" y="9431"/>
                </a:lnTo>
                <a:lnTo>
                  <a:pt x="5686" y="9427"/>
                </a:lnTo>
                <a:lnTo>
                  <a:pt x="5683" y="9423"/>
                </a:lnTo>
                <a:lnTo>
                  <a:pt x="5679" y="9420"/>
                </a:lnTo>
                <a:lnTo>
                  <a:pt x="5675" y="9417"/>
                </a:lnTo>
                <a:lnTo>
                  <a:pt x="5669" y="9415"/>
                </a:lnTo>
                <a:lnTo>
                  <a:pt x="5661" y="9414"/>
                </a:lnTo>
                <a:lnTo>
                  <a:pt x="5653" y="9413"/>
                </a:lnTo>
                <a:lnTo>
                  <a:pt x="5653" y="9383"/>
                </a:lnTo>
                <a:lnTo>
                  <a:pt x="5652" y="9348"/>
                </a:lnTo>
                <a:lnTo>
                  <a:pt x="5651" y="9311"/>
                </a:lnTo>
                <a:lnTo>
                  <a:pt x="5650" y="9273"/>
                </a:lnTo>
                <a:lnTo>
                  <a:pt x="5650" y="9236"/>
                </a:lnTo>
                <a:lnTo>
                  <a:pt x="5650" y="9203"/>
                </a:lnTo>
                <a:lnTo>
                  <a:pt x="5651" y="9177"/>
                </a:lnTo>
                <a:lnTo>
                  <a:pt x="5653" y="9159"/>
                </a:lnTo>
                <a:lnTo>
                  <a:pt x="5652" y="9138"/>
                </a:lnTo>
                <a:lnTo>
                  <a:pt x="5649" y="9114"/>
                </a:lnTo>
                <a:lnTo>
                  <a:pt x="5644" y="9091"/>
                </a:lnTo>
                <a:lnTo>
                  <a:pt x="5637" y="9067"/>
                </a:lnTo>
                <a:lnTo>
                  <a:pt x="5629" y="9044"/>
                </a:lnTo>
                <a:lnTo>
                  <a:pt x="5619" y="9023"/>
                </a:lnTo>
                <a:lnTo>
                  <a:pt x="5614" y="9013"/>
                </a:lnTo>
                <a:lnTo>
                  <a:pt x="5609" y="9003"/>
                </a:lnTo>
                <a:lnTo>
                  <a:pt x="5602" y="8994"/>
                </a:lnTo>
                <a:lnTo>
                  <a:pt x="5596" y="8987"/>
                </a:lnTo>
                <a:lnTo>
                  <a:pt x="5590" y="8980"/>
                </a:lnTo>
                <a:lnTo>
                  <a:pt x="5583" y="8975"/>
                </a:lnTo>
                <a:lnTo>
                  <a:pt x="5576" y="8970"/>
                </a:lnTo>
                <a:lnTo>
                  <a:pt x="5570" y="8967"/>
                </a:lnTo>
                <a:lnTo>
                  <a:pt x="5563" y="8965"/>
                </a:lnTo>
                <a:lnTo>
                  <a:pt x="5556" y="8965"/>
                </a:lnTo>
                <a:lnTo>
                  <a:pt x="5549" y="8966"/>
                </a:lnTo>
                <a:lnTo>
                  <a:pt x="5542" y="8969"/>
                </a:lnTo>
                <a:lnTo>
                  <a:pt x="5534" y="8974"/>
                </a:lnTo>
                <a:lnTo>
                  <a:pt x="5527" y="8980"/>
                </a:lnTo>
                <a:lnTo>
                  <a:pt x="5520" y="8988"/>
                </a:lnTo>
                <a:lnTo>
                  <a:pt x="5513" y="8999"/>
                </a:lnTo>
                <a:lnTo>
                  <a:pt x="5506" y="9012"/>
                </a:lnTo>
                <a:lnTo>
                  <a:pt x="5498" y="9027"/>
                </a:lnTo>
                <a:lnTo>
                  <a:pt x="5491" y="9044"/>
                </a:lnTo>
                <a:lnTo>
                  <a:pt x="5484" y="9064"/>
                </a:lnTo>
                <a:lnTo>
                  <a:pt x="5467" y="9057"/>
                </a:lnTo>
                <a:lnTo>
                  <a:pt x="5449" y="9051"/>
                </a:lnTo>
                <a:lnTo>
                  <a:pt x="5428" y="9045"/>
                </a:lnTo>
                <a:lnTo>
                  <a:pt x="5407" y="9040"/>
                </a:lnTo>
                <a:lnTo>
                  <a:pt x="5360" y="9030"/>
                </a:lnTo>
                <a:lnTo>
                  <a:pt x="5312" y="9017"/>
                </a:lnTo>
                <a:lnTo>
                  <a:pt x="5289" y="9010"/>
                </a:lnTo>
                <a:lnTo>
                  <a:pt x="5268" y="9000"/>
                </a:lnTo>
                <a:lnTo>
                  <a:pt x="5258" y="8995"/>
                </a:lnTo>
                <a:lnTo>
                  <a:pt x="5248" y="8989"/>
                </a:lnTo>
                <a:lnTo>
                  <a:pt x="5239" y="8984"/>
                </a:lnTo>
                <a:lnTo>
                  <a:pt x="5230" y="8977"/>
                </a:lnTo>
                <a:lnTo>
                  <a:pt x="5221" y="8970"/>
                </a:lnTo>
                <a:lnTo>
                  <a:pt x="5214" y="8963"/>
                </a:lnTo>
                <a:lnTo>
                  <a:pt x="5207" y="8955"/>
                </a:lnTo>
                <a:lnTo>
                  <a:pt x="5201" y="8946"/>
                </a:lnTo>
                <a:lnTo>
                  <a:pt x="5196" y="8937"/>
                </a:lnTo>
                <a:lnTo>
                  <a:pt x="5192" y="8927"/>
                </a:lnTo>
                <a:lnTo>
                  <a:pt x="5189" y="8917"/>
                </a:lnTo>
                <a:lnTo>
                  <a:pt x="5187" y="8905"/>
                </a:lnTo>
                <a:lnTo>
                  <a:pt x="5188" y="8899"/>
                </a:lnTo>
                <a:lnTo>
                  <a:pt x="5188" y="8893"/>
                </a:lnTo>
                <a:lnTo>
                  <a:pt x="5187" y="8886"/>
                </a:lnTo>
                <a:lnTo>
                  <a:pt x="5186" y="8878"/>
                </a:lnTo>
                <a:lnTo>
                  <a:pt x="5181" y="8864"/>
                </a:lnTo>
                <a:lnTo>
                  <a:pt x="5174" y="8849"/>
                </a:lnTo>
                <a:lnTo>
                  <a:pt x="5165" y="8833"/>
                </a:lnTo>
                <a:lnTo>
                  <a:pt x="5154" y="8817"/>
                </a:lnTo>
                <a:lnTo>
                  <a:pt x="5143" y="8800"/>
                </a:lnTo>
                <a:lnTo>
                  <a:pt x="5130" y="8784"/>
                </a:lnTo>
                <a:lnTo>
                  <a:pt x="5116" y="8769"/>
                </a:lnTo>
                <a:lnTo>
                  <a:pt x="5101" y="8753"/>
                </a:lnTo>
                <a:lnTo>
                  <a:pt x="5087" y="8739"/>
                </a:lnTo>
                <a:lnTo>
                  <a:pt x="5074" y="8727"/>
                </a:lnTo>
                <a:lnTo>
                  <a:pt x="5061" y="8715"/>
                </a:lnTo>
                <a:lnTo>
                  <a:pt x="5049" y="8706"/>
                </a:lnTo>
                <a:lnTo>
                  <a:pt x="5038" y="8698"/>
                </a:lnTo>
                <a:lnTo>
                  <a:pt x="5029" y="8693"/>
                </a:lnTo>
                <a:lnTo>
                  <a:pt x="5032" y="8683"/>
                </a:lnTo>
                <a:lnTo>
                  <a:pt x="5033" y="8672"/>
                </a:lnTo>
                <a:lnTo>
                  <a:pt x="5033" y="8662"/>
                </a:lnTo>
                <a:lnTo>
                  <a:pt x="5031" y="8651"/>
                </a:lnTo>
                <a:lnTo>
                  <a:pt x="5028" y="8641"/>
                </a:lnTo>
                <a:lnTo>
                  <a:pt x="5024" y="8629"/>
                </a:lnTo>
                <a:lnTo>
                  <a:pt x="5018" y="8618"/>
                </a:lnTo>
                <a:lnTo>
                  <a:pt x="5011" y="8607"/>
                </a:lnTo>
                <a:lnTo>
                  <a:pt x="5004" y="8597"/>
                </a:lnTo>
                <a:lnTo>
                  <a:pt x="4995" y="8586"/>
                </a:lnTo>
                <a:lnTo>
                  <a:pt x="4985" y="8575"/>
                </a:lnTo>
                <a:lnTo>
                  <a:pt x="4974" y="8565"/>
                </a:lnTo>
                <a:lnTo>
                  <a:pt x="4962" y="8555"/>
                </a:lnTo>
                <a:lnTo>
                  <a:pt x="4951" y="8545"/>
                </a:lnTo>
                <a:lnTo>
                  <a:pt x="4938" y="8535"/>
                </a:lnTo>
                <a:lnTo>
                  <a:pt x="4925" y="8526"/>
                </a:lnTo>
                <a:lnTo>
                  <a:pt x="4898" y="8508"/>
                </a:lnTo>
                <a:lnTo>
                  <a:pt x="4871" y="8490"/>
                </a:lnTo>
                <a:lnTo>
                  <a:pt x="4842" y="8476"/>
                </a:lnTo>
                <a:lnTo>
                  <a:pt x="4814" y="8463"/>
                </a:lnTo>
                <a:lnTo>
                  <a:pt x="4788" y="8453"/>
                </a:lnTo>
                <a:lnTo>
                  <a:pt x="4763" y="8446"/>
                </a:lnTo>
                <a:lnTo>
                  <a:pt x="4752" y="8443"/>
                </a:lnTo>
                <a:lnTo>
                  <a:pt x="4741" y="8441"/>
                </a:lnTo>
                <a:lnTo>
                  <a:pt x="4731" y="8440"/>
                </a:lnTo>
                <a:lnTo>
                  <a:pt x="4721" y="8439"/>
                </a:lnTo>
                <a:lnTo>
                  <a:pt x="4721" y="8435"/>
                </a:lnTo>
                <a:lnTo>
                  <a:pt x="4719" y="8432"/>
                </a:lnTo>
                <a:lnTo>
                  <a:pt x="4717" y="8429"/>
                </a:lnTo>
                <a:lnTo>
                  <a:pt x="4713" y="8427"/>
                </a:lnTo>
                <a:lnTo>
                  <a:pt x="4705" y="8423"/>
                </a:lnTo>
                <a:lnTo>
                  <a:pt x="4695" y="8420"/>
                </a:lnTo>
                <a:lnTo>
                  <a:pt x="4685" y="8417"/>
                </a:lnTo>
                <a:lnTo>
                  <a:pt x="4674" y="8413"/>
                </a:lnTo>
                <a:lnTo>
                  <a:pt x="4670" y="8410"/>
                </a:lnTo>
                <a:lnTo>
                  <a:pt x="4665" y="8406"/>
                </a:lnTo>
                <a:lnTo>
                  <a:pt x="4661" y="8402"/>
                </a:lnTo>
                <a:lnTo>
                  <a:pt x="4658" y="8397"/>
                </a:lnTo>
                <a:lnTo>
                  <a:pt x="4650" y="8397"/>
                </a:lnTo>
                <a:lnTo>
                  <a:pt x="4642" y="8396"/>
                </a:lnTo>
                <a:lnTo>
                  <a:pt x="4634" y="8394"/>
                </a:lnTo>
                <a:lnTo>
                  <a:pt x="4626" y="8392"/>
                </a:lnTo>
                <a:lnTo>
                  <a:pt x="4619" y="8389"/>
                </a:lnTo>
                <a:lnTo>
                  <a:pt x="4612" y="8386"/>
                </a:lnTo>
                <a:lnTo>
                  <a:pt x="4606" y="8382"/>
                </a:lnTo>
                <a:lnTo>
                  <a:pt x="4598" y="8376"/>
                </a:lnTo>
                <a:lnTo>
                  <a:pt x="4586" y="8367"/>
                </a:lnTo>
                <a:lnTo>
                  <a:pt x="4574" y="8356"/>
                </a:lnTo>
                <a:lnTo>
                  <a:pt x="4563" y="8345"/>
                </a:lnTo>
                <a:lnTo>
                  <a:pt x="4552" y="8333"/>
                </a:lnTo>
                <a:lnTo>
                  <a:pt x="4540" y="8321"/>
                </a:lnTo>
                <a:lnTo>
                  <a:pt x="4528" y="8310"/>
                </a:lnTo>
                <a:lnTo>
                  <a:pt x="4516" y="8299"/>
                </a:lnTo>
                <a:lnTo>
                  <a:pt x="4503" y="8290"/>
                </a:lnTo>
                <a:lnTo>
                  <a:pt x="4496" y="8286"/>
                </a:lnTo>
                <a:lnTo>
                  <a:pt x="4488" y="8282"/>
                </a:lnTo>
                <a:lnTo>
                  <a:pt x="4481" y="8278"/>
                </a:lnTo>
                <a:lnTo>
                  <a:pt x="4472" y="8276"/>
                </a:lnTo>
                <a:lnTo>
                  <a:pt x="4463" y="8273"/>
                </a:lnTo>
                <a:lnTo>
                  <a:pt x="4455" y="8272"/>
                </a:lnTo>
                <a:lnTo>
                  <a:pt x="4445" y="8271"/>
                </a:lnTo>
                <a:lnTo>
                  <a:pt x="4436" y="8270"/>
                </a:lnTo>
                <a:lnTo>
                  <a:pt x="4413" y="8269"/>
                </a:lnTo>
                <a:lnTo>
                  <a:pt x="4390" y="8267"/>
                </a:lnTo>
                <a:lnTo>
                  <a:pt x="4367" y="8262"/>
                </a:lnTo>
                <a:lnTo>
                  <a:pt x="4343" y="8257"/>
                </a:lnTo>
                <a:lnTo>
                  <a:pt x="4298" y="8243"/>
                </a:lnTo>
                <a:lnTo>
                  <a:pt x="4253" y="8227"/>
                </a:lnTo>
                <a:lnTo>
                  <a:pt x="4207" y="8212"/>
                </a:lnTo>
                <a:lnTo>
                  <a:pt x="4163" y="8198"/>
                </a:lnTo>
                <a:lnTo>
                  <a:pt x="4141" y="8193"/>
                </a:lnTo>
                <a:lnTo>
                  <a:pt x="4119" y="8189"/>
                </a:lnTo>
                <a:lnTo>
                  <a:pt x="4098" y="8186"/>
                </a:lnTo>
                <a:lnTo>
                  <a:pt x="4076" y="8185"/>
                </a:lnTo>
                <a:lnTo>
                  <a:pt x="4072" y="8179"/>
                </a:lnTo>
                <a:lnTo>
                  <a:pt x="4067" y="8172"/>
                </a:lnTo>
                <a:lnTo>
                  <a:pt x="4062" y="8167"/>
                </a:lnTo>
                <a:lnTo>
                  <a:pt x="4056" y="8162"/>
                </a:lnTo>
                <a:lnTo>
                  <a:pt x="4049" y="8157"/>
                </a:lnTo>
                <a:lnTo>
                  <a:pt x="4042" y="8153"/>
                </a:lnTo>
                <a:lnTo>
                  <a:pt x="4034" y="8149"/>
                </a:lnTo>
                <a:lnTo>
                  <a:pt x="4026" y="8145"/>
                </a:lnTo>
                <a:lnTo>
                  <a:pt x="4009" y="8139"/>
                </a:lnTo>
                <a:lnTo>
                  <a:pt x="3990" y="8134"/>
                </a:lnTo>
                <a:lnTo>
                  <a:pt x="3971" y="8129"/>
                </a:lnTo>
                <a:lnTo>
                  <a:pt x="3950" y="8123"/>
                </a:lnTo>
                <a:lnTo>
                  <a:pt x="3930" y="8119"/>
                </a:lnTo>
                <a:lnTo>
                  <a:pt x="3910" y="8114"/>
                </a:lnTo>
                <a:lnTo>
                  <a:pt x="3892" y="8108"/>
                </a:lnTo>
                <a:lnTo>
                  <a:pt x="3874" y="8101"/>
                </a:lnTo>
                <a:lnTo>
                  <a:pt x="3866" y="8097"/>
                </a:lnTo>
                <a:lnTo>
                  <a:pt x="3858" y="8093"/>
                </a:lnTo>
                <a:lnTo>
                  <a:pt x="3850" y="8089"/>
                </a:lnTo>
                <a:lnTo>
                  <a:pt x="3844" y="8084"/>
                </a:lnTo>
                <a:lnTo>
                  <a:pt x="3837" y="8078"/>
                </a:lnTo>
                <a:lnTo>
                  <a:pt x="3831" y="8072"/>
                </a:lnTo>
                <a:lnTo>
                  <a:pt x="3826" y="8065"/>
                </a:lnTo>
                <a:lnTo>
                  <a:pt x="3822" y="8058"/>
                </a:lnTo>
                <a:lnTo>
                  <a:pt x="3814" y="8058"/>
                </a:lnTo>
                <a:lnTo>
                  <a:pt x="3805" y="8056"/>
                </a:lnTo>
                <a:lnTo>
                  <a:pt x="3798" y="8054"/>
                </a:lnTo>
                <a:lnTo>
                  <a:pt x="3790" y="8051"/>
                </a:lnTo>
                <a:lnTo>
                  <a:pt x="3783" y="8047"/>
                </a:lnTo>
                <a:lnTo>
                  <a:pt x="3776" y="8042"/>
                </a:lnTo>
                <a:lnTo>
                  <a:pt x="3770" y="8036"/>
                </a:lnTo>
                <a:lnTo>
                  <a:pt x="3763" y="8030"/>
                </a:lnTo>
                <a:lnTo>
                  <a:pt x="3758" y="8023"/>
                </a:lnTo>
                <a:lnTo>
                  <a:pt x="3752" y="8016"/>
                </a:lnTo>
                <a:lnTo>
                  <a:pt x="3747" y="8008"/>
                </a:lnTo>
                <a:lnTo>
                  <a:pt x="3741" y="7999"/>
                </a:lnTo>
                <a:lnTo>
                  <a:pt x="3732" y="7981"/>
                </a:lnTo>
                <a:lnTo>
                  <a:pt x="3724" y="7962"/>
                </a:lnTo>
                <a:lnTo>
                  <a:pt x="3716" y="7943"/>
                </a:lnTo>
                <a:lnTo>
                  <a:pt x="3709" y="7923"/>
                </a:lnTo>
                <a:lnTo>
                  <a:pt x="3704" y="7903"/>
                </a:lnTo>
                <a:lnTo>
                  <a:pt x="3700" y="7884"/>
                </a:lnTo>
                <a:lnTo>
                  <a:pt x="3696" y="7864"/>
                </a:lnTo>
                <a:lnTo>
                  <a:pt x="3694" y="7847"/>
                </a:lnTo>
                <a:lnTo>
                  <a:pt x="3692" y="7832"/>
                </a:lnTo>
                <a:lnTo>
                  <a:pt x="3691" y="7818"/>
                </a:lnTo>
                <a:lnTo>
                  <a:pt x="3690" y="7802"/>
                </a:lnTo>
                <a:lnTo>
                  <a:pt x="3687" y="7781"/>
                </a:lnTo>
                <a:lnTo>
                  <a:pt x="3683" y="7757"/>
                </a:lnTo>
                <a:lnTo>
                  <a:pt x="3678" y="7730"/>
                </a:lnTo>
                <a:lnTo>
                  <a:pt x="3671" y="7702"/>
                </a:lnTo>
                <a:lnTo>
                  <a:pt x="3663" y="7673"/>
                </a:lnTo>
                <a:lnTo>
                  <a:pt x="3654" y="7643"/>
                </a:lnTo>
                <a:lnTo>
                  <a:pt x="3643" y="7612"/>
                </a:lnTo>
                <a:lnTo>
                  <a:pt x="3632" y="7584"/>
                </a:lnTo>
                <a:lnTo>
                  <a:pt x="3619" y="7557"/>
                </a:lnTo>
                <a:lnTo>
                  <a:pt x="3612" y="7544"/>
                </a:lnTo>
                <a:lnTo>
                  <a:pt x="3605" y="7532"/>
                </a:lnTo>
                <a:lnTo>
                  <a:pt x="3597" y="7521"/>
                </a:lnTo>
                <a:lnTo>
                  <a:pt x="3588" y="7510"/>
                </a:lnTo>
                <a:lnTo>
                  <a:pt x="3580" y="7501"/>
                </a:lnTo>
                <a:lnTo>
                  <a:pt x="3572" y="7491"/>
                </a:lnTo>
                <a:lnTo>
                  <a:pt x="3563" y="7484"/>
                </a:lnTo>
                <a:lnTo>
                  <a:pt x="3554" y="7477"/>
                </a:lnTo>
                <a:lnTo>
                  <a:pt x="3545" y="7472"/>
                </a:lnTo>
                <a:lnTo>
                  <a:pt x="3535" y="7469"/>
                </a:lnTo>
                <a:lnTo>
                  <a:pt x="3526" y="7466"/>
                </a:lnTo>
                <a:lnTo>
                  <a:pt x="3515" y="7466"/>
                </a:lnTo>
                <a:lnTo>
                  <a:pt x="3515" y="7459"/>
                </a:lnTo>
                <a:lnTo>
                  <a:pt x="3514" y="7453"/>
                </a:lnTo>
                <a:lnTo>
                  <a:pt x="3512" y="7446"/>
                </a:lnTo>
                <a:lnTo>
                  <a:pt x="3509" y="7439"/>
                </a:lnTo>
                <a:lnTo>
                  <a:pt x="3501" y="7424"/>
                </a:lnTo>
                <a:lnTo>
                  <a:pt x="3491" y="7410"/>
                </a:lnTo>
                <a:lnTo>
                  <a:pt x="3479" y="7395"/>
                </a:lnTo>
                <a:lnTo>
                  <a:pt x="3466" y="7380"/>
                </a:lnTo>
                <a:lnTo>
                  <a:pt x="3450" y="7364"/>
                </a:lnTo>
                <a:lnTo>
                  <a:pt x="3434" y="7350"/>
                </a:lnTo>
                <a:lnTo>
                  <a:pt x="3418" y="7337"/>
                </a:lnTo>
                <a:lnTo>
                  <a:pt x="3402" y="7325"/>
                </a:lnTo>
                <a:lnTo>
                  <a:pt x="3386" y="7314"/>
                </a:lnTo>
                <a:lnTo>
                  <a:pt x="3371" y="7304"/>
                </a:lnTo>
                <a:lnTo>
                  <a:pt x="3357" y="7297"/>
                </a:lnTo>
                <a:lnTo>
                  <a:pt x="3345" y="7291"/>
                </a:lnTo>
                <a:lnTo>
                  <a:pt x="3333" y="7287"/>
                </a:lnTo>
                <a:lnTo>
                  <a:pt x="3324" y="7286"/>
                </a:lnTo>
                <a:lnTo>
                  <a:pt x="3322" y="7276"/>
                </a:lnTo>
                <a:lnTo>
                  <a:pt x="3315" y="7258"/>
                </a:lnTo>
                <a:lnTo>
                  <a:pt x="3304" y="7233"/>
                </a:lnTo>
                <a:lnTo>
                  <a:pt x="3291" y="7207"/>
                </a:lnTo>
                <a:lnTo>
                  <a:pt x="3277" y="7181"/>
                </a:lnTo>
                <a:lnTo>
                  <a:pt x="3263" y="7159"/>
                </a:lnTo>
                <a:lnTo>
                  <a:pt x="3257" y="7150"/>
                </a:lnTo>
                <a:lnTo>
                  <a:pt x="3250" y="7144"/>
                </a:lnTo>
                <a:lnTo>
                  <a:pt x="3248" y="7141"/>
                </a:lnTo>
                <a:lnTo>
                  <a:pt x="3245" y="7139"/>
                </a:lnTo>
                <a:lnTo>
                  <a:pt x="3242" y="7138"/>
                </a:lnTo>
                <a:lnTo>
                  <a:pt x="3240" y="7138"/>
                </a:lnTo>
                <a:lnTo>
                  <a:pt x="3240" y="7133"/>
                </a:lnTo>
                <a:lnTo>
                  <a:pt x="3238" y="7128"/>
                </a:lnTo>
                <a:lnTo>
                  <a:pt x="3236" y="7121"/>
                </a:lnTo>
                <a:lnTo>
                  <a:pt x="3233" y="7113"/>
                </a:lnTo>
                <a:lnTo>
                  <a:pt x="3225" y="7098"/>
                </a:lnTo>
                <a:lnTo>
                  <a:pt x="3215" y="7080"/>
                </a:lnTo>
                <a:lnTo>
                  <a:pt x="3201" y="7061"/>
                </a:lnTo>
                <a:lnTo>
                  <a:pt x="3187" y="7043"/>
                </a:lnTo>
                <a:lnTo>
                  <a:pt x="3172" y="7024"/>
                </a:lnTo>
                <a:lnTo>
                  <a:pt x="3156" y="7006"/>
                </a:lnTo>
                <a:lnTo>
                  <a:pt x="3140" y="6989"/>
                </a:lnTo>
                <a:lnTo>
                  <a:pt x="3124" y="6975"/>
                </a:lnTo>
                <a:lnTo>
                  <a:pt x="3116" y="6969"/>
                </a:lnTo>
                <a:lnTo>
                  <a:pt x="3109" y="6964"/>
                </a:lnTo>
                <a:lnTo>
                  <a:pt x="3101" y="6959"/>
                </a:lnTo>
                <a:lnTo>
                  <a:pt x="3094" y="6956"/>
                </a:lnTo>
                <a:lnTo>
                  <a:pt x="3086" y="6954"/>
                </a:lnTo>
                <a:lnTo>
                  <a:pt x="3080" y="6953"/>
                </a:lnTo>
                <a:lnTo>
                  <a:pt x="3074" y="6953"/>
                </a:lnTo>
                <a:lnTo>
                  <a:pt x="3069" y="6955"/>
                </a:lnTo>
                <a:lnTo>
                  <a:pt x="3064" y="6957"/>
                </a:lnTo>
                <a:lnTo>
                  <a:pt x="3060" y="6962"/>
                </a:lnTo>
                <a:lnTo>
                  <a:pt x="3056" y="6968"/>
                </a:lnTo>
                <a:lnTo>
                  <a:pt x="3053" y="6975"/>
                </a:lnTo>
                <a:lnTo>
                  <a:pt x="3052" y="6981"/>
                </a:lnTo>
                <a:lnTo>
                  <a:pt x="3052" y="6986"/>
                </a:lnTo>
                <a:lnTo>
                  <a:pt x="3052" y="6992"/>
                </a:lnTo>
                <a:lnTo>
                  <a:pt x="3054" y="6999"/>
                </a:lnTo>
                <a:lnTo>
                  <a:pt x="3058" y="7011"/>
                </a:lnTo>
                <a:lnTo>
                  <a:pt x="3065" y="7023"/>
                </a:lnTo>
                <a:lnTo>
                  <a:pt x="3074" y="7035"/>
                </a:lnTo>
                <a:lnTo>
                  <a:pt x="3085" y="7048"/>
                </a:lnTo>
                <a:lnTo>
                  <a:pt x="3097" y="7061"/>
                </a:lnTo>
                <a:lnTo>
                  <a:pt x="3109" y="7074"/>
                </a:lnTo>
                <a:lnTo>
                  <a:pt x="3121" y="7087"/>
                </a:lnTo>
                <a:lnTo>
                  <a:pt x="3133" y="7101"/>
                </a:lnTo>
                <a:lnTo>
                  <a:pt x="3145" y="7114"/>
                </a:lnTo>
                <a:lnTo>
                  <a:pt x="3155" y="7128"/>
                </a:lnTo>
                <a:lnTo>
                  <a:pt x="3164" y="7141"/>
                </a:lnTo>
                <a:lnTo>
                  <a:pt x="3170" y="7154"/>
                </a:lnTo>
                <a:lnTo>
                  <a:pt x="3173" y="7161"/>
                </a:lnTo>
                <a:lnTo>
                  <a:pt x="3175" y="7167"/>
                </a:lnTo>
                <a:lnTo>
                  <a:pt x="3176" y="7174"/>
                </a:lnTo>
                <a:lnTo>
                  <a:pt x="3176" y="7180"/>
                </a:lnTo>
                <a:lnTo>
                  <a:pt x="3179" y="7181"/>
                </a:lnTo>
                <a:lnTo>
                  <a:pt x="3182" y="7182"/>
                </a:lnTo>
                <a:lnTo>
                  <a:pt x="3186" y="7185"/>
                </a:lnTo>
                <a:lnTo>
                  <a:pt x="3189" y="7189"/>
                </a:lnTo>
                <a:lnTo>
                  <a:pt x="3198" y="7199"/>
                </a:lnTo>
                <a:lnTo>
                  <a:pt x="3208" y="7213"/>
                </a:lnTo>
                <a:lnTo>
                  <a:pt x="3232" y="7248"/>
                </a:lnTo>
                <a:lnTo>
                  <a:pt x="3257" y="7288"/>
                </a:lnTo>
                <a:lnTo>
                  <a:pt x="3281" y="7331"/>
                </a:lnTo>
                <a:lnTo>
                  <a:pt x="3303" y="7370"/>
                </a:lnTo>
                <a:lnTo>
                  <a:pt x="3321" y="7403"/>
                </a:lnTo>
                <a:lnTo>
                  <a:pt x="3333" y="7424"/>
                </a:lnTo>
                <a:lnTo>
                  <a:pt x="3354" y="7460"/>
                </a:lnTo>
                <a:lnTo>
                  <a:pt x="3371" y="7492"/>
                </a:lnTo>
                <a:lnTo>
                  <a:pt x="3384" y="7521"/>
                </a:lnTo>
                <a:lnTo>
                  <a:pt x="3394" y="7545"/>
                </a:lnTo>
                <a:lnTo>
                  <a:pt x="3401" y="7567"/>
                </a:lnTo>
                <a:lnTo>
                  <a:pt x="3406" y="7585"/>
                </a:lnTo>
                <a:lnTo>
                  <a:pt x="3407" y="7600"/>
                </a:lnTo>
                <a:lnTo>
                  <a:pt x="3406" y="7611"/>
                </a:lnTo>
                <a:lnTo>
                  <a:pt x="3403" y="7621"/>
                </a:lnTo>
                <a:lnTo>
                  <a:pt x="3398" y="7628"/>
                </a:lnTo>
                <a:lnTo>
                  <a:pt x="3391" y="7632"/>
                </a:lnTo>
                <a:lnTo>
                  <a:pt x="3382" y="7634"/>
                </a:lnTo>
                <a:lnTo>
                  <a:pt x="3372" y="7633"/>
                </a:lnTo>
                <a:lnTo>
                  <a:pt x="3360" y="7630"/>
                </a:lnTo>
                <a:lnTo>
                  <a:pt x="3348" y="7625"/>
                </a:lnTo>
                <a:lnTo>
                  <a:pt x="3333" y="7618"/>
                </a:lnTo>
                <a:lnTo>
                  <a:pt x="3319" y="7610"/>
                </a:lnTo>
                <a:lnTo>
                  <a:pt x="3305" y="7600"/>
                </a:lnTo>
                <a:lnTo>
                  <a:pt x="3290" y="7589"/>
                </a:lnTo>
                <a:lnTo>
                  <a:pt x="3275" y="7576"/>
                </a:lnTo>
                <a:lnTo>
                  <a:pt x="3260" y="7563"/>
                </a:lnTo>
                <a:lnTo>
                  <a:pt x="3245" y="7548"/>
                </a:lnTo>
                <a:lnTo>
                  <a:pt x="3231" y="7533"/>
                </a:lnTo>
                <a:lnTo>
                  <a:pt x="3217" y="7517"/>
                </a:lnTo>
                <a:lnTo>
                  <a:pt x="3203" y="7501"/>
                </a:lnTo>
                <a:lnTo>
                  <a:pt x="3192" y="7483"/>
                </a:lnTo>
                <a:lnTo>
                  <a:pt x="3181" y="7466"/>
                </a:lnTo>
                <a:lnTo>
                  <a:pt x="3173" y="7448"/>
                </a:lnTo>
                <a:lnTo>
                  <a:pt x="3165" y="7431"/>
                </a:lnTo>
                <a:lnTo>
                  <a:pt x="3160" y="7414"/>
                </a:lnTo>
                <a:lnTo>
                  <a:pt x="3156" y="7398"/>
                </a:lnTo>
                <a:lnTo>
                  <a:pt x="3155" y="7381"/>
                </a:lnTo>
                <a:lnTo>
                  <a:pt x="3150" y="7378"/>
                </a:lnTo>
                <a:lnTo>
                  <a:pt x="3145" y="7374"/>
                </a:lnTo>
                <a:lnTo>
                  <a:pt x="3140" y="7369"/>
                </a:lnTo>
                <a:lnTo>
                  <a:pt x="3134" y="7363"/>
                </a:lnTo>
                <a:lnTo>
                  <a:pt x="3123" y="7349"/>
                </a:lnTo>
                <a:lnTo>
                  <a:pt x="3112" y="7333"/>
                </a:lnTo>
                <a:lnTo>
                  <a:pt x="3100" y="7314"/>
                </a:lnTo>
                <a:lnTo>
                  <a:pt x="3089" y="7294"/>
                </a:lnTo>
                <a:lnTo>
                  <a:pt x="3077" y="7272"/>
                </a:lnTo>
                <a:lnTo>
                  <a:pt x="3066" y="7249"/>
                </a:lnTo>
                <a:lnTo>
                  <a:pt x="3056" y="7226"/>
                </a:lnTo>
                <a:lnTo>
                  <a:pt x="3047" y="7203"/>
                </a:lnTo>
                <a:lnTo>
                  <a:pt x="3039" y="7181"/>
                </a:lnTo>
                <a:lnTo>
                  <a:pt x="3032" y="7160"/>
                </a:lnTo>
                <a:lnTo>
                  <a:pt x="3026" y="7140"/>
                </a:lnTo>
                <a:lnTo>
                  <a:pt x="3021" y="7123"/>
                </a:lnTo>
                <a:lnTo>
                  <a:pt x="3019" y="7107"/>
                </a:lnTo>
                <a:lnTo>
                  <a:pt x="3018" y="7095"/>
                </a:lnTo>
                <a:lnTo>
                  <a:pt x="3011" y="7088"/>
                </a:lnTo>
                <a:lnTo>
                  <a:pt x="3004" y="7078"/>
                </a:lnTo>
                <a:lnTo>
                  <a:pt x="2995" y="7065"/>
                </a:lnTo>
                <a:lnTo>
                  <a:pt x="2986" y="7050"/>
                </a:lnTo>
                <a:lnTo>
                  <a:pt x="2966" y="7014"/>
                </a:lnTo>
                <a:lnTo>
                  <a:pt x="2945" y="6974"/>
                </a:lnTo>
                <a:lnTo>
                  <a:pt x="2926" y="6937"/>
                </a:lnTo>
                <a:lnTo>
                  <a:pt x="2912" y="6905"/>
                </a:lnTo>
                <a:lnTo>
                  <a:pt x="2907" y="6892"/>
                </a:lnTo>
                <a:lnTo>
                  <a:pt x="2903" y="6882"/>
                </a:lnTo>
                <a:lnTo>
                  <a:pt x="2901" y="6876"/>
                </a:lnTo>
                <a:lnTo>
                  <a:pt x="2901" y="6874"/>
                </a:lnTo>
                <a:lnTo>
                  <a:pt x="2901" y="6849"/>
                </a:lnTo>
                <a:lnTo>
                  <a:pt x="2898" y="6828"/>
                </a:lnTo>
                <a:lnTo>
                  <a:pt x="2894" y="6808"/>
                </a:lnTo>
                <a:lnTo>
                  <a:pt x="2888" y="6789"/>
                </a:lnTo>
                <a:lnTo>
                  <a:pt x="2885" y="6780"/>
                </a:lnTo>
                <a:lnTo>
                  <a:pt x="2881" y="6772"/>
                </a:lnTo>
                <a:lnTo>
                  <a:pt x="2877" y="6764"/>
                </a:lnTo>
                <a:lnTo>
                  <a:pt x="2872" y="6756"/>
                </a:lnTo>
                <a:lnTo>
                  <a:pt x="2867" y="6749"/>
                </a:lnTo>
                <a:lnTo>
                  <a:pt x="2861" y="6742"/>
                </a:lnTo>
                <a:lnTo>
                  <a:pt x="2855" y="6735"/>
                </a:lnTo>
                <a:lnTo>
                  <a:pt x="2849" y="6729"/>
                </a:lnTo>
                <a:lnTo>
                  <a:pt x="2842" y="6723"/>
                </a:lnTo>
                <a:lnTo>
                  <a:pt x="2834" y="6718"/>
                </a:lnTo>
                <a:lnTo>
                  <a:pt x="2826" y="6713"/>
                </a:lnTo>
                <a:lnTo>
                  <a:pt x="2818" y="6708"/>
                </a:lnTo>
                <a:lnTo>
                  <a:pt x="2801" y="6700"/>
                </a:lnTo>
                <a:lnTo>
                  <a:pt x="2782" y="6694"/>
                </a:lnTo>
                <a:lnTo>
                  <a:pt x="2762" y="6689"/>
                </a:lnTo>
                <a:lnTo>
                  <a:pt x="2740" y="6685"/>
                </a:lnTo>
                <a:lnTo>
                  <a:pt x="2716" y="6683"/>
                </a:lnTo>
                <a:lnTo>
                  <a:pt x="2689" y="6682"/>
                </a:lnTo>
                <a:lnTo>
                  <a:pt x="2682" y="6671"/>
                </a:lnTo>
                <a:lnTo>
                  <a:pt x="2667" y="6649"/>
                </a:lnTo>
                <a:lnTo>
                  <a:pt x="2647" y="6620"/>
                </a:lnTo>
                <a:lnTo>
                  <a:pt x="2625" y="6587"/>
                </a:lnTo>
                <a:lnTo>
                  <a:pt x="2602" y="6556"/>
                </a:lnTo>
                <a:lnTo>
                  <a:pt x="2582" y="6529"/>
                </a:lnTo>
                <a:lnTo>
                  <a:pt x="2568" y="6510"/>
                </a:lnTo>
                <a:lnTo>
                  <a:pt x="2562" y="6503"/>
                </a:lnTo>
                <a:lnTo>
                  <a:pt x="2561" y="6492"/>
                </a:lnTo>
                <a:lnTo>
                  <a:pt x="2558" y="6478"/>
                </a:lnTo>
                <a:lnTo>
                  <a:pt x="2553" y="6462"/>
                </a:lnTo>
                <a:lnTo>
                  <a:pt x="2547" y="6446"/>
                </a:lnTo>
                <a:lnTo>
                  <a:pt x="2539" y="6428"/>
                </a:lnTo>
                <a:lnTo>
                  <a:pt x="2529" y="6409"/>
                </a:lnTo>
                <a:lnTo>
                  <a:pt x="2519" y="6390"/>
                </a:lnTo>
                <a:lnTo>
                  <a:pt x="2508" y="6371"/>
                </a:lnTo>
                <a:lnTo>
                  <a:pt x="2497" y="6352"/>
                </a:lnTo>
                <a:lnTo>
                  <a:pt x="2485" y="6333"/>
                </a:lnTo>
                <a:lnTo>
                  <a:pt x="2473" y="6316"/>
                </a:lnTo>
                <a:lnTo>
                  <a:pt x="2460" y="6301"/>
                </a:lnTo>
                <a:lnTo>
                  <a:pt x="2447" y="6287"/>
                </a:lnTo>
                <a:lnTo>
                  <a:pt x="2436" y="6275"/>
                </a:lnTo>
                <a:lnTo>
                  <a:pt x="2425" y="6266"/>
                </a:lnTo>
                <a:lnTo>
                  <a:pt x="2414" y="6259"/>
                </a:lnTo>
                <a:lnTo>
                  <a:pt x="2414" y="6239"/>
                </a:lnTo>
                <a:lnTo>
                  <a:pt x="2412" y="6216"/>
                </a:lnTo>
                <a:lnTo>
                  <a:pt x="2409" y="6195"/>
                </a:lnTo>
                <a:lnTo>
                  <a:pt x="2406" y="6173"/>
                </a:lnTo>
                <a:lnTo>
                  <a:pt x="2398" y="6128"/>
                </a:lnTo>
                <a:lnTo>
                  <a:pt x="2389" y="6081"/>
                </a:lnTo>
                <a:lnTo>
                  <a:pt x="2385" y="6058"/>
                </a:lnTo>
                <a:lnTo>
                  <a:pt x="2382" y="6035"/>
                </a:lnTo>
                <a:lnTo>
                  <a:pt x="2379" y="6012"/>
                </a:lnTo>
                <a:lnTo>
                  <a:pt x="2377" y="5989"/>
                </a:lnTo>
                <a:lnTo>
                  <a:pt x="2377" y="5965"/>
                </a:lnTo>
                <a:lnTo>
                  <a:pt x="2377" y="5943"/>
                </a:lnTo>
                <a:lnTo>
                  <a:pt x="2379" y="5921"/>
                </a:lnTo>
                <a:lnTo>
                  <a:pt x="2383" y="5899"/>
                </a:lnTo>
                <a:lnTo>
                  <a:pt x="2383" y="5862"/>
                </a:lnTo>
                <a:lnTo>
                  <a:pt x="2383" y="5822"/>
                </a:lnTo>
                <a:lnTo>
                  <a:pt x="2382" y="5783"/>
                </a:lnTo>
                <a:lnTo>
                  <a:pt x="2380" y="5744"/>
                </a:lnTo>
                <a:lnTo>
                  <a:pt x="2377" y="5703"/>
                </a:lnTo>
                <a:lnTo>
                  <a:pt x="2373" y="5663"/>
                </a:lnTo>
                <a:lnTo>
                  <a:pt x="2367" y="5623"/>
                </a:lnTo>
                <a:lnTo>
                  <a:pt x="2359" y="5582"/>
                </a:lnTo>
                <a:lnTo>
                  <a:pt x="2354" y="5563"/>
                </a:lnTo>
                <a:lnTo>
                  <a:pt x="2349" y="5543"/>
                </a:lnTo>
                <a:lnTo>
                  <a:pt x="2343" y="5524"/>
                </a:lnTo>
                <a:lnTo>
                  <a:pt x="2337" y="5505"/>
                </a:lnTo>
                <a:lnTo>
                  <a:pt x="2329" y="5486"/>
                </a:lnTo>
                <a:lnTo>
                  <a:pt x="2321" y="5467"/>
                </a:lnTo>
                <a:lnTo>
                  <a:pt x="2313" y="5449"/>
                </a:lnTo>
                <a:lnTo>
                  <a:pt x="2303" y="5431"/>
                </a:lnTo>
                <a:lnTo>
                  <a:pt x="2293" y="5413"/>
                </a:lnTo>
                <a:lnTo>
                  <a:pt x="2283" y="5396"/>
                </a:lnTo>
                <a:lnTo>
                  <a:pt x="2271" y="5379"/>
                </a:lnTo>
                <a:lnTo>
                  <a:pt x="2258" y="5363"/>
                </a:lnTo>
                <a:lnTo>
                  <a:pt x="2245" y="5346"/>
                </a:lnTo>
                <a:lnTo>
                  <a:pt x="2231" y="5331"/>
                </a:lnTo>
                <a:lnTo>
                  <a:pt x="2215" y="5316"/>
                </a:lnTo>
                <a:lnTo>
                  <a:pt x="2198" y="5302"/>
                </a:lnTo>
                <a:lnTo>
                  <a:pt x="2232" y="5232"/>
                </a:lnTo>
                <a:lnTo>
                  <a:pt x="2267" y="5162"/>
                </a:lnTo>
                <a:lnTo>
                  <a:pt x="2302" y="5092"/>
                </a:lnTo>
                <a:lnTo>
                  <a:pt x="2339" y="5024"/>
                </a:lnTo>
                <a:lnTo>
                  <a:pt x="2375" y="4955"/>
                </a:lnTo>
                <a:lnTo>
                  <a:pt x="2413" y="4888"/>
                </a:lnTo>
                <a:lnTo>
                  <a:pt x="2451" y="4820"/>
                </a:lnTo>
                <a:lnTo>
                  <a:pt x="2491" y="4754"/>
                </a:lnTo>
                <a:lnTo>
                  <a:pt x="2530" y="4688"/>
                </a:lnTo>
                <a:lnTo>
                  <a:pt x="2571" y="4622"/>
                </a:lnTo>
                <a:lnTo>
                  <a:pt x="2613" y="4557"/>
                </a:lnTo>
                <a:lnTo>
                  <a:pt x="2655" y="4492"/>
                </a:lnTo>
                <a:lnTo>
                  <a:pt x="2698" y="4428"/>
                </a:lnTo>
                <a:lnTo>
                  <a:pt x="2742" y="4365"/>
                </a:lnTo>
                <a:lnTo>
                  <a:pt x="2786" y="4301"/>
                </a:lnTo>
                <a:lnTo>
                  <a:pt x="2831" y="4239"/>
                </a:lnTo>
                <a:lnTo>
                  <a:pt x="2878" y="4177"/>
                </a:lnTo>
                <a:lnTo>
                  <a:pt x="2924" y="4116"/>
                </a:lnTo>
                <a:lnTo>
                  <a:pt x="2972" y="4055"/>
                </a:lnTo>
                <a:lnTo>
                  <a:pt x="3020" y="3995"/>
                </a:lnTo>
                <a:lnTo>
                  <a:pt x="3069" y="3935"/>
                </a:lnTo>
                <a:lnTo>
                  <a:pt x="3119" y="3876"/>
                </a:lnTo>
                <a:lnTo>
                  <a:pt x="3169" y="3817"/>
                </a:lnTo>
                <a:lnTo>
                  <a:pt x="3220" y="3760"/>
                </a:lnTo>
                <a:lnTo>
                  <a:pt x="3271" y="3702"/>
                </a:lnTo>
                <a:lnTo>
                  <a:pt x="3323" y="3646"/>
                </a:lnTo>
                <a:lnTo>
                  <a:pt x="3376" y="3589"/>
                </a:lnTo>
                <a:lnTo>
                  <a:pt x="3429" y="3534"/>
                </a:lnTo>
                <a:lnTo>
                  <a:pt x="3484" y="3480"/>
                </a:lnTo>
                <a:lnTo>
                  <a:pt x="3539" y="3425"/>
                </a:lnTo>
                <a:lnTo>
                  <a:pt x="3594" y="3372"/>
                </a:lnTo>
                <a:lnTo>
                  <a:pt x="3650" y="3319"/>
                </a:lnTo>
                <a:close/>
                <a:moveTo>
                  <a:pt x="6848" y="5635"/>
                </a:moveTo>
                <a:lnTo>
                  <a:pt x="6848" y="5645"/>
                </a:lnTo>
                <a:lnTo>
                  <a:pt x="6847" y="5654"/>
                </a:lnTo>
                <a:lnTo>
                  <a:pt x="6846" y="5662"/>
                </a:lnTo>
                <a:lnTo>
                  <a:pt x="6844" y="5669"/>
                </a:lnTo>
                <a:lnTo>
                  <a:pt x="6841" y="5676"/>
                </a:lnTo>
                <a:lnTo>
                  <a:pt x="6837" y="5682"/>
                </a:lnTo>
                <a:lnTo>
                  <a:pt x="6833" y="5687"/>
                </a:lnTo>
                <a:lnTo>
                  <a:pt x="6828" y="5691"/>
                </a:lnTo>
                <a:lnTo>
                  <a:pt x="6823" y="5695"/>
                </a:lnTo>
                <a:lnTo>
                  <a:pt x="6817" y="5698"/>
                </a:lnTo>
                <a:lnTo>
                  <a:pt x="6810" y="5701"/>
                </a:lnTo>
                <a:lnTo>
                  <a:pt x="6802" y="5703"/>
                </a:lnTo>
                <a:lnTo>
                  <a:pt x="6785" y="5707"/>
                </a:lnTo>
                <a:lnTo>
                  <a:pt x="6765" y="5709"/>
                </a:lnTo>
                <a:lnTo>
                  <a:pt x="6767" y="5700"/>
                </a:lnTo>
                <a:lnTo>
                  <a:pt x="6770" y="5692"/>
                </a:lnTo>
                <a:lnTo>
                  <a:pt x="6773" y="5685"/>
                </a:lnTo>
                <a:lnTo>
                  <a:pt x="6776" y="5680"/>
                </a:lnTo>
                <a:lnTo>
                  <a:pt x="6779" y="5675"/>
                </a:lnTo>
                <a:lnTo>
                  <a:pt x="6783" y="5671"/>
                </a:lnTo>
                <a:lnTo>
                  <a:pt x="6787" y="5667"/>
                </a:lnTo>
                <a:lnTo>
                  <a:pt x="6791" y="5664"/>
                </a:lnTo>
                <a:lnTo>
                  <a:pt x="6815" y="5653"/>
                </a:lnTo>
                <a:lnTo>
                  <a:pt x="6848" y="5635"/>
                </a:lnTo>
                <a:close/>
                <a:moveTo>
                  <a:pt x="6511" y="8090"/>
                </a:moveTo>
                <a:lnTo>
                  <a:pt x="6485" y="8093"/>
                </a:lnTo>
                <a:lnTo>
                  <a:pt x="6464" y="8097"/>
                </a:lnTo>
                <a:lnTo>
                  <a:pt x="6460" y="8097"/>
                </a:lnTo>
                <a:lnTo>
                  <a:pt x="6456" y="8095"/>
                </a:lnTo>
                <a:lnTo>
                  <a:pt x="6454" y="8093"/>
                </a:lnTo>
                <a:lnTo>
                  <a:pt x="6452" y="8089"/>
                </a:lnTo>
                <a:lnTo>
                  <a:pt x="6451" y="8084"/>
                </a:lnTo>
                <a:lnTo>
                  <a:pt x="6452" y="8077"/>
                </a:lnTo>
                <a:lnTo>
                  <a:pt x="6454" y="8069"/>
                </a:lnTo>
                <a:lnTo>
                  <a:pt x="6457" y="8058"/>
                </a:lnTo>
                <a:lnTo>
                  <a:pt x="6466" y="8059"/>
                </a:lnTo>
                <a:lnTo>
                  <a:pt x="6475" y="8060"/>
                </a:lnTo>
                <a:lnTo>
                  <a:pt x="6484" y="8062"/>
                </a:lnTo>
                <a:lnTo>
                  <a:pt x="6493" y="8066"/>
                </a:lnTo>
                <a:lnTo>
                  <a:pt x="6500" y="8070"/>
                </a:lnTo>
                <a:lnTo>
                  <a:pt x="6506" y="8075"/>
                </a:lnTo>
                <a:lnTo>
                  <a:pt x="6508" y="8079"/>
                </a:lnTo>
                <a:lnTo>
                  <a:pt x="6510" y="8082"/>
                </a:lnTo>
                <a:lnTo>
                  <a:pt x="6510" y="8086"/>
                </a:lnTo>
                <a:lnTo>
                  <a:pt x="6511" y="8090"/>
                </a:lnTo>
                <a:close/>
                <a:moveTo>
                  <a:pt x="6055" y="8080"/>
                </a:moveTo>
                <a:lnTo>
                  <a:pt x="6053" y="8083"/>
                </a:lnTo>
                <a:lnTo>
                  <a:pt x="6051" y="8085"/>
                </a:lnTo>
                <a:lnTo>
                  <a:pt x="6047" y="8088"/>
                </a:lnTo>
                <a:lnTo>
                  <a:pt x="6043" y="8090"/>
                </a:lnTo>
                <a:lnTo>
                  <a:pt x="6034" y="8094"/>
                </a:lnTo>
                <a:lnTo>
                  <a:pt x="6023" y="8097"/>
                </a:lnTo>
                <a:lnTo>
                  <a:pt x="6010" y="8100"/>
                </a:lnTo>
                <a:lnTo>
                  <a:pt x="5996" y="8101"/>
                </a:lnTo>
                <a:lnTo>
                  <a:pt x="5981" y="8101"/>
                </a:lnTo>
                <a:lnTo>
                  <a:pt x="5966" y="8101"/>
                </a:lnTo>
                <a:lnTo>
                  <a:pt x="5951" y="8100"/>
                </a:lnTo>
                <a:lnTo>
                  <a:pt x="5936" y="8098"/>
                </a:lnTo>
                <a:lnTo>
                  <a:pt x="5922" y="8095"/>
                </a:lnTo>
                <a:lnTo>
                  <a:pt x="5909" y="8091"/>
                </a:lnTo>
                <a:lnTo>
                  <a:pt x="5898" y="8087"/>
                </a:lnTo>
                <a:lnTo>
                  <a:pt x="5888" y="8082"/>
                </a:lnTo>
                <a:lnTo>
                  <a:pt x="5884" y="8079"/>
                </a:lnTo>
                <a:lnTo>
                  <a:pt x="5881" y="8075"/>
                </a:lnTo>
                <a:lnTo>
                  <a:pt x="5878" y="8072"/>
                </a:lnTo>
                <a:lnTo>
                  <a:pt x="5876" y="8069"/>
                </a:lnTo>
                <a:lnTo>
                  <a:pt x="5895" y="8069"/>
                </a:lnTo>
                <a:lnTo>
                  <a:pt x="5913" y="8072"/>
                </a:lnTo>
                <a:lnTo>
                  <a:pt x="5931" y="8074"/>
                </a:lnTo>
                <a:lnTo>
                  <a:pt x="5949" y="8077"/>
                </a:lnTo>
                <a:lnTo>
                  <a:pt x="5966" y="8078"/>
                </a:lnTo>
                <a:lnTo>
                  <a:pt x="5984" y="8078"/>
                </a:lnTo>
                <a:lnTo>
                  <a:pt x="5994" y="8077"/>
                </a:lnTo>
                <a:lnTo>
                  <a:pt x="6004" y="8075"/>
                </a:lnTo>
                <a:lnTo>
                  <a:pt x="6014" y="8072"/>
                </a:lnTo>
                <a:lnTo>
                  <a:pt x="6024" y="8069"/>
                </a:lnTo>
                <a:lnTo>
                  <a:pt x="6022" y="8058"/>
                </a:lnTo>
                <a:lnTo>
                  <a:pt x="6019" y="8048"/>
                </a:lnTo>
                <a:lnTo>
                  <a:pt x="6015" y="8038"/>
                </a:lnTo>
                <a:lnTo>
                  <a:pt x="6009" y="8028"/>
                </a:lnTo>
                <a:lnTo>
                  <a:pt x="5996" y="8007"/>
                </a:lnTo>
                <a:lnTo>
                  <a:pt x="5981" y="7984"/>
                </a:lnTo>
                <a:lnTo>
                  <a:pt x="5992" y="7984"/>
                </a:lnTo>
                <a:lnTo>
                  <a:pt x="6003" y="7986"/>
                </a:lnTo>
                <a:lnTo>
                  <a:pt x="6015" y="7988"/>
                </a:lnTo>
                <a:lnTo>
                  <a:pt x="6026" y="7991"/>
                </a:lnTo>
                <a:lnTo>
                  <a:pt x="6049" y="7998"/>
                </a:lnTo>
                <a:lnTo>
                  <a:pt x="6074" y="8006"/>
                </a:lnTo>
                <a:lnTo>
                  <a:pt x="6099" y="8014"/>
                </a:lnTo>
                <a:lnTo>
                  <a:pt x="6126" y="8021"/>
                </a:lnTo>
                <a:lnTo>
                  <a:pt x="6140" y="8024"/>
                </a:lnTo>
                <a:lnTo>
                  <a:pt x="6153" y="8026"/>
                </a:lnTo>
                <a:lnTo>
                  <a:pt x="6168" y="8027"/>
                </a:lnTo>
                <a:lnTo>
                  <a:pt x="6182" y="8027"/>
                </a:lnTo>
                <a:lnTo>
                  <a:pt x="6182" y="8019"/>
                </a:lnTo>
                <a:lnTo>
                  <a:pt x="6181" y="8013"/>
                </a:lnTo>
                <a:lnTo>
                  <a:pt x="6180" y="8009"/>
                </a:lnTo>
                <a:lnTo>
                  <a:pt x="6179" y="8007"/>
                </a:lnTo>
                <a:lnTo>
                  <a:pt x="6176" y="8006"/>
                </a:lnTo>
                <a:lnTo>
                  <a:pt x="6174" y="8006"/>
                </a:lnTo>
                <a:lnTo>
                  <a:pt x="6173" y="8006"/>
                </a:lnTo>
                <a:lnTo>
                  <a:pt x="6173" y="8005"/>
                </a:lnTo>
                <a:lnTo>
                  <a:pt x="6173" y="8002"/>
                </a:lnTo>
                <a:lnTo>
                  <a:pt x="6176" y="7992"/>
                </a:lnTo>
                <a:lnTo>
                  <a:pt x="6182" y="7973"/>
                </a:lnTo>
                <a:lnTo>
                  <a:pt x="6189" y="7976"/>
                </a:lnTo>
                <a:lnTo>
                  <a:pt x="6196" y="7979"/>
                </a:lnTo>
                <a:lnTo>
                  <a:pt x="6205" y="7984"/>
                </a:lnTo>
                <a:lnTo>
                  <a:pt x="6213" y="7990"/>
                </a:lnTo>
                <a:lnTo>
                  <a:pt x="6232" y="8006"/>
                </a:lnTo>
                <a:lnTo>
                  <a:pt x="6252" y="8023"/>
                </a:lnTo>
                <a:lnTo>
                  <a:pt x="6269" y="8041"/>
                </a:lnTo>
                <a:lnTo>
                  <a:pt x="6284" y="8059"/>
                </a:lnTo>
                <a:lnTo>
                  <a:pt x="6289" y="8068"/>
                </a:lnTo>
                <a:lnTo>
                  <a:pt x="6294" y="8076"/>
                </a:lnTo>
                <a:lnTo>
                  <a:pt x="6297" y="8083"/>
                </a:lnTo>
                <a:lnTo>
                  <a:pt x="6299" y="8090"/>
                </a:lnTo>
                <a:lnTo>
                  <a:pt x="6260" y="8086"/>
                </a:lnTo>
                <a:lnTo>
                  <a:pt x="6228" y="8083"/>
                </a:lnTo>
                <a:lnTo>
                  <a:pt x="6203" y="8081"/>
                </a:lnTo>
                <a:lnTo>
                  <a:pt x="6179" y="8080"/>
                </a:lnTo>
                <a:lnTo>
                  <a:pt x="6155" y="8080"/>
                </a:lnTo>
                <a:lnTo>
                  <a:pt x="6129" y="8079"/>
                </a:lnTo>
                <a:lnTo>
                  <a:pt x="6096" y="8080"/>
                </a:lnTo>
                <a:lnTo>
                  <a:pt x="6055" y="8080"/>
                </a:lnTo>
                <a:close/>
                <a:moveTo>
                  <a:pt x="6140" y="8577"/>
                </a:moveTo>
                <a:lnTo>
                  <a:pt x="6137" y="8586"/>
                </a:lnTo>
                <a:lnTo>
                  <a:pt x="6135" y="8594"/>
                </a:lnTo>
                <a:lnTo>
                  <a:pt x="6132" y="8600"/>
                </a:lnTo>
                <a:lnTo>
                  <a:pt x="6129" y="8603"/>
                </a:lnTo>
                <a:lnTo>
                  <a:pt x="6125" y="8606"/>
                </a:lnTo>
                <a:lnTo>
                  <a:pt x="6118" y="8607"/>
                </a:lnTo>
                <a:lnTo>
                  <a:pt x="6109" y="8608"/>
                </a:lnTo>
                <a:lnTo>
                  <a:pt x="6097" y="8608"/>
                </a:lnTo>
                <a:lnTo>
                  <a:pt x="6100" y="8598"/>
                </a:lnTo>
                <a:lnTo>
                  <a:pt x="6102" y="8587"/>
                </a:lnTo>
                <a:lnTo>
                  <a:pt x="6105" y="8577"/>
                </a:lnTo>
                <a:lnTo>
                  <a:pt x="6107" y="8566"/>
                </a:lnTo>
                <a:lnTo>
                  <a:pt x="6116" y="8569"/>
                </a:lnTo>
                <a:lnTo>
                  <a:pt x="6124" y="8571"/>
                </a:lnTo>
                <a:lnTo>
                  <a:pt x="6132" y="8574"/>
                </a:lnTo>
                <a:lnTo>
                  <a:pt x="6140" y="8577"/>
                </a:lnTo>
                <a:close/>
                <a:moveTo>
                  <a:pt x="5589" y="7826"/>
                </a:moveTo>
                <a:lnTo>
                  <a:pt x="5579" y="7825"/>
                </a:lnTo>
                <a:lnTo>
                  <a:pt x="5567" y="7823"/>
                </a:lnTo>
                <a:lnTo>
                  <a:pt x="5555" y="7821"/>
                </a:lnTo>
                <a:lnTo>
                  <a:pt x="5542" y="7817"/>
                </a:lnTo>
                <a:lnTo>
                  <a:pt x="5528" y="7813"/>
                </a:lnTo>
                <a:lnTo>
                  <a:pt x="5514" y="7808"/>
                </a:lnTo>
                <a:lnTo>
                  <a:pt x="5500" y="7802"/>
                </a:lnTo>
                <a:lnTo>
                  <a:pt x="5487" y="7796"/>
                </a:lnTo>
                <a:lnTo>
                  <a:pt x="5472" y="7789"/>
                </a:lnTo>
                <a:lnTo>
                  <a:pt x="5459" y="7782"/>
                </a:lnTo>
                <a:lnTo>
                  <a:pt x="5446" y="7774"/>
                </a:lnTo>
                <a:lnTo>
                  <a:pt x="5435" y="7766"/>
                </a:lnTo>
                <a:lnTo>
                  <a:pt x="5424" y="7757"/>
                </a:lnTo>
                <a:lnTo>
                  <a:pt x="5414" y="7748"/>
                </a:lnTo>
                <a:lnTo>
                  <a:pt x="5406" y="7739"/>
                </a:lnTo>
                <a:lnTo>
                  <a:pt x="5399" y="7730"/>
                </a:lnTo>
                <a:lnTo>
                  <a:pt x="5438" y="7734"/>
                </a:lnTo>
                <a:lnTo>
                  <a:pt x="5475" y="7736"/>
                </a:lnTo>
                <a:lnTo>
                  <a:pt x="5484" y="7735"/>
                </a:lnTo>
                <a:lnTo>
                  <a:pt x="5493" y="7733"/>
                </a:lnTo>
                <a:lnTo>
                  <a:pt x="5501" y="7731"/>
                </a:lnTo>
                <a:lnTo>
                  <a:pt x="5509" y="7727"/>
                </a:lnTo>
                <a:lnTo>
                  <a:pt x="5516" y="7722"/>
                </a:lnTo>
                <a:lnTo>
                  <a:pt x="5524" y="7716"/>
                </a:lnTo>
                <a:lnTo>
                  <a:pt x="5530" y="7708"/>
                </a:lnTo>
                <a:lnTo>
                  <a:pt x="5537" y="7698"/>
                </a:lnTo>
                <a:lnTo>
                  <a:pt x="5549" y="7700"/>
                </a:lnTo>
                <a:lnTo>
                  <a:pt x="5560" y="7702"/>
                </a:lnTo>
                <a:lnTo>
                  <a:pt x="5571" y="7704"/>
                </a:lnTo>
                <a:lnTo>
                  <a:pt x="5581" y="7707"/>
                </a:lnTo>
                <a:lnTo>
                  <a:pt x="5600" y="7713"/>
                </a:lnTo>
                <a:lnTo>
                  <a:pt x="5618" y="7720"/>
                </a:lnTo>
                <a:lnTo>
                  <a:pt x="5633" y="7729"/>
                </a:lnTo>
                <a:lnTo>
                  <a:pt x="5648" y="7738"/>
                </a:lnTo>
                <a:lnTo>
                  <a:pt x="5661" y="7747"/>
                </a:lnTo>
                <a:lnTo>
                  <a:pt x="5673" y="7757"/>
                </a:lnTo>
                <a:lnTo>
                  <a:pt x="5686" y="7766"/>
                </a:lnTo>
                <a:lnTo>
                  <a:pt x="5698" y="7775"/>
                </a:lnTo>
                <a:lnTo>
                  <a:pt x="5711" y="7783"/>
                </a:lnTo>
                <a:lnTo>
                  <a:pt x="5724" y="7790"/>
                </a:lnTo>
                <a:lnTo>
                  <a:pt x="5739" y="7796"/>
                </a:lnTo>
                <a:lnTo>
                  <a:pt x="5754" y="7801"/>
                </a:lnTo>
                <a:lnTo>
                  <a:pt x="5763" y="7802"/>
                </a:lnTo>
                <a:lnTo>
                  <a:pt x="5772" y="7804"/>
                </a:lnTo>
                <a:lnTo>
                  <a:pt x="5781" y="7804"/>
                </a:lnTo>
                <a:lnTo>
                  <a:pt x="5791" y="7805"/>
                </a:lnTo>
                <a:lnTo>
                  <a:pt x="5795" y="7812"/>
                </a:lnTo>
                <a:lnTo>
                  <a:pt x="5802" y="7820"/>
                </a:lnTo>
                <a:lnTo>
                  <a:pt x="5810" y="7829"/>
                </a:lnTo>
                <a:lnTo>
                  <a:pt x="5818" y="7838"/>
                </a:lnTo>
                <a:lnTo>
                  <a:pt x="5836" y="7858"/>
                </a:lnTo>
                <a:lnTo>
                  <a:pt x="5852" y="7879"/>
                </a:lnTo>
                <a:lnTo>
                  <a:pt x="5857" y="7888"/>
                </a:lnTo>
                <a:lnTo>
                  <a:pt x="5862" y="7898"/>
                </a:lnTo>
                <a:lnTo>
                  <a:pt x="5863" y="7902"/>
                </a:lnTo>
                <a:lnTo>
                  <a:pt x="5863" y="7906"/>
                </a:lnTo>
                <a:lnTo>
                  <a:pt x="5863" y="7910"/>
                </a:lnTo>
                <a:lnTo>
                  <a:pt x="5861" y="7914"/>
                </a:lnTo>
                <a:lnTo>
                  <a:pt x="5858" y="7917"/>
                </a:lnTo>
                <a:lnTo>
                  <a:pt x="5855" y="7921"/>
                </a:lnTo>
                <a:lnTo>
                  <a:pt x="5851" y="7924"/>
                </a:lnTo>
                <a:lnTo>
                  <a:pt x="5846" y="7926"/>
                </a:lnTo>
                <a:lnTo>
                  <a:pt x="5840" y="7929"/>
                </a:lnTo>
                <a:lnTo>
                  <a:pt x="5833" y="7930"/>
                </a:lnTo>
                <a:lnTo>
                  <a:pt x="5824" y="7932"/>
                </a:lnTo>
                <a:lnTo>
                  <a:pt x="5815" y="7933"/>
                </a:lnTo>
                <a:lnTo>
                  <a:pt x="5799" y="7934"/>
                </a:lnTo>
                <a:lnTo>
                  <a:pt x="5783" y="7934"/>
                </a:lnTo>
                <a:lnTo>
                  <a:pt x="5766" y="7932"/>
                </a:lnTo>
                <a:lnTo>
                  <a:pt x="5750" y="7930"/>
                </a:lnTo>
                <a:lnTo>
                  <a:pt x="5732" y="7926"/>
                </a:lnTo>
                <a:lnTo>
                  <a:pt x="5716" y="7921"/>
                </a:lnTo>
                <a:lnTo>
                  <a:pt x="5699" y="7916"/>
                </a:lnTo>
                <a:lnTo>
                  <a:pt x="5684" y="7909"/>
                </a:lnTo>
                <a:lnTo>
                  <a:pt x="5669" y="7901"/>
                </a:lnTo>
                <a:lnTo>
                  <a:pt x="5654" y="7893"/>
                </a:lnTo>
                <a:lnTo>
                  <a:pt x="5641" y="7884"/>
                </a:lnTo>
                <a:lnTo>
                  <a:pt x="5628" y="7873"/>
                </a:lnTo>
                <a:lnTo>
                  <a:pt x="5617" y="7862"/>
                </a:lnTo>
                <a:lnTo>
                  <a:pt x="5605" y="7850"/>
                </a:lnTo>
                <a:lnTo>
                  <a:pt x="5597" y="7838"/>
                </a:lnTo>
                <a:lnTo>
                  <a:pt x="5589" y="7826"/>
                </a:lnTo>
                <a:close/>
                <a:moveTo>
                  <a:pt x="5749" y="8111"/>
                </a:moveTo>
                <a:lnTo>
                  <a:pt x="5732" y="8114"/>
                </a:lnTo>
                <a:lnTo>
                  <a:pt x="5716" y="8116"/>
                </a:lnTo>
                <a:lnTo>
                  <a:pt x="5700" y="8119"/>
                </a:lnTo>
                <a:lnTo>
                  <a:pt x="5685" y="8121"/>
                </a:lnTo>
                <a:lnTo>
                  <a:pt x="5686" y="8112"/>
                </a:lnTo>
                <a:lnTo>
                  <a:pt x="5689" y="8103"/>
                </a:lnTo>
                <a:lnTo>
                  <a:pt x="5692" y="8094"/>
                </a:lnTo>
                <a:lnTo>
                  <a:pt x="5695" y="8086"/>
                </a:lnTo>
                <a:lnTo>
                  <a:pt x="5700" y="8079"/>
                </a:lnTo>
                <a:lnTo>
                  <a:pt x="5704" y="8072"/>
                </a:lnTo>
                <a:lnTo>
                  <a:pt x="5709" y="8067"/>
                </a:lnTo>
                <a:lnTo>
                  <a:pt x="5714" y="8063"/>
                </a:lnTo>
                <a:lnTo>
                  <a:pt x="5719" y="8061"/>
                </a:lnTo>
                <a:lnTo>
                  <a:pt x="5724" y="8061"/>
                </a:lnTo>
                <a:lnTo>
                  <a:pt x="5727" y="8062"/>
                </a:lnTo>
                <a:lnTo>
                  <a:pt x="5729" y="8063"/>
                </a:lnTo>
                <a:lnTo>
                  <a:pt x="5732" y="8065"/>
                </a:lnTo>
                <a:lnTo>
                  <a:pt x="5735" y="8067"/>
                </a:lnTo>
                <a:lnTo>
                  <a:pt x="5739" y="8074"/>
                </a:lnTo>
                <a:lnTo>
                  <a:pt x="5743" y="8083"/>
                </a:lnTo>
                <a:lnTo>
                  <a:pt x="5746" y="8095"/>
                </a:lnTo>
                <a:lnTo>
                  <a:pt x="5749" y="8111"/>
                </a:lnTo>
                <a:close/>
                <a:moveTo>
                  <a:pt x="5674" y="8121"/>
                </a:moveTo>
                <a:lnTo>
                  <a:pt x="5659" y="8122"/>
                </a:lnTo>
                <a:lnTo>
                  <a:pt x="5642" y="8123"/>
                </a:lnTo>
                <a:lnTo>
                  <a:pt x="5634" y="8123"/>
                </a:lnTo>
                <a:lnTo>
                  <a:pt x="5626" y="8122"/>
                </a:lnTo>
                <a:lnTo>
                  <a:pt x="5619" y="8122"/>
                </a:lnTo>
                <a:lnTo>
                  <a:pt x="5612" y="8120"/>
                </a:lnTo>
                <a:lnTo>
                  <a:pt x="5605" y="8117"/>
                </a:lnTo>
                <a:lnTo>
                  <a:pt x="5600" y="8113"/>
                </a:lnTo>
                <a:lnTo>
                  <a:pt x="5596" y="8108"/>
                </a:lnTo>
                <a:lnTo>
                  <a:pt x="5593" y="8102"/>
                </a:lnTo>
                <a:lnTo>
                  <a:pt x="5592" y="8094"/>
                </a:lnTo>
                <a:lnTo>
                  <a:pt x="5593" y="8084"/>
                </a:lnTo>
                <a:lnTo>
                  <a:pt x="5595" y="8072"/>
                </a:lnTo>
                <a:lnTo>
                  <a:pt x="5600" y="8058"/>
                </a:lnTo>
                <a:lnTo>
                  <a:pt x="5619" y="8061"/>
                </a:lnTo>
                <a:lnTo>
                  <a:pt x="5634" y="8066"/>
                </a:lnTo>
                <a:lnTo>
                  <a:pt x="5641" y="8069"/>
                </a:lnTo>
                <a:lnTo>
                  <a:pt x="5647" y="8072"/>
                </a:lnTo>
                <a:lnTo>
                  <a:pt x="5653" y="8075"/>
                </a:lnTo>
                <a:lnTo>
                  <a:pt x="5658" y="8079"/>
                </a:lnTo>
                <a:lnTo>
                  <a:pt x="5662" y="8083"/>
                </a:lnTo>
                <a:lnTo>
                  <a:pt x="5666" y="8088"/>
                </a:lnTo>
                <a:lnTo>
                  <a:pt x="5669" y="8093"/>
                </a:lnTo>
                <a:lnTo>
                  <a:pt x="5671" y="8098"/>
                </a:lnTo>
                <a:lnTo>
                  <a:pt x="5673" y="8103"/>
                </a:lnTo>
                <a:lnTo>
                  <a:pt x="5674" y="8109"/>
                </a:lnTo>
                <a:lnTo>
                  <a:pt x="5675" y="8115"/>
                </a:lnTo>
                <a:lnTo>
                  <a:pt x="5674" y="8121"/>
                </a:lnTo>
                <a:close/>
                <a:moveTo>
                  <a:pt x="5293" y="7719"/>
                </a:moveTo>
                <a:lnTo>
                  <a:pt x="5293" y="7725"/>
                </a:lnTo>
                <a:lnTo>
                  <a:pt x="5292" y="7730"/>
                </a:lnTo>
                <a:lnTo>
                  <a:pt x="5290" y="7735"/>
                </a:lnTo>
                <a:lnTo>
                  <a:pt x="5287" y="7740"/>
                </a:lnTo>
                <a:lnTo>
                  <a:pt x="5284" y="7744"/>
                </a:lnTo>
                <a:lnTo>
                  <a:pt x="5280" y="7750"/>
                </a:lnTo>
                <a:lnTo>
                  <a:pt x="5276" y="7753"/>
                </a:lnTo>
                <a:lnTo>
                  <a:pt x="5272" y="7757"/>
                </a:lnTo>
                <a:lnTo>
                  <a:pt x="5261" y="7762"/>
                </a:lnTo>
                <a:lnTo>
                  <a:pt x="5250" y="7767"/>
                </a:lnTo>
                <a:lnTo>
                  <a:pt x="5239" y="7769"/>
                </a:lnTo>
                <a:lnTo>
                  <a:pt x="5226" y="7770"/>
                </a:lnTo>
                <a:lnTo>
                  <a:pt x="5220" y="7770"/>
                </a:lnTo>
                <a:lnTo>
                  <a:pt x="5215" y="7769"/>
                </a:lnTo>
                <a:lnTo>
                  <a:pt x="5210" y="7768"/>
                </a:lnTo>
                <a:lnTo>
                  <a:pt x="5204" y="7766"/>
                </a:lnTo>
                <a:lnTo>
                  <a:pt x="5200" y="7763"/>
                </a:lnTo>
                <a:lnTo>
                  <a:pt x="5195" y="7760"/>
                </a:lnTo>
                <a:lnTo>
                  <a:pt x="5192" y="7757"/>
                </a:lnTo>
                <a:lnTo>
                  <a:pt x="5188" y="7753"/>
                </a:lnTo>
                <a:lnTo>
                  <a:pt x="5186" y="7747"/>
                </a:lnTo>
                <a:lnTo>
                  <a:pt x="5183" y="7742"/>
                </a:lnTo>
                <a:lnTo>
                  <a:pt x="5182" y="7737"/>
                </a:lnTo>
                <a:lnTo>
                  <a:pt x="5181" y="7730"/>
                </a:lnTo>
                <a:lnTo>
                  <a:pt x="5181" y="7723"/>
                </a:lnTo>
                <a:lnTo>
                  <a:pt x="5182" y="7716"/>
                </a:lnTo>
                <a:lnTo>
                  <a:pt x="5184" y="7707"/>
                </a:lnTo>
                <a:lnTo>
                  <a:pt x="5187" y="7698"/>
                </a:lnTo>
                <a:lnTo>
                  <a:pt x="5195" y="7701"/>
                </a:lnTo>
                <a:lnTo>
                  <a:pt x="5203" y="7704"/>
                </a:lnTo>
                <a:lnTo>
                  <a:pt x="5211" y="7706"/>
                </a:lnTo>
                <a:lnTo>
                  <a:pt x="5219" y="7709"/>
                </a:lnTo>
                <a:lnTo>
                  <a:pt x="5221" y="7718"/>
                </a:lnTo>
                <a:lnTo>
                  <a:pt x="5224" y="7725"/>
                </a:lnTo>
                <a:lnTo>
                  <a:pt x="5228" y="7730"/>
                </a:lnTo>
                <a:lnTo>
                  <a:pt x="5232" y="7735"/>
                </a:lnTo>
                <a:lnTo>
                  <a:pt x="5236" y="7737"/>
                </a:lnTo>
                <a:lnTo>
                  <a:pt x="5240" y="7739"/>
                </a:lnTo>
                <a:lnTo>
                  <a:pt x="5245" y="7740"/>
                </a:lnTo>
                <a:lnTo>
                  <a:pt x="5250" y="7739"/>
                </a:lnTo>
                <a:lnTo>
                  <a:pt x="5260" y="7737"/>
                </a:lnTo>
                <a:lnTo>
                  <a:pt x="5270" y="7732"/>
                </a:lnTo>
                <a:lnTo>
                  <a:pt x="5281" y="7726"/>
                </a:lnTo>
                <a:lnTo>
                  <a:pt x="5293" y="771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899" tIns="60949" rIns="121899" bIns="60949"/>
          <a:lstStyle/>
          <a:p>
            <a:endParaRPr lang="en-US"/>
          </a:p>
        </p:txBody>
      </p:sp>
      <p:grpSp>
        <p:nvGrpSpPr>
          <p:cNvPr id="18" name="Group 19"/>
          <p:cNvGrpSpPr>
            <a:grpSpLocks/>
          </p:cNvGrpSpPr>
          <p:nvPr userDrawn="1"/>
        </p:nvGrpSpPr>
        <p:grpSpPr bwMode="auto">
          <a:xfrm>
            <a:off x="5060950" y="6519863"/>
            <a:ext cx="387350" cy="357187"/>
            <a:chOff x="3923928" y="3291878"/>
            <a:chExt cx="432000" cy="432000"/>
          </a:xfrm>
        </p:grpSpPr>
        <p:sp>
          <p:nvSpPr>
            <p:cNvPr id="20" name="Oval 19"/>
            <p:cNvSpPr/>
            <p:nvPr userDrawn="1"/>
          </p:nvSpPr>
          <p:spPr>
            <a:xfrm>
              <a:off x="3923928" y="3291878"/>
              <a:ext cx="432000" cy="43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388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2000">
                <a:solidFill>
                  <a:prstClr val="white"/>
                </a:solidFill>
              </a:endParaRPr>
            </a:p>
          </p:txBody>
        </p:sp>
        <p:sp>
          <p:nvSpPr>
            <p:cNvPr id="21" name="Freeform 53"/>
            <p:cNvSpPr>
              <a:spLocks noEditPoints="1"/>
            </p:cNvSpPr>
            <p:nvPr userDrawn="1"/>
          </p:nvSpPr>
          <p:spPr bwMode="auto">
            <a:xfrm>
              <a:off x="4021306" y="3430118"/>
              <a:ext cx="247869" cy="155520"/>
            </a:xfrm>
            <a:custGeom>
              <a:avLst/>
              <a:gdLst>
                <a:gd name="T0" fmla="*/ 16113 w 16156"/>
                <a:gd name="T1" fmla="*/ 10223 h 10920"/>
                <a:gd name="T2" fmla="*/ 16133 w 16156"/>
                <a:gd name="T3" fmla="*/ 10148 h 10920"/>
                <a:gd name="T4" fmla="*/ 16147 w 16156"/>
                <a:gd name="T5" fmla="*/ 10071 h 10920"/>
                <a:gd name="T6" fmla="*/ 16155 w 16156"/>
                <a:gd name="T7" fmla="*/ 9992 h 10920"/>
                <a:gd name="T8" fmla="*/ 16156 w 16156"/>
                <a:gd name="T9" fmla="*/ 969 h 10920"/>
                <a:gd name="T10" fmla="*/ 16152 w 16156"/>
                <a:gd name="T11" fmla="*/ 893 h 10920"/>
                <a:gd name="T12" fmla="*/ 16142 w 16156"/>
                <a:gd name="T13" fmla="*/ 818 h 10920"/>
                <a:gd name="T14" fmla="*/ 16126 w 16156"/>
                <a:gd name="T15" fmla="*/ 746 h 10920"/>
                <a:gd name="T16" fmla="*/ 16106 w 16156"/>
                <a:gd name="T17" fmla="*/ 675 h 10920"/>
                <a:gd name="T18" fmla="*/ 16100 w 16156"/>
                <a:gd name="T19" fmla="*/ 10260 h 10920"/>
                <a:gd name="T20" fmla="*/ 39 w 16156"/>
                <a:gd name="T21" fmla="*/ 711 h 10920"/>
                <a:gd name="T22" fmla="*/ 21 w 16156"/>
                <a:gd name="T23" fmla="*/ 782 h 10920"/>
                <a:gd name="T24" fmla="*/ 8 w 16156"/>
                <a:gd name="T25" fmla="*/ 855 h 10920"/>
                <a:gd name="T26" fmla="*/ 1 w 16156"/>
                <a:gd name="T27" fmla="*/ 930 h 10920"/>
                <a:gd name="T28" fmla="*/ 0 w 16156"/>
                <a:gd name="T29" fmla="*/ 9951 h 10920"/>
                <a:gd name="T30" fmla="*/ 4 w 16156"/>
                <a:gd name="T31" fmla="*/ 10031 h 10920"/>
                <a:gd name="T32" fmla="*/ 15 w 16156"/>
                <a:gd name="T33" fmla="*/ 10110 h 10920"/>
                <a:gd name="T34" fmla="*/ 32 w 16156"/>
                <a:gd name="T35" fmla="*/ 10186 h 10920"/>
                <a:gd name="T36" fmla="*/ 56 w 16156"/>
                <a:gd name="T37" fmla="*/ 10260 h 10920"/>
                <a:gd name="T38" fmla="*/ 50 w 16156"/>
                <a:gd name="T39" fmla="*/ 675 h 10920"/>
                <a:gd name="T40" fmla="*/ 15222 w 16156"/>
                <a:gd name="T41" fmla="*/ 10919 h 10920"/>
                <a:gd name="T42" fmla="*/ 15289 w 16156"/>
                <a:gd name="T43" fmla="*/ 10913 h 10920"/>
                <a:gd name="T44" fmla="*/ 15354 w 16156"/>
                <a:gd name="T45" fmla="*/ 10903 h 10920"/>
                <a:gd name="T46" fmla="*/ 15418 w 16156"/>
                <a:gd name="T47" fmla="*/ 10888 h 10920"/>
                <a:gd name="T48" fmla="*/ 10133 w 16156"/>
                <a:gd name="T49" fmla="*/ 5765 h 10920"/>
                <a:gd name="T50" fmla="*/ 6026 w 16156"/>
                <a:gd name="T51" fmla="*/ 5768 h 10920"/>
                <a:gd name="T52" fmla="*/ 738 w 16156"/>
                <a:gd name="T53" fmla="*/ 10888 h 10920"/>
                <a:gd name="T54" fmla="*/ 802 w 16156"/>
                <a:gd name="T55" fmla="*/ 10903 h 10920"/>
                <a:gd name="T56" fmla="*/ 867 w 16156"/>
                <a:gd name="T57" fmla="*/ 10913 h 10920"/>
                <a:gd name="T58" fmla="*/ 934 w 16156"/>
                <a:gd name="T59" fmla="*/ 10919 h 10920"/>
                <a:gd name="T60" fmla="*/ 15189 w 16156"/>
                <a:gd name="T61" fmla="*/ 10920 h 10920"/>
                <a:gd name="T62" fmla="*/ 9465 w 16156"/>
                <a:gd name="T63" fmla="*/ 5153 h 10920"/>
                <a:gd name="T64" fmla="*/ 15460 w 16156"/>
                <a:gd name="T65" fmla="*/ 44 h 10920"/>
                <a:gd name="T66" fmla="*/ 15395 w 16156"/>
                <a:gd name="T67" fmla="*/ 26 h 10920"/>
                <a:gd name="T68" fmla="*/ 15327 w 16156"/>
                <a:gd name="T69" fmla="*/ 12 h 10920"/>
                <a:gd name="T70" fmla="*/ 15258 w 16156"/>
                <a:gd name="T71" fmla="*/ 3 h 10920"/>
                <a:gd name="T72" fmla="*/ 15189 w 16156"/>
                <a:gd name="T73" fmla="*/ 0 h 10920"/>
                <a:gd name="T74" fmla="*/ 932 w 16156"/>
                <a:gd name="T75" fmla="*/ 1 h 10920"/>
                <a:gd name="T76" fmla="*/ 862 w 16156"/>
                <a:gd name="T77" fmla="*/ 7 h 10920"/>
                <a:gd name="T78" fmla="*/ 795 w 16156"/>
                <a:gd name="T79" fmla="*/ 19 h 10920"/>
                <a:gd name="T80" fmla="*/ 728 w 16156"/>
                <a:gd name="T81" fmla="*/ 34 h 10920"/>
                <a:gd name="T82" fmla="*/ 5991 w 16156"/>
                <a:gd name="T83" fmla="*/ 4582 h 10920"/>
                <a:gd name="T84" fmla="*/ 8078 w 16156"/>
                <a:gd name="T85" fmla="*/ 6283 h 10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156" h="10920">
                  <a:moveTo>
                    <a:pt x="16100" y="10260"/>
                  </a:moveTo>
                  <a:lnTo>
                    <a:pt x="16113" y="10223"/>
                  </a:lnTo>
                  <a:lnTo>
                    <a:pt x="16124" y="10186"/>
                  </a:lnTo>
                  <a:lnTo>
                    <a:pt x="16133" y="10148"/>
                  </a:lnTo>
                  <a:lnTo>
                    <a:pt x="16141" y="10109"/>
                  </a:lnTo>
                  <a:lnTo>
                    <a:pt x="16147" y="10071"/>
                  </a:lnTo>
                  <a:lnTo>
                    <a:pt x="16152" y="10031"/>
                  </a:lnTo>
                  <a:lnTo>
                    <a:pt x="16155" y="9992"/>
                  </a:lnTo>
                  <a:lnTo>
                    <a:pt x="16156" y="9951"/>
                  </a:lnTo>
                  <a:lnTo>
                    <a:pt x="16156" y="969"/>
                  </a:lnTo>
                  <a:lnTo>
                    <a:pt x="16155" y="930"/>
                  </a:lnTo>
                  <a:lnTo>
                    <a:pt x="16152" y="893"/>
                  </a:lnTo>
                  <a:lnTo>
                    <a:pt x="16148" y="855"/>
                  </a:lnTo>
                  <a:lnTo>
                    <a:pt x="16142" y="818"/>
                  </a:lnTo>
                  <a:lnTo>
                    <a:pt x="16135" y="782"/>
                  </a:lnTo>
                  <a:lnTo>
                    <a:pt x="16126" y="746"/>
                  </a:lnTo>
                  <a:lnTo>
                    <a:pt x="16117" y="711"/>
                  </a:lnTo>
                  <a:lnTo>
                    <a:pt x="16106" y="675"/>
                  </a:lnTo>
                  <a:lnTo>
                    <a:pt x="10836" y="5193"/>
                  </a:lnTo>
                  <a:lnTo>
                    <a:pt x="16100" y="10260"/>
                  </a:lnTo>
                  <a:close/>
                  <a:moveTo>
                    <a:pt x="50" y="675"/>
                  </a:moveTo>
                  <a:lnTo>
                    <a:pt x="39" y="711"/>
                  </a:lnTo>
                  <a:lnTo>
                    <a:pt x="30" y="746"/>
                  </a:lnTo>
                  <a:lnTo>
                    <a:pt x="21" y="782"/>
                  </a:lnTo>
                  <a:lnTo>
                    <a:pt x="14" y="818"/>
                  </a:lnTo>
                  <a:lnTo>
                    <a:pt x="8" y="855"/>
                  </a:lnTo>
                  <a:lnTo>
                    <a:pt x="4" y="893"/>
                  </a:lnTo>
                  <a:lnTo>
                    <a:pt x="1" y="930"/>
                  </a:lnTo>
                  <a:lnTo>
                    <a:pt x="0" y="969"/>
                  </a:lnTo>
                  <a:lnTo>
                    <a:pt x="0" y="9951"/>
                  </a:lnTo>
                  <a:lnTo>
                    <a:pt x="1" y="9992"/>
                  </a:lnTo>
                  <a:lnTo>
                    <a:pt x="4" y="10031"/>
                  </a:lnTo>
                  <a:lnTo>
                    <a:pt x="9" y="10071"/>
                  </a:lnTo>
                  <a:lnTo>
                    <a:pt x="15" y="10110"/>
                  </a:lnTo>
                  <a:lnTo>
                    <a:pt x="23" y="10148"/>
                  </a:lnTo>
                  <a:lnTo>
                    <a:pt x="32" y="10186"/>
                  </a:lnTo>
                  <a:lnTo>
                    <a:pt x="43" y="10223"/>
                  </a:lnTo>
                  <a:lnTo>
                    <a:pt x="56" y="10260"/>
                  </a:lnTo>
                  <a:lnTo>
                    <a:pt x="5323" y="5196"/>
                  </a:lnTo>
                  <a:lnTo>
                    <a:pt x="50" y="675"/>
                  </a:lnTo>
                  <a:close/>
                  <a:moveTo>
                    <a:pt x="15189" y="10920"/>
                  </a:moveTo>
                  <a:lnTo>
                    <a:pt x="15222" y="10919"/>
                  </a:lnTo>
                  <a:lnTo>
                    <a:pt x="15256" y="10917"/>
                  </a:lnTo>
                  <a:lnTo>
                    <a:pt x="15289" y="10913"/>
                  </a:lnTo>
                  <a:lnTo>
                    <a:pt x="15322" y="10909"/>
                  </a:lnTo>
                  <a:lnTo>
                    <a:pt x="15354" y="10903"/>
                  </a:lnTo>
                  <a:lnTo>
                    <a:pt x="15387" y="10896"/>
                  </a:lnTo>
                  <a:lnTo>
                    <a:pt x="15418" y="10888"/>
                  </a:lnTo>
                  <a:lnTo>
                    <a:pt x="15449" y="10880"/>
                  </a:lnTo>
                  <a:lnTo>
                    <a:pt x="10133" y="5765"/>
                  </a:lnTo>
                  <a:lnTo>
                    <a:pt x="8078" y="7440"/>
                  </a:lnTo>
                  <a:lnTo>
                    <a:pt x="6026" y="5768"/>
                  </a:lnTo>
                  <a:lnTo>
                    <a:pt x="707" y="10880"/>
                  </a:lnTo>
                  <a:lnTo>
                    <a:pt x="738" y="10888"/>
                  </a:lnTo>
                  <a:lnTo>
                    <a:pt x="770" y="10896"/>
                  </a:lnTo>
                  <a:lnTo>
                    <a:pt x="802" y="10903"/>
                  </a:lnTo>
                  <a:lnTo>
                    <a:pt x="834" y="10909"/>
                  </a:lnTo>
                  <a:lnTo>
                    <a:pt x="867" y="10913"/>
                  </a:lnTo>
                  <a:lnTo>
                    <a:pt x="901" y="10917"/>
                  </a:lnTo>
                  <a:lnTo>
                    <a:pt x="934" y="10919"/>
                  </a:lnTo>
                  <a:lnTo>
                    <a:pt x="967" y="10920"/>
                  </a:lnTo>
                  <a:lnTo>
                    <a:pt x="15189" y="10920"/>
                  </a:lnTo>
                  <a:close/>
                  <a:moveTo>
                    <a:pt x="8078" y="6283"/>
                  </a:moveTo>
                  <a:lnTo>
                    <a:pt x="9465" y="5153"/>
                  </a:lnTo>
                  <a:lnTo>
                    <a:pt x="10168" y="4580"/>
                  </a:lnTo>
                  <a:lnTo>
                    <a:pt x="15460" y="44"/>
                  </a:lnTo>
                  <a:lnTo>
                    <a:pt x="15428" y="34"/>
                  </a:lnTo>
                  <a:lnTo>
                    <a:pt x="15395" y="26"/>
                  </a:lnTo>
                  <a:lnTo>
                    <a:pt x="15361" y="19"/>
                  </a:lnTo>
                  <a:lnTo>
                    <a:pt x="15327" y="12"/>
                  </a:lnTo>
                  <a:lnTo>
                    <a:pt x="15294" y="7"/>
                  </a:lnTo>
                  <a:lnTo>
                    <a:pt x="15258" y="3"/>
                  </a:lnTo>
                  <a:lnTo>
                    <a:pt x="15224" y="1"/>
                  </a:lnTo>
                  <a:lnTo>
                    <a:pt x="15189" y="0"/>
                  </a:lnTo>
                  <a:lnTo>
                    <a:pt x="967" y="0"/>
                  </a:lnTo>
                  <a:lnTo>
                    <a:pt x="932" y="1"/>
                  </a:lnTo>
                  <a:lnTo>
                    <a:pt x="897" y="3"/>
                  </a:lnTo>
                  <a:lnTo>
                    <a:pt x="862" y="7"/>
                  </a:lnTo>
                  <a:lnTo>
                    <a:pt x="828" y="12"/>
                  </a:lnTo>
                  <a:lnTo>
                    <a:pt x="795" y="19"/>
                  </a:lnTo>
                  <a:lnTo>
                    <a:pt x="761" y="26"/>
                  </a:lnTo>
                  <a:lnTo>
                    <a:pt x="728" y="34"/>
                  </a:lnTo>
                  <a:lnTo>
                    <a:pt x="695" y="44"/>
                  </a:lnTo>
                  <a:lnTo>
                    <a:pt x="5991" y="4582"/>
                  </a:lnTo>
                  <a:lnTo>
                    <a:pt x="6693" y="5155"/>
                  </a:lnTo>
                  <a:lnTo>
                    <a:pt x="8078" y="628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10388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2000">
                <a:solidFill>
                  <a:prstClr val="black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279525" y="1450594"/>
            <a:ext cx="9794875" cy="4297363"/>
          </a:xfrm>
          <a:prstGeom prst="rect">
            <a:avLst/>
          </a:prstGeom>
        </p:spPr>
        <p:txBody>
          <a:bodyPr lIns="121899" tIns="60949" rIns="121899" bIns="60949"/>
          <a:lstStyle>
            <a:lvl1pPr>
              <a:defRPr sz="3200">
                <a:latin typeface="Trebuchet MS" panose="020B0603020202020204" pitchFamily="34" charset="0"/>
              </a:defRPr>
            </a:lvl1pPr>
            <a:lvl2pPr>
              <a:defRPr sz="3200">
                <a:latin typeface="Trebuchet MS" panose="020B0603020202020204" pitchFamily="34" charset="0"/>
              </a:defRPr>
            </a:lvl2pPr>
            <a:lvl3pPr>
              <a:defRPr sz="2400">
                <a:latin typeface="Trebuchet MS" panose="020B0603020202020204" pitchFamily="34" charset="0"/>
              </a:defRPr>
            </a:lvl3pPr>
            <a:lvl4pPr>
              <a:defRPr sz="2100">
                <a:latin typeface="Trebuchet MS" panose="020B0603020202020204" pitchFamily="34" charset="0"/>
              </a:defRPr>
            </a:lvl4pPr>
            <a:lvl5pPr>
              <a:defRPr sz="210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21"/>
          <p:cNvSpPr>
            <a:spLocks noGrp="1"/>
          </p:cNvSpPr>
          <p:nvPr>
            <p:ph type="title"/>
          </p:nvPr>
        </p:nvSpPr>
        <p:spPr bwMode="auto">
          <a:xfrm>
            <a:off x="1345479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 lIns="121899" tIns="60949" rIns="121899" bIns="60949"/>
          <a:lstStyle>
            <a:lvl1pPr algn="l">
              <a:defRPr sz="32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406693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715963"/>
            <a:ext cx="812800" cy="46037"/>
          </a:xfrm>
          <a:prstGeom prst="rect">
            <a:avLst/>
          </a:prstGeom>
          <a:solidFill>
            <a:srgbClr val="F20000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52488" y="715963"/>
            <a:ext cx="91043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7" name="TextBox 10"/>
          <p:cNvSpPr txBox="1">
            <a:spLocks noChangeArrowheads="1"/>
          </p:cNvSpPr>
          <p:nvPr userDrawn="1"/>
        </p:nvSpPr>
        <p:spPr bwMode="auto">
          <a:xfrm>
            <a:off x="11634788" y="6618288"/>
            <a:ext cx="341312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 defTabSz="1038225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defTabSz="1038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defTabSz="1038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defTabSz="1038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defTabSz="1038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fld id="{09A163EE-1223-4D37-B522-8ED78729DC55}" type="slidenum">
              <a:rPr lang="en-US" altLang="en-US" sz="1000" smtClean="0">
                <a:solidFill>
                  <a:srgbClr val="000000"/>
                </a:solidFill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en-US" sz="10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5138" y="73025"/>
            <a:ext cx="1465262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21"/>
          <p:cNvSpPr>
            <a:spLocks noGrp="1"/>
          </p:cNvSpPr>
          <p:nvPr>
            <p:ph type="title"/>
          </p:nvPr>
        </p:nvSpPr>
        <p:spPr bwMode="auto">
          <a:xfrm>
            <a:off x="406400" y="154958"/>
            <a:ext cx="10769600" cy="5319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2400" b="1" i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06401" y="838200"/>
            <a:ext cx="11480800" cy="457200"/>
          </a:xfrm>
          <a:prstGeom prst="rect">
            <a:avLst/>
          </a:prstGeom>
        </p:spPr>
        <p:txBody>
          <a:bodyPr/>
          <a:lstStyle>
            <a:lvl1pPr marL="0" indent="0">
              <a:buFont typeface="Arial" pitchFamily="34" charset="0"/>
              <a:buNone/>
              <a:defRPr sz="180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Font typeface="Arial" pitchFamily="34" charset="0"/>
              <a:buNone/>
              <a:defRPr sz="1600"/>
            </a:lvl2pPr>
            <a:lvl3pPr marL="914400" indent="0">
              <a:buFont typeface="Arial" pitchFamily="34" charset="0"/>
              <a:buNone/>
              <a:defRPr sz="1400"/>
            </a:lvl3pPr>
            <a:lvl4pPr marL="1371600" indent="0">
              <a:buFont typeface="Arial" pitchFamily="34" charset="0"/>
              <a:buNone/>
              <a:defRPr sz="1200"/>
            </a:lvl4pPr>
            <a:lvl5pPr marL="1828800" indent="0">
              <a:buFont typeface="Arial" pitchFamily="34" charset="0"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812801" y="6584776"/>
            <a:ext cx="10566400" cy="273224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itchFamily="34" charset="0"/>
              <a:buNone/>
              <a:defRPr sz="1050" b="0" baseline="0">
                <a:latin typeface="+mj-lt"/>
                <a:cs typeface="Arial" pitchFamily="34" charset="0"/>
              </a:defRPr>
            </a:lvl1pPr>
            <a:lvl2pPr marL="457200" indent="0">
              <a:buFont typeface="Arial" pitchFamily="34" charset="0"/>
              <a:buNone/>
              <a:defRPr sz="1600"/>
            </a:lvl2pPr>
            <a:lvl3pPr marL="914400" indent="0">
              <a:buFont typeface="Arial" pitchFamily="34" charset="0"/>
              <a:buNone/>
              <a:defRPr sz="1400"/>
            </a:lvl3pPr>
            <a:lvl4pPr marL="1371600" indent="0">
              <a:buFont typeface="Arial" pitchFamily="34" charset="0"/>
              <a:buNone/>
              <a:defRPr sz="1200"/>
            </a:lvl4pPr>
            <a:lvl5pPr marL="1828800" indent="0">
              <a:buFont typeface="Arial" pitchFamily="34" charset="0"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4131441"/>
      </p:ext>
    </p:extLst>
  </p:cSld>
  <p:clrMapOvr>
    <a:masterClrMapping/>
  </p:clrMapOvr>
  <p:transition spd="med">
    <p:wip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0088" y="73025"/>
            <a:ext cx="132238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808038" y="684213"/>
            <a:ext cx="10137775" cy="50800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75" y="66675"/>
            <a:ext cx="692150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6526213"/>
            <a:ext cx="3397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930275" y="6526213"/>
            <a:ext cx="1765300" cy="40005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id-ID" sz="2000">
                <a:solidFill>
                  <a:prstClr val="white"/>
                </a:solidFill>
                <a:ea typeface="+mn-ea"/>
                <a:cs typeface="+mn-cs"/>
              </a:rPr>
              <a:t>ddbaccelerator</a:t>
            </a: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3097213" y="6538913"/>
            <a:ext cx="1995487" cy="40005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id-ID" sz="2000">
                <a:solidFill>
                  <a:prstClr val="white"/>
                </a:solidFill>
                <a:ea typeface="+mn-ea"/>
                <a:cs typeface="+mn-cs"/>
              </a:rPr>
              <a:t>@ddbaccelerator</a:t>
            </a: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5397500" y="6550025"/>
            <a:ext cx="3324225" cy="40005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id-ID" sz="2000" dirty="0">
                <a:solidFill>
                  <a:prstClr val="white"/>
                </a:solidFill>
                <a:ea typeface="+mn-ea"/>
                <a:cs typeface="+mn-cs"/>
              </a:rPr>
              <a:t>support@ddbaccelerator.com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8851900" y="6548438"/>
            <a:ext cx="2894013" cy="40005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10388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id-ID" sz="2000">
                <a:solidFill>
                  <a:prstClr val="white"/>
                </a:solidFill>
                <a:ea typeface="+mn-ea"/>
                <a:cs typeface="+mn-cs"/>
              </a:rPr>
              <a:t>www.ddbaccelerator.com</a:t>
            </a:r>
          </a:p>
        </p:txBody>
      </p:sp>
      <p:pic>
        <p:nvPicPr>
          <p:cNvPr id="15" name="Picture 10" descr="https://g.twimg.com/Twitter_logo_blue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5588" y="6534150"/>
            <a:ext cx="382587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Freeform 39"/>
          <p:cNvSpPr>
            <a:spLocks noEditPoints="1"/>
          </p:cNvSpPr>
          <p:nvPr userDrawn="1"/>
        </p:nvSpPr>
        <p:spPr bwMode="auto">
          <a:xfrm>
            <a:off x="8532813" y="6534150"/>
            <a:ext cx="347662" cy="323850"/>
          </a:xfrm>
          <a:custGeom>
            <a:avLst/>
            <a:gdLst>
              <a:gd name="T0" fmla="*/ 2147483646 w 16128"/>
              <a:gd name="T1" fmla="*/ 2147483646 h 16128"/>
              <a:gd name="T2" fmla="*/ 2147483646 w 16128"/>
              <a:gd name="T3" fmla="*/ 2147483646 h 16128"/>
              <a:gd name="T4" fmla="*/ 2147483646 w 16128"/>
              <a:gd name="T5" fmla="*/ 2147483646 h 16128"/>
              <a:gd name="T6" fmla="*/ 2147483646 w 16128"/>
              <a:gd name="T7" fmla="*/ 2147483646 h 16128"/>
              <a:gd name="T8" fmla="*/ 2147483646 w 16128"/>
              <a:gd name="T9" fmla="*/ 2147483646 h 16128"/>
              <a:gd name="T10" fmla="*/ 2147483646 w 16128"/>
              <a:gd name="T11" fmla="*/ 2147483646 h 16128"/>
              <a:gd name="T12" fmla="*/ 2147483646 w 16128"/>
              <a:gd name="T13" fmla="*/ 2147483646 h 16128"/>
              <a:gd name="T14" fmla="*/ 2147483646 w 16128"/>
              <a:gd name="T15" fmla="*/ 2147483646 h 16128"/>
              <a:gd name="T16" fmla="*/ 2147483646 w 16128"/>
              <a:gd name="T17" fmla="*/ 2147483646 h 16128"/>
              <a:gd name="T18" fmla="*/ 2147483646 w 16128"/>
              <a:gd name="T19" fmla="*/ 2147483646 h 16128"/>
              <a:gd name="T20" fmla="*/ 2147483646 w 16128"/>
              <a:gd name="T21" fmla="*/ 2147483646 h 16128"/>
              <a:gd name="T22" fmla="*/ 2147483646 w 16128"/>
              <a:gd name="T23" fmla="*/ 2147483646 h 16128"/>
              <a:gd name="T24" fmla="*/ 2147483646 w 16128"/>
              <a:gd name="T25" fmla="*/ 2147483646 h 16128"/>
              <a:gd name="T26" fmla="*/ 2147483646 w 16128"/>
              <a:gd name="T27" fmla="*/ 2147483646 h 16128"/>
              <a:gd name="T28" fmla="*/ 2147483646 w 16128"/>
              <a:gd name="T29" fmla="*/ 2147483646 h 16128"/>
              <a:gd name="T30" fmla="*/ 2147483646 w 16128"/>
              <a:gd name="T31" fmla="*/ 2147483646 h 16128"/>
              <a:gd name="T32" fmla="*/ 2147483646 w 16128"/>
              <a:gd name="T33" fmla="*/ 2147483646 h 16128"/>
              <a:gd name="T34" fmla="*/ 2147483646 w 16128"/>
              <a:gd name="T35" fmla="*/ 2147483646 h 16128"/>
              <a:gd name="T36" fmla="*/ 2147483646 w 16128"/>
              <a:gd name="T37" fmla="*/ 2147483646 h 16128"/>
              <a:gd name="T38" fmla="*/ 2147483646 w 16128"/>
              <a:gd name="T39" fmla="*/ 2147483646 h 16128"/>
              <a:gd name="T40" fmla="*/ 2147483646 w 16128"/>
              <a:gd name="T41" fmla="*/ 2147483646 h 16128"/>
              <a:gd name="T42" fmla="*/ 2147483646 w 16128"/>
              <a:gd name="T43" fmla="*/ 2147483646 h 16128"/>
              <a:gd name="T44" fmla="*/ 2147483646 w 16128"/>
              <a:gd name="T45" fmla="*/ 2147483646 h 16128"/>
              <a:gd name="T46" fmla="*/ 2147483646 w 16128"/>
              <a:gd name="T47" fmla="*/ 2147483646 h 16128"/>
              <a:gd name="T48" fmla="*/ 2147483646 w 16128"/>
              <a:gd name="T49" fmla="*/ 2147483646 h 16128"/>
              <a:gd name="T50" fmla="*/ 2147483646 w 16128"/>
              <a:gd name="T51" fmla="*/ 2147483646 h 16128"/>
              <a:gd name="T52" fmla="*/ 2147483646 w 16128"/>
              <a:gd name="T53" fmla="*/ 2147483646 h 16128"/>
              <a:gd name="T54" fmla="*/ 2147483646 w 16128"/>
              <a:gd name="T55" fmla="*/ 2147483646 h 16128"/>
              <a:gd name="T56" fmla="*/ 2147483646 w 16128"/>
              <a:gd name="T57" fmla="*/ 2147483646 h 16128"/>
              <a:gd name="T58" fmla="*/ 2147483646 w 16128"/>
              <a:gd name="T59" fmla="*/ 2147483646 h 16128"/>
              <a:gd name="T60" fmla="*/ 2147483646 w 16128"/>
              <a:gd name="T61" fmla="*/ 2147483646 h 16128"/>
              <a:gd name="T62" fmla="*/ 2147483646 w 16128"/>
              <a:gd name="T63" fmla="*/ 2147483646 h 16128"/>
              <a:gd name="T64" fmla="*/ 2147483646 w 16128"/>
              <a:gd name="T65" fmla="*/ 2147483646 h 16128"/>
              <a:gd name="T66" fmla="*/ 2147483646 w 16128"/>
              <a:gd name="T67" fmla="*/ 2147483646 h 16128"/>
              <a:gd name="T68" fmla="*/ 2147483646 w 16128"/>
              <a:gd name="T69" fmla="*/ 2147483646 h 16128"/>
              <a:gd name="T70" fmla="*/ 2147483646 w 16128"/>
              <a:gd name="T71" fmla="*/ 2147483646 h 16128"/>
              <a:gd name="T72" fmla="*/ 2147483646 w 16128"/>
              <a:gd name="T73" fmla="*/ 2147483646 h 16128"/>
              <a:gd name="T74" fmla="*/ 2147483646 w 16128"/>
              <a:gd name="T75" fmla="*/ 2147483646 h 16128"/>
              <a:gd name="T76" fmla="*/ 2147483646 w 16128"/>
              <a:gd name="T77" fmla="*/ 2147483646 h 16128"/>
              <a:gd name="T78" fmla="*/ 2147483646 w 16128"/>
              <a:gd name="T79" fmla="*/ 2147483646 h 16128"/>
              <a:gd name="T80" fmla="*/ 2147483646 w 16128"/>
              <a:gd name="T81" fmla="*/ 2147483646 h 16128"/>
              <a:gd name="T82" fmla="*/ 2147483646 w 16128"/>
              <a:gd name="T83" fmla="*/ 2147483646 h 16128"/>
              <a:gd name="T84" fmla="*/ 2147483646 w 16128"/>
              <a:gd name="T85" fmla="*/ 2147483646 h 16128"/>
              <a:gd name="T86" fmla="*/ 2147483646 w 16128"/>
              <a:gd name="T87" fmla="*/ 2147483646 h 16128"/>
              <a:gd name="T88" fmla="*/ 2147483646 w 16128"/>
              <a:gd name="T89" fmla="*/ 2147483646 h 16128"/>
              <a:gd name="T90" fmla="*/ 2147483646 w 16128"/>
              <a:gd name="T91" fmla="*/ 2147483646 h 16128"/>
              <a:gd name="T92" fmla="*/ 2147483646 w 16128"/>
              <a:gd name="T93" fmla="*/ 2147483646 h 16128"/>
              <a:gd name="T94" fmla="*/ 2147483646 w 16128"/>
              <a:gd name="T95" fmla="*/ 2147483646 h 16128"/>
              <a:gd name="T96" fmla="*/ 2147483646 w 16128"/>
              <a:gd name="T97" fmla="*/ 2147483646 h 16128"/>
              <a:gd name="T98" fmla="*/ 2147483646 w 16128"/>
              <a:gd name="T99" fmla="*/ 2147483646 h 16128"/>
              <a:gd name="T100" fmla="*/ 2147483646 w 16128"/>
              <a:gd name="T101" fmla="*/ 2147483646 h 16128"/>
              <a:gd name="T102" fmla="*/ 2147483646 w 16128"/>
              <a:gd name="T103" fmla="*/ 2147483646 h 16128"/>
              <a:gd name="T104" fmla="*/ 2147483646 w 16128"/>
              <a:gd name="T105" fmla="*/ 2147483646 h 16128"/>
              <a:gd name="T106" fmla="*/ 2147483646 w 16128"/>
              <a:gd name="T107" fmla="*/ 2147483646 h 16128"/>
              <a:gd name="T108" fmla="*/ 2147483646 w 16128"/>
              <a:gd name="T109" fmla="*/ 2147483646 h 16128"/>
              <a:gd name="T110" fmla="*/ 2147483646 w 16128"/>
              <a:gd name="T111" fmla="*/ 2147483646 h 16128"/>
              <a:gd name="T112" fmla="*/ 2147483646 w 16128"/>
              <a:gd name="T113" fmla="*/ 2147483646 h 16128"/>
              <a:gd name="T114" fmla="*/ 2147483646 w 16128"/>
              <a:gd name="T115" fmla="*/ 2147483646 h 16128"/>
              <a:gd name="T116" fmla="*/ 2147483646 w 16128"/>
              <a:gd name="T117" fmla="*/ 2147483646 h 16128"/>
              <a:gd name="T118" fmla="*/ 2147483646 w 16128"/>
              <a:gd name="T119" fmla="*/ 2147483646 h 16128"/>
              <a:gd name="T120" fmla="*/ 2147483646 w 16128"/>
              <a:gd name="T121" fmla="*/ 2147483646 h 16128"/>
              <a:gd name="T122" fmla="*/ 2147483646 w 16128"/>
              <a:gd name="T123" fmla="*/ 2147483646 h 16128"/>
              <a:gd name="T124" fmla="*/ 2147483646 w 16128"/>
              <a:gd name="T125" fmla="*/ 2147483646 h 1612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128" h="16128">
                <a:moveTo>
                  <a:pt x="8064" y="0"/>
                </a:moveTo>
                <a:lnTo>
                  <a:pt x="7649" y="10"/>
                </a:lnTo>
                <a:lnTo>
                  <a:pt x="7239" y="41"/>
                </a:lnTo>
                <a:lnTo>
                  <a:pt x="6836" y="93"/>
                </a:lnTo>
                <a:lnTo>
                  <a:pt x="6439" y="164"/>
                </a:lnTo>
                <a:lnTo>
                  <a:pt x="6049" y="254"/>
                </a:lnTo>
                <a:lnTo>
                  <a:pt x="5666" y="363"/>
                </a:lnTo>
                <a:lnTo>
                  <a:pt x="5291" y="489"/>
                </a:lnTo>
                <a:lnTo>
                  <a:pt x="4925" y="634"/>
                </a:lnTo>
                <a:lnTo>
                  <a:pt x="4568" y="795"/>
                </a:lnTo>
                <a:lnTo>
                  <a:pt x="4220" y="974"/>
                </a:lnTo>
                <a:lnTo>
                  <a:pt x="3883" y="1167"/>
                </a:lnTo>
                <a:lnTo>
                  <a:pt x="3555" y="1377"/>
                </a:lnTo>
                <a:lnTo>
                  <a:pt x="3239" y="1602"/>
                </a:lnTo>
                <a:lnTo>
                  <a:pt x="2934" y="1842"/>
                </a:lnTo>
                <a:lnTo>
                  <a:pt x="2642" y="2095"/>
                </a:lnTo>
                <a:lnTo>
                  <a:pt x="2362" y="2362"/>
                </a:lnTo>
                <a:lnTo>
                  <a:pt x="2095" y="2642"/>
                </a:lnTo>
                <a:lnTo>
                  <a:pt x="1842" y="2934"/>
                </a:lnTo>
                <a:lnTo>
                  <a:pt x="1602" y="3239"/>
                </a:lnTo>
                <a:lnTo>
                  <a:pt x="1377" y="3555"/>
                </a:lnTo>
                <a:lnTo>
                  <a:pt x="1167" y="3883"/>
                </a:lnTo>
                <a:lnTo>
                  <a:pt x="974" y="4220"/>
                </a:lnTo>
                <a:lnTo>
                  <a:pt x="795" y="4568"/>
                </a:lnTo>
                <a:lnTo>
                  <a:pt x="634" y="4925"/>
                </a:lnTo>
                <a:lnTo>
                  <a:pt x="489" y="5291"/>
                </a:lnTo>
                <a:lnTo>
                  <a:pt x="363" y="5666"/>
                </a:lnTo>
                <a:lnTo>
                  <a:pt x="254" y="6049"/>
                </a:lnTo>
                <a:lnTo>
                  <a:pt x="164" y="6439"/>
                </a:lnTo>
                <a:lnTo>
                  <a:pt x="93" y="6836"/>
                </a:lnTo>
                <a:lnTo>
                  <a:pt x="41" y="7239"/>
                </a:lnTo>
                <a:lnTo>
                  <a:pt x="10" y="7649"/>
                </a:lnTo>
                <a:lnTo>
                  <a:pt x="0" y="8064"/>
                </a:lnTo>
                <a:lnTo>
                  <a:pt x="10" y="8479"/>
                </a:lnTo>
                <a:lnTo>
                  <a:pt x="41" y="8889"/>
                </a:lnTo>
                <a:lnTo>
                  <a:pt x="93" y="9292"/>
                </a:lnTo>
                <a:lnTo>
                  <a:pt x="164" y="9689"/>
                </a:lnTo>
                <a:lnTo>
                  <a:pt x="254" y="10079"/>
                </a:lnTo>
                <a:lnTo>
                  <a:pt x="363" y="10462"/>
                </a:lnTo>
                <a:lnTo>
                  <a:pt x="489" y="10837"/>
                </a:lnTo>
                <a:lnTo>
                  <a:pt x="634" y="11203"/>
                </a:lnTo>
                <a:lnTo>
                  <a:pt x="795" y="11560"/>
                </a:lnTo>
                <a:lnTo>
                  <a:pt x="974" y="11908"/>
                </a:lnTo>
                <a:lnTo>
                  <a:pt x="1167" y="12245"/>
                </a:lnTo>
                <a:lnTo>
                  <a:pt x="1377" y="12573"/>
                </a:lnTo>
                <a:lnTo>
                  <a:pt x="1602" y="12888"/>
                </a:lnTo>
                <a:lnTo>
                  <a:pt x="1842" y="13194"/>
                </a:lnTo>
                <a:lnTo>
                  <a:pt x="2095" y="13486"/>
                </a:lnTo>
                <a:lnTo>
                  <a:pt x="2362" y="13766"/>
                </a:lnTo>
                <a:lnTo>
                  <a:pt x="2642" y="14033"/>
                </a:lnTo>
                <a:lnTo>
                  <a:pt x="2934" y="14286"/>
                </a:lnTo>
                <a:lnTo>
                  <a:pt x="3239" y="14526"/>
                </a:lnTo>
                <a:lnTo>
                  <a:pt x="3555" y="14751"/>
                </a:lnTo>
                <a:lnTo>
                  <a:pt x="3883" y="14961"/>
                </a:lnTo>
                <a:lnTo>
                  <a:pt x="4220" y="15154"/>
                </a:lnTo>
                <a:lnTo>
                  <a:pt x="4568" y="15333"/>
                </a:lnTo>
                <a:lnTo>
                  <a:pt x="4925" y="15494"/>
                </a:lnTo>
                <a:lnTo>
                  <a:pt x="5291" y="15639"/>
                </a:lnTo>
                <a:lnTo>
                  <a:pt x="5666" y="15765"/>
                </a:lnTo>
                <a:lnTo>
                  <a:pt x="6049" y="15874"/>
                </a:lnTo>
                <a:lnTo>
                  <a:pt x="6439" y="15964"/>
                </a:lnTo>
                <a:lnTo>
                  <a:pt x="6836" y="16035"/>
                </a:lnTo>
                <a:lnTo>
                  <a:pt x="7239" y="16087"/>
                </a:lnTo>
                <a:lnTo>
                  <a:pt x="7649" y="16118"/>
                </a:lnTo>
                <a:lnTo>
                  <a:pt x="8064" y="16128"/>
                </a:lnTo>
                <a:lnTo>
                  <a:pt x="8479" y="16118"/>
                </a:lnTo>
                <a:lnTo>
                  <a:pt x="8889" y="16087"/>
                </a:lnTo>
                <a:lnTo>
                  <a:pt x="9292" y="16035"/>
                </a:lnTo>
                <a:lnTo>
                  <a:pt x="9689" y="15964"/>
                </a:lnTo>
                <a:lnTo>
                  <a:pt x="10079" y="15874"/>
                </a:lnTo>
                <a:lnTo>
                  <a:pt x="10462" y="15765"/>
                </a:lnTo>
                <a:lnTo>
                  <a:pt x="10837" y="15639"/>
                </a:lnTo>
                <a:lnTo>
                  <a:pt x="11203" y="15494"/>
                </a:lnTo>
                <a:lnTo>
                  <a:pt x="11560" y="15333"/>
                </a:lnTo>
                <a:lnTo>
                  <a:pt x="11908" y="15154"/>
                </a:lnTo>
                <a:lnTo>
                  <a:pt x="12245" y="14961"/>
                </a:lnTo>
                <a:lnTo>
                  <a:pt x="12573" y="14751"/>
                </a:lnTo>
                <a:lnTo>
                  <a:pt x="12889" y="14526"/>
                </a:lnTo>
                <a:lnTo>
                  <a:pt x="13194" y="14286"/>
                </a:lnTo>
                <a:lnTo>
                  <a:pt x="13486" y="14033"/>
                </a:lnTo>
                <a:lnTo>
                  <a:pt x="13766" y="13766"/>
                </a:lnTo>
                <a:lnTo>
                  <a:pt x="14033" y="13486"/>
                </a:lnTo>
                <a:lnTo>
                  <a:pt x="14286" y="13194"/>
                </a:lnTo>
                <a:lnTo>
                  <a:pt x="14526" y="12888"/>
                </a:lnTo>
                <a:lnTo>
                  <a:pt x="14751" y="12573"/>
                </a:lnTo>
                <a:lnTo>
                  <a:pt x="14961" y="12245"/>
                </a:lnTo>
                <a:lnTo>
                  <a:pt x="15154" y="11908"/>
                </a:lnTo>
                <a:lnTo>
                  <a:pt x="15333" y="11560"/>
                </a:lnTo>
                <a:lnTo>
                  <a:pt x="15494" y="11203"/>
                </a:lnTo>
                <a:lnTo>
                  <a:pt x="15639" y="10837"/>
                </a:lnTo>
                <a:lnTo>
                  <a:pt x="15765" y="10462"/>
                </a:lnTo>
                <a:lnTo>
                  <a:pt x="15874" y="10079"/>
                </a:lnTo>
                <a:lnTo>
                  <a:pt x="15964" y="9689"/>
                </a:lnTo>
                <a:lnTo>
                  <a:pt x="16035" y="9292"/>
                </a:lnTo>
                <a:lnTo>
                  <a:pt x="16087" y="8889"/>
                </a:lnTo>
                <a:lnTo>
                  <a:pt x="16118" y="8479"/>
                </a:lnTo>
                <a:lnTo>
                  <a:pt x="16128" y="8064"/>
                </a:lnTo>
                <a:lnTo>
                  <a:pt x="16118" y="7649"/>
                </a:lnTo>
                <a:lnTo>
                  <a:pt x="16087" y="7239"/>
                </a:lnTo>
                <a:lnTo>
                  <a:pt x="16035" y="6836"/>
                </a:lnTo>
                <a:lnTo>
                  <a:pt x="15964" y="6439"/>
                </a:lnTo>
                <a:lnTo>
                  <a:pt x="15874" y="6049"/>
                </a:lnTo>
                <a:lnTo>
                  <a:pt x="15765" y="5666"/>
                </a:lnTo>
                <a:lnTo>
                  <a:pt x="15639" y="5291"/>
                </a:lnTo>
                <a:lnTo>
                  <a:pt x="15494" y="4925"/>
                </a:lnTo>
                <a:lnTo>
                  <a:pt x="15333" y="4568"/>
                </a:lnTo>
                <a:lnTo>
                  <a:pt x="15154" y="4220"/>
                </a:lnTo>
                <a:lnTo>
                  <a:pt x="14961" y="3883"/>
                </a:lnTo>
                <a:lnTo>
                  <a:pt x="14751" y="3555"/>
                </a:lnTo>
                <a:lnTo>
                  <a:pt x="14526" y="3239"/>
                </a:lnTo>
                <a:lnTo>
                  <a:pt x="14286" y="2934"/>
                </a:lnTo>
                <a:lnTo>
                  <a:pt x="14033" y="2642"/>
                </a:lnTo>
                <a:lnTo>
                  <a:pt x="13766" y="2362"/>
                </a:lnTo>
                <a:lnTo>
                  <a:pt x="13486" y="2095"/>
                </a:lnTo>
                <a:lnTo>
                  <a:pt x="13194" y="1842"/>
                </a:lnTo>
                <a:lnTo>
                  <a:pt x="12889" y="1602"/>
                </a:lnTo>
                <a:lnTo>
                  <a:pt x="12573" y="1377"/>
                </a:lnTo>
                <a:lnTo>
                  <a:pt x="12245" y="1167"/>
                </a:lnTo>
                <a:lnTo>
                  <a:pt x="11908" y="974"/>
                </a:lnTo>
                <a:lnTo>
                  <a:pt x="11560" y="795"/>
                </a:lnTo>
                <a:lnTo>
                  <a:pt x="11203" y="634"/>
                </a:lnTo>
                <a:lnTo>
                  <a:pt x="10837" y="489"/>
                </a:lnTo>
                <a:lnTo>
                  <a:pt x="10462" y="363"/>
                </a:lnTo>
                <a:lnTo>
                  <a:pt x="10079" y="254"/>
                </a:lnTo>
                <a:lnTo>
                  <a:pt x="9689" y="164"/>
                </a:lnTo>
                <a:lnTo>
                  <a:pt x="9292" y="93"/>
                </a:lnTo>
                <a:lnTo>
                  <a:pt x="8889" y="41"/>
                </a:lnTo>
                <a:lnTo>
                  <a:pt x="8479" y="10"/>
                </a:lnTo>
                <a:lnTo>
                  <a:pt x="8064" y="0"/>
                </a:lnTo>
                <a:close/>
                <a:moveTo>
                  <a:pt x="9888" y="5193"/>
                </a:moveTo>
                <a:lnTo>
                  <a:pt x="9879" y="5196"/>
                </a:lnTo>
                <a:lnTo>
                  <a:pt x="9872" y="5197"/>
                </a:lnTo>
                <a:lnTo>
                  <a:pt x="9865" y="5198"/>
                </a:lnTo>
                <a:lnTo>
                  <a:pt x="9859" y="5198"/>
                </a:lnTo>
                <a:lnTo>
                  <a:pt x="9854" y="5198"/>
                </a:lnTo>
                <a:lnTo>
                  <a:pt x="9850" y="5197"/>
                </a:lnTo>
                <a:lnTo>
                  <a:pt x="9847" y="5195"/>
                </a:lnTo>
                <a:lnTo>
                  <a:pt x="9844" y="5193"/>
                </a:lnTo>
                <a:lnTo>
                  <a:pt x="9842" y="5190"/>
                </a:lnTo>
                <a:lnTo>
                  <a:pt x="9840" y="5187"/>
                </a:lnTo>
                <a:lnTo>
                  <a:pt x="9839" y="5183"/>
                </a:lnTo>
                <a:lnTo>
                  <a:pt x="9839" y="5179"/>
                </a:lnTo>
                <a:lnTo>
                  <a:pt x="9839" y="5170"/>
                </a:lnTo>
                <a:lnTo>
                  <a:pt x="9841" y="5159"/>
                </a:lnTo>
                <a:lnTo>
                  <a:pt x="9848" y="5136"/>
                </a:lnTo>
                <a:lnTo>
                  <a:pt x="9857" y="5111"/>
                </a:lnTo>
                <a:lnTo>
                  <a:pt x="9861" y="5097"/>
                </a:lnTo>
                <a:lnTo>
                  <a:pt x="9865" y="5085"/>
                </a:lnTo>
                <a:lnTo>
                  <a:pt x="9867" y="5073"/>
                </a:lnTo>
                <a:lnTo>
                  <a:pt x="9868" y="5063"/>
                </a:lnTo>
                <a:lnTo>
                  <a:pt x="9881" y="5063"/>
                </a:lnTo>
                <a:lnTo>
                  <a:pt x="9906" y="5064"/>
                </a:lnTo>
                <a:lnTo>
                  <a:pt x="9937" y="5064"/>
                </a:lnTo>
                <a:lnTo>
                  <a:pt x="9967" y="5063"/>
                </a:lnTo>
                <a:lnTo>
                  <a:pt x="9980" y="5061"/>
                </a:lnTo>
                <a:lnTo>
                  <a:pt x="9991" y="5060"/>
                </a:lnTo>
                <a:lnTo>
                  <a:pt x="9995" y="5058"/>
                </a:lnTo>
                <a:lnTo>
                  <a:pt x="9999" y="5057"/>
                </a:lnTo>
                <a:lnTo>
                  <a:pt x="10001" y="5056"/>
                </a:lnTo>
                <a:lnTo>
                  <a:pt x="10003" y="5054"/>
                </a:lnTo>
                <a:lnTo>
                  <a:pt x="10003" y="5052"/>
                </a:lnTo>
                <a:lnTo>
                  <a:pt x="10002" y="5050"/>
                </a:lnTo>
                <a:lnTo>
                  <a:pt x="9999" y="5047"/>
                </a:lnTo>
                <a:lnTo>
                  <a:pt x="9996" y="5045"/>
                </a:lnTo>
                <a:lnTo>
                  <a:pt x="9983" y="5039"/>
                </a:lnTo>
                <a:lnTo>
                  <a:pt x="9964" y="5032"/>
                </a:lnTo>
                <a:lnTo>
                  <a:pt x="9962" y="5011"/>
                </a:lnTo>
                <a:lnTo>
                  <a:pt x="9960" y="4993"/>
                </a:lnTo>
                <a:lnTo>
                  <a:pt x="9958" y="4975"/>
                </a:lnTo>
                <a:lnTo>
                  <a:pt x="9954" y="4960"/>
                </a:lnTo>
                <a:lnTo>
                  <a:pt x="9950" y="4946"/>
                </a:lnTo>
                <a:lnTo>
                  <a:pt x="9945" y="4934"/>
                </a:lnTo>
                <a:lnTo>
                  <a:pt x="9939" y="4924"/>
                </a:lnTo>
                <a:lnTo>
                  <a:pt x="9932" y="4915"/>
                </a:lnTo>
                <a:lnTo>
                  <a:pt x="9924" y="4907"/>
                </a:lnTo>
                <a:lnTo>
                  <a:pt x="9915" y="4900"/>
                </a:lnTo>
                <a:lnTo>
                  <a:pt x="9904" y="4895"/>
                </a:lnTo>
                <a:lnTo>
                  <a:pt x="9892" y="4891"/>
                </a:lnTo>
                <a:lnTo>
                  <a:pt x="9877" y="4887"/>
                </a:lnTo>
                <a:lnTo>
                  <a:pt x="9862" y="4885"/>
                </a:lnTo>
                <a:lnTo>
                  <a:pt x="9845" y="4884"/>
                </a:lnTo>
                <a:lnTo>
                  <a:pt x="9826" y="4883"/>
                </a:lnTo>
                <a:lnTo>
                  <a:pt x="9826" y="4870"/>
                </a:lnTo>
                <a:lnTo>
                  <a:pt x="9825" y="4858"/>
                </a:lnTo>
                <a:lnTo>
                  <a:pt x="9824" y="4847"/>
                </a:lnTo>
                <a:lnTo>
                  <a:pt x="9822" y="4837"/>
                </a:lnTo>
                <a:lnTo>
                  <a:pt x="9817" y="4821"/>
                </a:lnTo>
                <a:lnTo>
                  <a:pt x="9811" y="4807"/>
                </a:lnTo>
                <a:lnTo>
                  <a:pt x="9805" y="4793"/>
                </a:lnTo>
                <a:lnTo>
                  <a:pt x="9798" y="4776"/>
                </a:lnTo>
                <a:lnTo>
                  <a:pt x="9795" y="4766"/>
                </a:lnTo>
                <a:lnTo>
                  <a:pt x="9792" y="4754"/>
                </a:lnTo>
                <a:lnTo>
                  <a:pt x="9789" y="4741"/>
                </a:lnTo>
                <a:lnTo>
                  <a:pt x="9787" y="4727"/>
                </a:lnTo>
                <a:lnTo>
                  <a:pt x="9785" y="4715"/>
                </a:lnTo>
                <a:lnTo>
                  <a:pt x="9785" y="4705"/>
                </a:lnTo>
                <a:lnTo>
                  <a:pt x="9785" y="4697"/>
                </a:lnTo>
                <a:lnTo>
                  <a:pt x="9786" y="4690"/>
                </a:lnTo>
                <a:lnTo>
                  <a:pt x="9787" y="4684"/>
                </a:lnTo>
                <a:lnTo>
                  <a:pt x="9789" y="4679"/>
                </a:lnTo>
                <a:lnTo>
                  <a:pt x="9792" y="4675"/>
                </a:lnTo>
                <a:lnTo>
                  <a:pt x="9795" y="4672"/>
                </a:lnTo>
                <a:lnTo>
                  <a:pt x="9798" y="4670"/>
                </a:lnTo>
                <a:lnTo>
                  <a:pt x="9802" y="4668"/>
                </a:lnTo>
                <a:lnTo>
                  <a:pt x="9807" y="4667"/>
                </a:lnTo>
                <a:lnTo>
                  <a:pt x="9811" y="4666"/>
                </a:lnTo>
                <a:lnTo>
                  <a:pt x="9822" y="4666"/>
                </a:lnTo>
                <a:lnTo>
                  <a:pt x="9833" y="4666"/>
                </a:lnTo>
                <a:lnTo>
                  <a:pt x="9845" y="4666"/>
                </a:lnTo>
                <a:lnTo>
                  <a:pt x="9857" y="4665"/>
                </a:lnTo>
                <a:lnTo>
                  <a:pt x="9864" y="4664"/>
                </a:lnTo>
                <a:lnTo>
                  <a:pt x="9870" y="4663"/>
                </a:lnTo>
                <a:lnTo>
                  <a:pt x="9876" y="4661"/>
                </a:lnTo>
                <a:lnTo>
                  <a:pt x="9882" y="4658"/>
                </a:lnTo>
                <a:lnTo>
                  <a:pt x="9888" y="4654"/>
                </a:lnTo>
                <a:lnTo>
                  <a:pt x="9894" y="4650"/>
                </a:lnTo>
                <a:lnTo>
                  <a:pt x="9900" y="4644"/>
                </a:lnTo>
                <a:lnTo>
                  <a:pt x="9905" y="4638"/>
                </a:lnTo>
                <a:lnTo>
                  <a:pt x="9910" y="4630"/>
                </a:lnTo>
                <a:lnTo>
                  <a:pt x="9914" y="4621"/>
                </a:lnTo>
                <a:lnTo>
                  <a:pt x="9918" y="4610"/>
                </a:lnTo>
                <a:lnTo>
                  <a:pt x="9922" y="4597"/>
                </a:lnTo>
                <a:lnTo>
                  <a:pt x="9936" y="4598"/>
                </a:lnTo>
                <a:lnTo>
                  <a:pt x="9947" y="4601"/>
                </a:lnTo>
                <a:lnTo>
                  <a:pt x="9951" y="4602"/>
                </a:lnTo>
                <a:lnTo>
                  <a:pt x="9954" y="4604"/>
                </a:lnTo>
                <a:lnTo>
                  <a:pt x="9957" y="4606"/>
                </a:lnTo>
                <a:lnTo>
                  <a:pt x="9959" y="4608"/>
                </a:lnTo>
                <a:lnTo>
                  <a:pt x="9961" y="4610"/>
                </a:lnTo>
                <a:lnTo>
                  <a:pt x="9961" y="4613"/>
                </a:lnTo>
                <a:lnTo>
                  <a:pt x="9962" y="4615"/>
                </a:lnTo>
                <a:lnTo>
                  <a:pt x="9962" y="4618"/>
                </a:lnTo>
                <a:lnTo>
                  <a:pt x="9960" y="4624"/>
                </a:lnTo>
                <a:lnTo>
                  <a:pt x="9957" y="4630"/>
                </a:lnTo>
                <a:lnTo>
                  <a:pt x="9952" y="4636"/>
                </a:lnTo>
                <a:lnTo>
                  <a:pt x="9947" y="4641"/>
                </a:lnTo>
                <a:lnTo>
                  <a:pt x="9941" y="4647"/>
                </a:lnTo>
                <a:lnTo>
                  <a:pt x="9935" y="4651"/>
                </a:lnTo>
                <a:lnTo>
                  <a:pt x="9929" y="4655"/>
                </a:lnTo>
                <a:lnTo>
                  <a:pt x="9923" y="4659"/>
                </a:lnTo>
                <a:lnTo>
                  <a:pt x="9918" y="4661"/>
                </a:lnTo>
                <a:lnTo>
                  <a:pt x="9914" y="4661"/>
                </a:lnTo>
                <a:lnTo>
                  <a:pt x="9916" y="4663"/>
                </a:lnTo>
                <a:lnTo>
                  <a:pt x="9918" y="4666"/>
                </a:lnTo>
                <a:lnTo>
                  <a:pt x="9919" y="4669"/>
                </a:lnTo>
                <a:lnTo>
                  <a:pt x="9920" y="4673"/>
                </a:lnTo>
                <a:lnTo>
                  <a:pt x="9919" y="4683"/>
                </a:lnTo>
                <a:lnTo>
                  <a:pt x="9918" y="4694"/>
                </a:lnTo>
                <a:lnTo>
                  <a:pt x="9914" y="4717"/>
                </a:lnTo>
                <a:lnTo>
                  <a:pt x="9911" y="4736"/>
                </a:lnTo>
                <a:lnTo>
                  <a:pt x="9925" y="4735"/>
                </a:lnTo>
                <a:lnTo>
                  <a:pt x="9937" y="4733"/>
                </a:lnTo>
                <a:lnTo>
                  <a:pt x="9948" y="4731"/>
                </a:lnTo>
                <a:lnTo>
                  <a:pt x="9958" y="4727"/>
                </a:lnTo>
                <a:lnTo>
                  <a:pt x="9966" y="4723"/>
                </a:lnTo>
                <a:lnTo>
                  <a:pt x="9974" y="4718"/>
                </a:lnTo>
                <a:lnTo>
                  <a:pt x="9981" y="4713"/>
                </a:lnTo>
                <a:lnTo>
                  <a:pt x="9988" y="4708"/>
                </a:lnTo>
                <a:lnTo>
                  <a:pt x="10000" y="4698"/>
                </a:lnTo>
                <a:lnTo>
                  <a:pt x="10014" y="4687"/>
                </a:lnTo>
                <a:lnTo>
                  <a:pt x="10022" y="4683"/>
                </a:lnTo>
                <a:lnTo>
                  <a:pt x="10030" y="4678"/>
                </a:lnTo>
                <a:lnTo>
                  <a:pt x="10039" y="4675"/>
                </a:lnTo>
                <a:lnTo>
                  <a:pt x="10049" y="4672"/>
                </a:lnTo>
                <a:lnTo>
                  <a:pt x="10046" y="4684"/>
                </a:lnTo>
                <a:lnTo>
                  <a:pt x="10042" y="4696"/>
                </a:lnTo>
                <a:lnTo>
                  <a:pt x="10036" y="4706"/>
                </a:lnTo>
                <a:lnTo>
                  <a:pt x="10031" y="4715"/>
                </a:lnTo>
                <a:lnTo>
                  <a:pt x="10019" y="4733"/>
                </a:lnTo>
                <a:lnTo>
                  <a:pt x="10008" y="4749"/>
                </a:lnTo>
                <a:lnTo>
                  <a:pt x="10004" y="4756"/>
                </a:lnTo>
                <a:lnTo>
                  <a:pt x="10002" y="4764"/>
                </a:lnTo>
                <a:lnTo>
                  <a:pt x="10001" y="4771"/>
                </a:lnTo>
                <a:lnTo>
                  <a:pt x="10002" y="4779"/>
                </a:lnTo>
                <a:lnTo>
                  <a:pt x="10006" y="4788"/>
                </a:lnTo>
                <a:lnTo>
                  <a:pt x="10012" y="4797"/>
                </a:lnTo>
                <a:lnTo>
                  <a:pt x="10022" y="4806"/>
                </a:lnTo>
                <a:lnTo>
                  <a:pt x="10035" y="4817"/>
                </a:lnTo>
                <a:lnTo>
                  <a:pt x="10050" y="4829"/>
                </a:lnTo>
                <a:lnTo>
                  <a:pt x="10065" y="4842"/>
                </a:lnTo>
                <a:lnTo>
                  <a:pt x="10078" y="4857"/>
                </a:lnTo>
                <a:lnTo>
                  <a:pt x="10089" y="4871"/>
                </a:lnTo>
                <a:lnTo>
                  <a:pt x="10094" y="4878"/>
                </a:lnTo>
                <a:lnTo>
                  <a:pt x="10098" y="4886"/>
                </a:lnTo>
                <a:lnTo>
                  <a:pt x="10101" y="4894"/>
                </a:lnTo>
                <a:lnTo>
                  <a:pt x="10103" y="4902"/>
                </a:lnTo>
                <a:lnTo>
                  <a:pt x="10105" y="4910"/>
                </a:lnTo>
                <a:lnTo>
                  <a:pt x="10105" y="4919"/>
                </a:lnTo>
                <a:lnTo>
                  <a:pt x="10104" y="4927"/>
                </a:lnTo>
                <a:lnTo>
                  <a:pt x="10101" y="4936"/>
                </a:lnTo>
                <a:lnTo>
                  <a:pt x="10110" y="4936"/>
                </a:lnTo>
                <a:lnTo>
                  <a:pt x="10119" y="4937"/>
                </a:lnTo>
                <a:lnTo>
                  <a:pt x="10127" y="4939"/>
                </a:lnTo>
                <a:lnTo>
                  <a:pt x="10135" y="4941"/>
                </a:lnTo>
                <a:lnTo>
                  <a:pt x="10142" y="4943"/>
                </a:lnTo>
                <a:lnTo>
                  <a:pt x="10150" y="4946"/>
                </a:lnTo>
                <a:lnTo>
                  <a:pt x="10156" y="4949"/>
                </a:lnTo>
                <a:lnTo>
                  <a:pt x="10162" y="4953"/>
                </a:lnTo>
                <a:lnTo>
                  <a:pt x="10168" y="4957"/>
                </a:lnTo>
                <a:lnTo>
                  <a:pt x="10173" y="4962"/>
                </a:lnTo>
                <a:lnTo>
                  <a:pt x="10177" y="4967"/>
                </a:lnTo>
                <a:lnTo>
                  <a:pt x="10182" y="4973"/>
                </a:lnTo>
                <a:lnTo>
                  <a:pt x="10189" y="4986"/>
                </a:lnTo>
                <a:lnTo>
                  <a:pt x="10195" y="5000"/>
                </a:lnTo>
                <a:lnTo>
                  <a:pt x="10199" y="5015"/>
                </a:lnTo>
                <a:lnTo>
                  <a:pt x="10202" y="5031"/>
                </a:lnTo>
                <a:lnTo>
                  <a:pt x="10204" y="5048"/>
                </a:lnTo>
                <a:lnTo>
                  <a:pt x="10205" y="5067"/>
                </a:lnTo>
                <a:lnTo>
                  <a:pt x="10204" y="5086"/>
                </a:lnTo>
                <a:lnTo>
                  <a:pt x="10202" y="5107"/>
                </a:lnTo>
                <a:lnTo>
                  <a:pt x="10200" y="5127"/>
                </a:lnTo>
                <a:lnTo>
                  <a:pt x="10197" y="5148"/>
                </a:lnTo>
                <a:lnTo>
                  <a:pt x="10215" y="5148"/>
                </a:lnTo>
                <a:lnTo>
                  <a:pt x="10228" y="5148"/>
                </a:lnTo>
                <a:lnTo>
                  <a:pt x="10233" y="5147"/>
                </a:lnTo>
                <a:lnTo>
                  <a:pt x="10238" y="5146"/>
                </a:lnTo>
                <a:lnTo>
                  <a:pt x="10241" y="5145"/>
                </a:lnTo>
                <a:lnTo>
                  <a:pt x="10244" y="5143"/>
                </a:lnTo>
                <a:lnTo>
                  <a:pt x="10246" y="5140"/>
                </a:lnTo>
                <a:lnTo>
                  <a:pt x="10247" y="5137"/>
                </a:lnTo>
                <a:lnTo>
                  <a:pt x="10248" y="5132"/>
                </a:lnTo>
                <a:lnTo>
                  <a:pt x="10249" y="5127"/>
                </a:lnTo>
                <a:lnTo>
                  <a:pt x="10249" y="5114"/>
                </a:lnTo>
                <a:lnTo>
                  <a:pt x="10249" y="5095"/>
                </a:lnTo>
                <a:lnTo>
                  <a:pt x="10259" y="5098"/>
                </a:lnTo>
                <a:lnTo>
                  <a:pt x="10267" y="5102"/>
                </a:lnTo>
                <a:lnTo>
                  <a:pt x="10275" y="5107"/>
                </a:lnTo>
                <a:lnTo>
                  <a:pt x="10280" y="5112"/>
                </a:lnTo>
                <a:lnTo>
                  <a:pt x="10284" y="5117"/>
                </a:lnTo>
                <a:lnTo>
                  <a:pt x="10287" y="5122"/>
                </a:lnTo>
                <a:lnTo>
                  <a:pt x="10289" y="5127"/>
                </a:lnTo>
                <a:lnTo>
                  <a:pt x="10289" y="5133"/>
                </a:lnTo>
                <a:lnTo>
                  <a:pt x="10289" y="5138"/>
                </a:lnTo>
                <a:lnTo>
                  <a:pt x="10287" y="5143"/>
                </a:lnTo>
                <a:lnTo>
                  <a:pt x="10283" y="5147"/>
                </a:lnTo>
                <a:lnTo>
                  <a:pt x="10279" y="5151"/>
                </a:lnTo>
                <a:lnTo>
                  <a:pt x="10274" y="5154"/>
                </a:lnTo>
                <a:lnTo>
                  <a:pt x="10266" y="5157"/>
                </a:lnTo>
                <a:lnTo>
                  <a:pt x="10258" y="5158"/>
                </a:lnTo>
                <a:lnTo>
                  <a:pt x="10249" y="5159"/>
                </a:lnTo>
                <a:lnTo>
                  <a:pt x="10245" y="5168"/>
                </a:lnTo>
                <a:lnTo>
                  <a:pt x="10239" y="5176"/>
                </a:lnTo>
                <a:lnTo>
                  <a:pt x="10233" y="5184"/>
                </a:lnTo>
                <a:lnTo>
                  <a:pt x="10227" y="5191"/>
                </a:lnTo>
                <a:lnTo>
                  <a:pt x="10221" y="5198"/>
                </a:lnTo>
                <a:lnTo>
                  <a:pt x="10214" y="5204"/>
                </a:lnTo>
                <a:lnTo>
                  <a:pt x="10206" y="5210"/>
                </a:lnTo>
                <a:lnTo>
                  <a:pt x="10199" y="5215"/>
                </a:lnTo>
                <a:lnTo>
                  <a:pt x="10183" y="5224"/>
                </a:lnTo>
                <a:lnTo>
                  <a:pt x="10166" y="5233"/>
                </a:lnTo>
                <a:lnTo>
                  <a:pt x="10147" y="5239"/>
                </a:lnTo>
                <a:lnTo>
                  <a:pt x="10128" y="5244"/>
                </a:lnTo>
                <a:lnTo>
                  <a:pt x="10109" y="5247"/>
                </a:lnTo>
                <a:lnTo>
                  <a:pt x="10089" y="5250"/>
                </a:lnTo>
                <a:lnTo>
                  <a:pt x="10070" y="5252"/>
                </a:lnTo>
                <a:lnTo>
                  <a:pt x="10050" y="5253"/>
                </a:lnTo>
                <a:lnTo>
                  <a:pt x="10011" y="5254"/>
                </a:lnTo>
                <a:lnTo>
                  <a:pt x="9974" y="5254"/>
                </a:lnTo>
                <a:lnTo>
                  <a:pt x="9974" y="5241"/>
                </a:lnTo>
                <a:lnTo>
                  <a:pt x="9973" y="5228"/>
                </a:lnTo>
                <a:lnTo>
                  <a:pt x="9972" y="5217"/>
                </a:lnTo>
                <a:lnTo>
                  <a:pt x="9970" y="5209"/>
                </a:lnTo>
                <a:lnTo>
                  <a:pt x="9968" y="5201"/>
                </a:lnTo>
                <a:lnTo>
                  <a:pt x="9965" y="5195"/>
                </a:lnTo>
                <a:lnTo>
                  <a:pt x="9962" y="5190"/>
                </a:lnTo>
                <a:lnTo>
                  <a:pt x="9958" y="5187"/>
                </a:lnTo>
                <a:lnTo>
                  <a:pt x="9952" y="5184"/>
                </a:lnTo>
                <a:lnTo>
                  <a:pt x="9946" y="5183"/>
                </a:lnTo>
                <a:lnTo>
                  <a:pt x="9939" y="5182"/>
                </a:lnTo>
                <a:lnTo>
                  <a:pt x="9932" y="5183"/>
                </a:lnTo>
                <a:lnTo>
                  <a:pt x="9912" y="5187"/>
                </a:lnTo>
                <a:lnTo>
                  <a:pt x="9888" y="5193"/>
                </a:lnTo>
                <a:close/>
                <a:moveTo>
                  <a:pt x="9889" y="5286"/>
                </a:moveTo>
                <a:lnTo>
                  <a:pt x="9889" y="5290"/>
                </a:lnTo>
                <a:lnTo>
                  <a:pt x="9887" y="5295"/>
                </a:lnTo>
                <a:lnTo>
                  <a:pt x="9884" y="5299"/>
                </a:lnTo>
                <a:lnTo>
                  <a:pt x="9881" y="5303"/>
                </a:lnTo>
                <a:lnTo>
                  <a:pt x="9877" y="5307"/>
                </a:lnTo>
                <a:lnTo>
                  <a:pt x="9872" y="5310"/>
                </a:lnTo>
                <a:lnTo>
                  <a:pt x="9867" y="5312"/>
                </a:lnTo>
                <a:lnTo>
                  <a:pt x="9862" y="5314"/>
                </a:lnTo>
                <a:lnTo>
                  <a:pt x="9856" y="5315"/>
                </a:lnTo>
                <a:lnTo>
                  <a:pt x="9851" y="5315"/>
                </a:lnTo>
                <a:lnTo>
                  <a:pt x="9845" y="5315"/>
                </a:lnTo>
                <a:lnTo>
                  <a:pt x="9840" y="5313"/>
                </a:lnTo>
                <a:lnTo>
                  <a:pt x="9836" y="5311"/>
                </a:lnTo>
                <a:lnTo>
                  <a:pt x="9832" y="5307"/>
                </a:lnTo>
                <a:lnTo>
                  <a:pt x="9829" y="5302"/>
                </a:lnTo>
                <a:lnTo>
                  <a:pt x="9826" y="5296"/>
                </a:lnTo>
                <a:lnTo>
                  <a:pt x="9830" y="5297"/>
                </a:lnTo>
                <a:lnTo>
                  <a:pt x="9833" y="5297"/>
                </a:lnTo>
                <a:lnTo>
                  <a:pt x="9835" y="5297"/>
                </a:lnTo>
                <a:lnTo>
                  <a:pt x="9837" y="5296"/>
                </a:lnTo>
                <a:lnTo>
                  <a:pt x="9838" y="5294"/>
                </a:lnTo>
                <a:lnTo>
                  <a:pt x="9838" y="5292"/>
                </a:lnTo>
                <a:lnTo>
                  <a:pt x="9837" y="5289"/>
                </a:lnTo>
                <a:lnTo>
                  <a:pt x="9836" y="5286"/>
                </a:lnTo>
                <a:lnTo>
                  <a:pt x="9850" y="5286"/>
                </a:lnTo>
                <a:lnTo>
                  <a:pt x="9863" y="5286"/>
                </a:lnTo>
                <a:lnTo>
                  <a:pt x="9876" y="5286"/>
                </a:lnTo>
                <a:lnTo>
                  <a:pt x="9889" y="5286"/>
                </a:lnTo>
                <a:close/>
                <a:moveTo>
                  <a:pt x="10684" y="6122"/>
                </a:moveTo>
                <a:lnTo>
                  <a:pt x="10687" y="6135"/>
                </a:lnTo>
                <a:lnTo>
                  <a:pt x="10691" y="6145"/>
                </a:lnTo>
                <a:lnTo>
                  <a:pt x="10694" y="6153"/>
                </a:lnTo>
                <a:lnTo>
                  <a:pt x="10697" y="6159"/>
                </a:lnTo>
                <a:lnTo>
                  <a:pt x="10699" y="6163"/>
                </a:lnTo>
                <a:lnTo>
                  <a:pt x="10702" y="6165"/>
                </a:lnTo>
                <a:lnTo>
                  <a:pt x="10704" y="6165"/>
                </a:lnTo>
                <a:lnTo>
                  <a:pt x="10706" y="6164"/>
                </a:lnTo>
                <a:lnTo>
                  <a:pt x="10708" y="6161"/>
                </a:lnTo>
                <a:lnTo>
                  <a:pt x="10710" y="6156"/>
                </a:lnTo>
                <a:lnTo>
                  <a:pt x="10712" y="6150"/>
                </a:lnTo>
                <a:lnTo>
                  <a:pt x="10713" y="6142"/>
                </a:lnTo>
                <a:lnTo>
                  <a:pt x="10715" y="6124"/>
                </a:lnTo>
                <a:lnTo>
                  <a:pt x="10715" y="6100"/>
                </a:lnTo>
                <a:lnTo>
                  <a:pt x="10719" y="6101"/>
                </a:lnTo>
                <a:lnTo>
                  <a:pt x="10723" y="6102"/>
                </a:lnTo>
                <a:lnTo>
                  <a:pt x="10726" y="6105"/>
                </a:lnTo>
                <a:lnTo>
                  <a:pt x="10729" y="6108"/>
                </a:lnTo>
                <a:lnTo>
                  <a:pt x="10732" y="6114"/>
                </a:lnTo>
                <a:lnTo>
                  <a:pt x="10735" y="6119"/>
                </a:lnTo>
                <a:lnTo>
                  <a:pt x="10738" y="6124"/>
                </a:lnTo>
                <a:lnTo>
                  <a:pt x="10740" y="6131"/>
                </a:lnTo>
                <a:lnTo>
                  <a:pt x="10743" y="6145"/>
                </a:lnTo>
                <a:lnTo>
                  <a:pt x="10745" y="6160"/>
                </a:lnTo>
                <a:lnTo>
                  <a:pt x="10745" y="6177"/>
                </a:lnTo>
                <a:lnTo>
                  <a:pt x="10744" y="6193"/>
                </a:lnTo>
                <a:lnTo>
                  <a:pt x="10742" y="6201"/>
                </a:lnTo>
                <a:lnTo>
                  <a:pt x="10740" y="6209"/>
                </a:lnTo>
                <a:lnTo>
                  <a:pt x="10738" y="6217"/>
                </a:lnTo>
                <a:lnTo>
                  <a:pt x="10735" y="6224"/>
                </a:lnTo>
                <a:lnTo>
                  <a:pt x="10731" y="6231"/>
                </a:lnTo>
                <a:lnTo>
                  <a:pt x="10727" y="6239"/>
                </a:lnTo>
                <a:lnTo>
                  <a:pt x="10723" y="6245"/>
                </a:lnTo>
                <a:lnTo>
                  <a:pt x="10718" y="6250"/>
                </a:lnTo>
                <a:lnTo>
                  <a:pt x="10712" y="6254"/>
                </a:lnTo>
                <a:lnTo>
                  <a:pt x="10705" y="6258"/>
                </a:lnTo>
                <a:lnTo>
                  <a:pt x="10698" y="6261"/>
                </a:lnTo>
                <a:lnTo>
                  <a:pt x="10690" y="6263"/>
                </a:lnTo>
                <a:lnTo>
                  <a:pt x="10682" y="6264"/>
                </a:lnTo>
                <a:lnTo>
                  <a:pt x="10673" y="6264"/>
                </a:lnTo>
                <a:lnTo>
                  <a:pt x="10663" y="6262"/>
                </a:lnTo>
                <a:lnTo>
                  <a:pt x="10652" y="6259"/>
                </a:lnTo>
                <a:lnTo>
                  <a:pt x="10649" y="6217"/>
                </a:lnTo>
                <a:lnTo>
                  <a:pt x="10644" y="6172"/>
                </a:lnTo>
                <a:lnTo>
                  <a:pt x="10644" y="6162"/>
                </a:lnTo>
                <a:lnTo>
                  <a:pt x="10646" y="6153"/>
                </a:lnTo>
                <a:lnTo>
                  <a:pt x="10649" y="6144"/>
                </a:lnTo>
                <a:lnTo>
                  <a:pt x="10653" y="6137"/>
                </a:lnTo>
                <a:lnTo>
                  <a:pt x="10655" y="6134"/>
                </a:lnTo>
                <a:lnTo>
                  <a:pt x="10658" y="6131"/>
                </a:lnTo>
                <a:lnTo>
                  <a:pt x="10661" y="6128"/>
                </a:lnTo>
                <a:lnTo>
                  <a:pt x="10665" y="6126"/>
                </a:lnTo>
                <a:lnTo>
                  <a:pt x="10669" y="6124"/>
                </a:lnTo>
                <a:lnTo>
                  <a:pt x="10673" y="6123"/>
                </a:lnTo>
                <a:lnTo>
                  <a:pt x="10678" y="6122"/>
                </a:lnTo>
                <a:lnTo>
                  <a:pt x="10684" y="6122"/>
                </a:lnTo>
                <a:close/>
                <a:moveTo>
                  <a:pt x="10663" y="5973"/>
                </a:moveTo>
                <a:lnTo>
                  <a:pt x="10680" y="5980"/>
                </a:lnTo>
                <a:lnTo>
                  <a:pt x="10694" y="5984"/>
                </a:lnTo>
                <a:lnTo>
                  <a:pt x="10700" y="5986"/>
                </a:lnTo>
                <a:lnTo>
                  <a:pt x="10706" y="5986"/>
                </a:lnTo>
                <a:lnTo>
                  <a:pt x="10711" y="5986"/>
                </a:lnTo>
                <a:lnTo>
                  <a:pt x="10715" y="5984"/>
                </a:lnTo>
                <a:lnTo>
                  <a:pt x="10719" y="5982"/>
                </a:lnTo>
                <a:lnTo>
                  <a:pt x="10722" y="5980"/>
                </a:lnTo>
                <a:lnTo>
                  <a:pt x="10724" y="5977"/>
                </a:lnTo>
                <a:lnTo>
                  <a:pt x="10726" y="5973"/>
                </a:lnTo>
                <a:lnTo>
                  <a:pt x="10727" y="5969"/>
                </a:lnTo>
                <a:lnTo>
                  <a:pt x="10727" y="5964"/>
                </a:lnTo>
                <a:lnTo>
                  <a:pt x="10727" y="5958"/>
                </a:lnTo>
                <a:lnTo>
                  <a:pt x="10726" y="5952"/>
                </a:lnTo>
                <a:lnTo>
                  <a:pt x="10736" y="5956"/>
                </a:lnTo>
                <a:lnTo>
                  <a:pt x="10744" y="5961"/>
                </a:lnTo>
                <a:lnTo>
                  <a:pt x="10746" y="5964"/>
                </a:lnTo>
                <a:lnTo>
                  <a:pt x="10748" y="5966"/>
                </a:lnTo>
                <a:lnTo>
                  <a:pt x="10750" y="5969"/>
                </a:lnTo>
                <a:lnTo>
                  <a:pt x="10751" y="5972"/>
                </a:lnTo>
                <a:lnTo>
                  <a:pt x="10752" y="5978"/>
                </a:lnTo>
                <a:lnTo>
                  <a:pt x="10750" y="5986"/>
                </a:lnTo>
                <a:lnTo>
                  <a:pt x="10748" y="5993"/>
                </a:lnTo>
                <a:lnTo>
                  <a:pt x="10744" y="6000"/>
                </a:lnTo>
                <a:lnTo>
                  <a:pt x="10734" y="6016"/>
                </a:lnTo>
                <a:lnTo>
                  <a:pt x="10722" y="6033"/>
                </a:lnTo>
                <a:lnTo>
                  <a:pt x="10717" y="6042"/>
                </a:lnTo>
                <a:lnTo>
                  <a:pt x="10712" y="6051"/>
                </a:lnTo>
                <a:lnTo>
                  <a:pt x="10708" y="6060"/>
                </a:lnTo>
                <a:lnTo>
                  <a:pt x="10705" y="6069"/>
                </a:lnTo>
                <a:lnTo>
                  <a:pt x="10694" y="6057"/>
                </a:lnTo>
                <a:lnTo>
                  <a:pt x="10687" y="6047"/>
                </a:lnTo>
                <a:lnTo>
                  <a:pt x="10682" y="6038"/>
                </a:lnTo>
                <a:lnTo>
                  <a:pt x="10679" y="6028"/>
                </a:lnTo>
                <a:lnTo>
                  <a:pt x="10673" y="6006"/>
                </a:lnTo>
                <a:lnTo>
                  <a:pt x="10663" y="5973"/>
                </a:lnTo>
                <a:close/>
                <a:moveTo>
                  <a:pt x="10768" y="6503"/>
                </a:moveTo>
                <a:lnTo>
                  <a:pt x="10768" y="6495"/>
                </a:lnTo>
                <a:lnTo>
                  <a:pt x="10768" y="6486"/>
                </a:lnTo>
                <a:lnTo>
                  <a:pt x="10768" y="6478"/>
                </a:lnTo>
                <a:lnTo>
                  <a:pt x="10768" y="6470"/>
                </a:lnTo>
                <a:lnTo>
                  <a:pt x="10776" y="6473"/>
                </a:lnTo>
                <a:lnTo>
                  <a:pt x="10784" y="6477"/>
                </a:lnTo>
                <a:lnTo>
                  <a:pt x="10792" y="6483"/>
                </a:lnTo>
                <a:lnTo>
                  <a:pt x="10801" y="6491"/>
                </a:lnTo>
                <a:lnTo>
                  <a:pt x="10810" y="6500"/>
                </a:lnTo>
                <a:lnTo>
                  <a:pt x="10819" y="6510"/>
                </a:lnTo>
                <a:lnTo>
                  <a:pt x="10828" y="6521"/>
                </a:lnTo>
                <a:lnTo>
                  <a:pt x="10837" y="6533"/>
                </a:lnTo>
                <a:lnTo>
                  <a:pt x="10855" y="6560"/>
                </a:lnTo>
                <a:lnTo>
                  <a:pt x="10874" y="6591"/>
                </a:lnTo>
                <a:lnTo>
                  <a:pt x="10892" y="6624"/>
                </a:lnTo>
                <a:lnTo>
                  <a:pt x="10910" y="6658"/>
                </a:lnTo>
                <a:lnTo>
                  <a:pt x="10926" y="6692"/>
                </a:lnTo>
                <a:lnTo>
                  <a:pt x="10940" y="6726"/>
                </a:lnTo>
                <a:lnTo>
                  <a:pt x="10953" y="6760"/>
                </a:lnTo>
                <a:lnTo>
                  <a:pt x="10964" y="6792"/>
                </a:lnTo>
                <a:lnTo>
                  <a:pt x="10972" y="6820"/>
                </a:lnTo>
                <a:lnTo>
                  <a:pt x="10978" y="6846"/>
                </a:lnTo>
                <a:lnTo>
                  <a:pt x="10980" y="6857"/>
                </a:lnTo>
                <a:lnTo>
                  <a:pt x="10981" y="6868"/>
                </a:lnTo>
                <a:lnTo>
                  <a:pt x="10981" y="6877"/>
                </a:lnTo>
                <a:lnTo>
                  <a:pt x="10980" y="6884"/>
                </a:lnTo>
                <a:lnTo>
                  <a:pt x="11002" y="6884"/>
                </a:lnTo>
                <a:lnTo>
                  <a:pt x="11024" y="6883"/>
                </a:lnTo>
                <a:lnTo>
                  <a:pt x="11047" y="6881"/>
                </a:lnTo>
                <a:lnTo>
                  <a:pt x="11067" y="6880"/>
                </a:lnTo>
                <a:lnTo>
                  <a:pt x="11087" y="6880"/>
                </a:lnTo>
                <a:lnTo>
                  <a:pt x="11105" y="6880"/>
                </a:lnTo>
                <a:lnTo>
                  <a:pt x="11123" y="6881"/>
                </a:lnTo>
                <a:lnTo>
                  <a:pt x="11138" y="6884"/>
                </a:lnTo>
                <a:lnTo>
                  <a:pt x="11139" y="6890"/>
                </a:lnTo>
                <a:lnTo>
                  <a:pt x="11140" y="6896"/>
                </a:lnTo>
                <a:lnTo>
                  <a:pt x="11142" y="6902"/>
                </a:lnTo>
                <a:lnTo>
                  <a:pt x="11144" y="6907"/>
                </a:lnTo>
                <a:lnTo>
                  <a:pt x="11147" y="6912"/>
                </a:lnTo>
                <a:lnTo>
                  <a:pt x="11150" y="6917"/>
                </a:lnTo>
                <a:lnTo>
                  <a:pt x="11156" y="6922"/>
                </a:lnTo>
                <a:lnTo>
                  <a:pt x="11160" y="6926"/>
                </a:lnTo>
                <a:lnTo>
                  <a:pt x="11171" y="6934"/>
                </a:lnTo>
                <a:lnTo>
                  <a:pt x="11183" y="6941"/>
                </a:lnTo>
                <a:lnTo>
                  <a:pt x="11196" y="6947"/>
                </a:lnTo>
                <a:lnTo>
                  <a:pt x="11210" y="6952"/>
                </a:lnTo>
                <a:lnTo>
                  <a:pt x="11225" y="6957"/>
                </a:lnTo>
                <a:lnTo>
                  <a:pt x="11241" y="6961"/>
                </a:lnTo>
                <a:lnTo>
                  <a:pt x="11256" y="6964"/>
                </a:lnTo>
                <a:lnTo>
                  <a:pt x="11271" y="6966"/>
                </a:lnTo>
                <a:lnTo>
                  <a:pt x="11301" y="6970"/>
                </a:lnTo>
                <a:lnTo>
                  <a:pt x="11326" y="6971"/>
                </a:lnTo>
                <a:lnTo>
                  <a:pt x="11343" y="6972"/>
                </a:lnTo>
                <a:lnTo>
                  <a:pt x="11363" y="6972"/>
                </a:lnTo>
                <a:lnTo>
                  <a:pt x="11385" y="6972"/>
                </a:lnTo>
                <a:lnTo>
                  <a:pt x="11411" y="6970"/>
                </a:lnTo>
                <a:lnTo>
                  <a:pt x="11436" y="6968"/>
                </a:lnTo>
                <a:lnTo>
                  <a:pt x="11463" y="6965"/>
                </a:lnTo>
                <a:lnTo>
                  <a:pt x="11490" y="6961"/>
                </a:lnTo>
                <a:lnTo>
                  <a:pt x="11516" y="6955"/>
                </a:lnTo>
                <a:lnTo>
                  <a:pt x="11543" y="6948"/>
                </a:lnTo>
                <a:lnTo>
                  <a:pt x="11567" y="6940"/>
                </a:lnTo>
                <a:lnTo>
                  <a:pt x="11578" y="6935"/>
                </a:lnTo>
                <a:lnTo>
                  <a:pt x="11588" y="6930"/>
                </a:lnTo>
                <a:lnTo>
                  <a:pt x="11598" y="6924"/>
                </a:lnTo>
                <a:lnTo>
                  <a:pt x="11608" y="6918"/>
                </a:lnTo>
                <a:lnTo>
                  <a:pt x="11616" y="6912"/>
                </a:lnTo>
                <a:lnTo>
                  <a:pt x="11624" y="6905"/>
                </a:lnTo>
                <a:lnTo>
                  <a:pt x="11630" y="6898"/>
                </a:lnTo>
                <a:lnTo>
                  <a:pt x="11636" y="6890"/>
                </a:lnTo>
                <a:lnTo>
                  <a:pt x="11640" y="6881"/>
                </a:lnTo>
                <a:lnTo>
                  <a:pt x="11643" y="6872"/>
                </a:lnTo>
                <a:lnTo>
                  <a:pt x="11645" y="6861"/>
                </a:lnTo>
                <a:lnTo>
                  <a:pt x="11646" y="6851"/>
                </a:lnTo>
                <a:lnTo>
                  <a:pt x="11659" y="6852"/>
                </a:lnTo>
                <a:lnTo>
                  <a:pt x="11670" y="6853"/>
                </a:lnTo>
                <a:lnTo>
                  <a:pt x="11681" y="6856"/>
                </a:lnTo>
                <a:lnTo>
                  <a:pt x="11691" y="6859"/>
                </a:lnTo>
                <a:lnTo>
                  <a:pt x="11701" y="6864"/>
                </a:lnTo>
                <a:lnTo>
                  <a:pt x="11711" y="6870"/>
                </a:lnTo>
                <a:lnTo>
                  <a:pt x="11719" y="6876"/>
                </a:lnTo>
                <a:lnTo>
                  <a:pt x="11727" y="6883"/>
                </a:lnTo>
                <a:lnTo>
                  <a:pt x="11734" y="6891"/>
                </a:lnTo>
                <a:lnTo>
                  <a:pt x="11741" y="6900"/>
                </a:lnTo>
                <a:lnTo>
                  <a:pt x="11746" y="6909"/>
                </a:lnTo>
                <a:lnTo>
                  <a:pt x="11750" y="6920"/>
                </a:lnTo>
                <a:lnTo>
                  <a:pt x="11752" y="6931"/>
                </a:lnTo>
                <a:lnTo>
                  <a:pt x="11754" y="6942"/>
                </a:lnTo>
                <a:lnTo>
                  <a:pt x="11754" y="6955"/>
                </a:lnTo>
                <a:lnTo>
                  <a:pt x="11752" y="6968"/>
                </a:lnTo>
                <a:lnTo>
                  <a:pt x="11795" y="6971"/>
                </a:lnTo>
                <a:lnTo>
                  <a:pt x="11860" y="6975"/>
                </a:lnTo>
                <a:lnTo>
                  <a:pt x="11898" y="6978"/>
                </a:lnTo>
                <a:lnTo>
                  <a:pt x="11939" y="6981"/>
                </a:lnTo>
                <a:lnTo>
                  <a:pt x="11981" y="6985"/>
                </a:lnTo>
                <a:lnTo>
                  <a:pt x="12023" y="6990"/>
                </a:lnTo>
                <a:lnTo>
                  <a:pt x="12065" y="6997"/>
                </a:lnTo>
                <a:lnTo>
                  <a:pt x="12103" y="7004"/>
                </a:lnTo>
                <a:lnTo>
                  <a:pt x="12121" y="7007"/>
                </a:lnTo>
                <a:lnTo>
                  <a:pt x="12137" y="7012"/>
                </a:lnTo>
                <a:lnTo>
                  <a:pt x="12153" y="7016"/>
                </a:lnTo>
                <a:lnTo>
                  <a:pt x="12168" y="7021"/>
                </a:lnTo>
                <a:lnTo>
                  <a:pt x="12181" y="7026"/>
                </a:lnTo>
                <a:lnTo>
                  <a:pt x="12193" y="7032"/>
                </a:lnTo>
                <a:lnTo>
                  <a:pt x="12202" y="7038"/>
                </a:lnTo>
                <a:lnTo>
                  <a:pt x="12210" y="7044"/>
                </a:lnTo>
                <a:lnTo>
                  <a:pt x="12215" y="7051"/>
                </a:lnTo>
                <a:lnTo>
                  <a:pt x="12218" y="7058"/>
                </a:lnTo>
                <a:lnTo>
                  <a:pt x="12219" y="7066"/>
                </a:lnTo>
                <a:lnTo>
                  <a:pt x="12218" y="7074"/>
                </a:lnTo>
                <a:lnTo>
                  <a:pt x="12223" y="7074"/>
                </a:lnTo>
                <a:lnTo>
                  <a:pt x="12229" y="7075"/>
                </a:lnTo>
                <a:lnTo>
                  <a:pt x="12234" y="7076"/>
                </a:lnTo>
                <a:lnTo>
                  <a:pt x="12239" y="7078"/>
                </a:lnTo>
                <a:lnTo>
                  <a:pt x="12248" y="7083"/>
                </a:lnTo>
                <a:lnTo>
                  <a:pt x="12257" y="7090"/>
                </a:lnTo>
                <a:lnTo>
                  <a:pt x="12265" y="7098"/>
                </a:lnTo>
                <a:lnTo>
                  <a:pt x="12272" y="7107"/>
                </a:lnTo>
                <a:lnTo>
                  <a:pt x="12280" y="7117"/>
                </a:lnTo>
                <a:lnTo>
                  <a:pt x="12288" y="7127"/>
                </a:lnTo>
                <a:lnTo>
                  <a:pt x="12295" y="7137"/>
                </a:lnTo>
                <a:lnTo>
                  <a:pt x="12302" y="7147"/>
                </a:lnTo>
                <a:lnTo>
                  <a:pt x="12310" y="7156"/>
                </a:lnTo>
                <a:lnTo>
                  <a:pt x="12318" y="7164"/>
                </a:lnTo>
                <a:lnTo>
                  <a:pt x="12326" y="7170"/>
                </a:lnTo>
                <a:lnTo>
                  <a:pt x="12335" y="7176"/>
                </a:lnTo>
                <a:lnTo>
                  <a:pt x="12340" y="7177"/>
                </a:lnTo>
                <a:lnTo>
                  <a:pt x="12345" y="7179"/>
                </a:lnTo>
                <a:lnTo>
                  <a:pt x="12350" y="7180"/>
                </a:lnTo>
                <a:lnTo>
                  <a:pt x="12356" y="7180"/>
                </a:lnTo>
                <a:lnTo>
                  <a:pt x="12355" y="7187"/>
                </a:lnTo>
                <a:lnTo>
                  <a:pt x="12354" y="7195"/>
                </a:lnTo>
                <a:lnTo>
                  <a:pt x="12355" y="7203"/>
                </a:lnTo>
                <a:lnTo>
                  <a:pt x="12355" y="7212"/>
                </a:lnTo>
                <a:lnTo>
                  <a:pt x="12358" y="7231"/>
                </a:lnTo>
                <a:lnTo>
                  <a:pt x="12363" y="7253"/>
                </a:lnTo>
                <a:lnTo>
                  <a:pt x="12369" y="7274"/>
                </a:lnTo>
                <a:lnTo>
                  <a:pt x="12377" y="7296"/>
                </a:lnTo>
                <a:lnTo>
                  <a:pt x="12386" y="7318"/>
                </a:lnTo>
                <a:lnTo>
                  <a:pt x="12395" y="7339"/>
                </a:lnTo>
                <a:lnTo>
                  <a:pt x="12406" y="7360"/>
                </a:lnTo>
                <a:lnTo>
                  <a:pt x="12419" y="7381"/>
                </a:lnTo>
                <a:lnTo>
                  <a:pt x="12431" y="7398"/>
                </a:lnTo>
                <a:lnTo>
                  <a:pt x="12443" y="7414"/>
                </a:lnTo>
                <a:lnTo>
                  <a:pt x="12450" y="7420"/>
                </a:lnTo>
                <a:lnTo>
                  <a:pt x="12456" y="7426"/>
                </a:lnTo>
                <a:lnTo>
                  <a:pt x="12462" y="7432"/>
                </a:lnTo>
                <a:lnTo>
                  <a:pt x="12468" y="7436"/>
                </a:lnTo>
                <a:lnTo>
                  <a:pt x="12475" y="7440"/>
                </a:lnTo>
                <a:lnTo>
                  <a:pt x="12481" y="7442"/>
                </a:lnTo>
                <a:lnTo>
                  <a:pt x="12487" y="7444"/>
                </a:lnTo>
                <a:lnTo>
                  <a:pt x="12493" y="7444"/>
                </a:lnTo>
                <a:lnTo>
                  <a:pt x="12494" y="7457"/>
                </a:lnTo>
                <a:lnTo>
                  <a:pt x="12495" y="7470"/>
                </a:lnTo>
                <a:lnTo>
                  <a:pt x="12497" y="7485"/>
                </a:lnTo>
                <a:lnTo>
                  <a:pt x="12500" y="7501"/>
                </a:lnTo>
                <a:lnTo>
                  <a:pt x="12504" y="7516"/>
                </a:lnTo>
                <a:lnTo>
                  <a:pt x="12508" y="7532"/>
                </a:lnTo>
                <a:lnTo>
                  <a:pt x="12514" y="7548"/>
                </a:lnTo>
                <a:lnTo>
                  <a:pt x="12520" y="7564"/>
                </a:lnTo>
                <a:lnTo>
                  <a:pt x="12526" y="7579"/>
                </a:lnTo>
                <a:lnTo>
                  <a:pt x="12533" y="7595"/>
                </a:lnTo>
                <a:lnTo>
                  <a:pt x="12542" y="7609"/>
                </a:lnTo>
                <a:lnTo>
                  <a:pt x="12551" y="7624"/>
                </a:lnTo>
                <a:lnTo>
                  <a:pt x="12559" y="7637"/>
                </a:lnTo>
                <a:lnTo>
                  <a:pt x="12569" y="7648"/>
                </a:lnTo>
                <a:lnTo>
                  <a:pt x="12579" y="7658"/>
                </a:lnTo>
                <a:lnTo>
                  <a:pt x="12589" y="7667"/>
                </a:lnTo>
                <a:lnTo>
                  <a:pt x="12595" y="7685"/>
                </a:lnTo>
                <a:lnTo>
                  <a:pt x="12603" y="7705"/>
                </a:lnTo>
                <a:lnTo>
                  <a:pt x="12612" y="7726"/>
                </a:lnTo>
                <a:lnTo>
                  <a:pt x="12623" y="7750"/>
                </a:lnTo>
                <a:lnTo>
                  <a:pt x="12634" y="7774"/>
                </a:lnTo>
                <a:lnTo>
                  <a:pt x="12647" y="7799"/>
                </a:lnTo>
                <a:lnTo>
                  <a:pt x="12661" y="7824"/>
                </a:lnTo>
                <a:lnTo>
                  <a:pt x="12676" y="7849"/>
                </a:lnTo>
                <a:lnTo>
                  <a:pt x="12692" y="7873"/>
                </a:lnTo>
                <a:lnTo>
                  <a:pt x="12708" y="7898"/>
                </a:lnTo>
                <a:lnTo>
                  <a:pt x="12724" y="7920"/>
                </a:lnTo>
                <a:lnTo>
                  <a:pt x="12741" y="7941"/>
                </a:lnTo>
                <a:lnTo>
                  <a:pt x="12758" y="7961"/>
                </a:lnTo>
                <a:lnTo>
                  <a:pt x="12775" y="7978"/>
                </a:lnTo>
                <a:lnTo>
                  <a:pt x="12784" y="7986"/>
                </a:lnTo>
                <a:lnTo>
                  <a:pt x="12794" y="7993"/>
                </a:lnTo>
                <a:lnTo>
                  <a:pt x="12802" y="7999"/>
                </a:lnTo>
                <a:lnTo>
                  <a:pt x="12811" y="8006"/>
                </a:lnTo>
                <a:lnTo>
                  <a:pt x="12808" y="8013"/>
                </a:lnTo>
                <a:lnTo>
                  <a:pt x="12805" y="8020"/>
                </a:lnTo>
                <a:lnTo>
                  <a:pt x="12803" y="8026"/>
                </a:lnTo>
                <a:lnTo>
                  <a:pt x="12802" y="8033"/>
                </a:lnTo>
                <a:lnTo>
                  <a:pt x="12802" y="8040"/>
                </a:lnTo>
                <a:lnTo>
                  <a:pt x="12802" y="8046"/>
                </a:lnTo>
                <a:lnTo>
                  <a:pt x="12803" y="8053"/>
                </a:lnTo>
                <a:lnTo>
                  <a:pt x="12804" y="8060"/>
                </a:lnTo>
                <a:lnTo>
                  <a:pt x="12808" y="8073"/>
                </a:lnTo>
                <a:lnTo>
                  <a:pt x="12814" y="8085"/>
                </a:lnTo>
                <a:lnTo>
                  <a:pt x="12821" y="8098"/>
                </a:lnTo>
                <a:lnTo>
                  <a:pt x="12829" y="8111"/>
                </a:lnTo>
                <a:lnTo>
                  <a:pt x="12847" y="8137"/>
                </a:lnTo>
                <a:lnTo>
                  <a:pt x="12866" y="8163"/>
                </a:lnTo>
                <a:lnTo>
                  <a:pt x="12875" y="8176"/>
                </a:lnTo>
                <a:lnTo>
                  <a:pt x="12883" y="8189"/>
                </a:lnTo>
                <a:lnTo>
                  <a:pt x="12890" y="8203"/>
                </a:lnTo>
                <a:lnTo>
                  <a:pt x="12895" y="8217"/>
                </a:lnTo>
                <a:lnTo>
                  <a:pt x="12894" y="8221"/>
                </a:lnTo>
                <a:lnTo>
                  <a:pt x="12896" y="8234"/>
                </a:lnTo>
                <a:lnTo>
                  <a:pt x="12901" y="8252"/>
                </a:lnTo>
                <a:lnTo>
                  <a:pt x="12907" y="8275"/>
                </a:lnTo>
                <a:lnTo>
                  <a:pt x="12917" y="8297"/>
                </a:lnTo>
                <a:lnTo>
                  <a:pt x="12926" y="8317"/>
                </a:lnTo>
                <a:lnTo>
                  <a:pt x="12932" y="8326"/>
                </a:lnTo>
                <a:lnTo>
                  <a:pt x="12937" y="8334"/>
                </a:lnTo>
                <a:lnTo>
                  <a:pt x="12943" y="8340"/>
                </a:lnTo>
                <a:lnTo>
                  <a:pt x="12948" y="8344"/>
                </a:lnTo>
                <a:lnTo>
                  <a:pt x="12949" y="8351"/>
                </a:lnTo>
                <a:lnTo>
                  <a:pt x="12950" y="8360"/>
                </a:lnTo>
                <a:lnTo>
                  <a:pt x="12952" y="8370"/>
                </a:lnTo>
                <a:lnTo>
                  <a:pt x="12955" y="8382"/>
                </a:lnTo>
                <a:lnTo>
                  <a:pt x="12963" y="8407"/>
                </a:lnTo>
                <a:lnTo>
                  <a:pt x="12974" y="8435"/>
                </a:lnTo>
                <a:lnTo>
                  <a:pt x="12987" y="8466"/>
                </a:lnTo>
                <a:lnTo>
                  <a:pt x="13002" y="8497"/>
                </a:lnTo>
                <a:lnTo>
                  <a:pt x="13019" y="8531"/>
                </a:lnTo>
                <a:lnTo>
                  <a:pt x="13037" y="8563"/>
                </a:lnTo>
                <a:lnTo>
                  <a:pt x="13057" y="8594"/>
                </a:lnTo>
                <a:lnTo>
                  <a:pt x="13077" y="8624"/>
                </a:lnTo>
                <a:lnTo>
                  <a:pt x="13097" y="8652"/>
                </a:lnTo>
                <a:lnTo>
                  <a:pt x="13117" y="8676"/>
                </a:lnTo>
                <a:lnTo>
                  <a:pt x="13127" y="8687"/>
                </a:lnTo>
                <a:lnTo>
                  <a:pt x="13137" y="8696"/>
                </a:lnTo>
                <a:lnTo>
                  <a:pt x="13147" y="8705"/>
                </a:lnTo>
                <a:lnTo>
                  <a:pt x="13156" y="8712"/>
                </a:lnTo>
                <a:lnTo>
                  <a:pt x="13165" y="8717"/>
                </a:lnTo>
                <a:lnTo>
                  <a:pt x="13175" y="8721"/>
                </a:lnTo>
                <a:lnTo>
                  <a:pt x="13184" y="8724"/>
                </a:lnTo>
                <a:lnTo>
                  <a:pt x="13192" y="8725"/>
                </a:lnTo>
                <a:lnTo>
                  <a:pt x="13192" y="8731"/>
                </a:lnTo>
                <a:lnTo>
                  <a:pt x="13190" y="8738"/>
                </a:lnTo>
                <a:lnTo>
                  <a:pt x="13187" y="8744"/>
                </a:lnTo>
                <a:lnTo>
                  <a:pt x="13183" y="8749"/>
                </a:lnTo>
                <a:lnTo>
                  <a:pt x="13175" y="8760"/>
                </a:lnTo>
                <a:lnTo>
                  <a:pt x="13168" y="8768"/>
                </a:lnTo>
                <a:lnTo>
                  <a:pt x="13165" y="8771"/>
                </a:lnTo>
                <a:lnTo>
                  <a:pt x="13165" y="8774"/>
                </a:lnTo>
                <a:lnTo>
                  <a:pt x="13168" y="8777"/>
                </a:lnTo>
                <a:lnTo>
                  <a:pt x="13172" y="8780"/>
                </a:lnTo>
                <a:lnTo>
                  <a:pt x="13179" y="8782"/>
                </a:lnTo>
                <a:lnTo>
                  <a:pt x="13190" y="8784"/>
                </a:lnTo>
                <a:lnTo>
                  <a:pt x="13205" y="8786"/>
                </a:lnTo>
                <a:lnTo>
                  <a:pt x="13223" y="8788"/>
                </a:lnTo>
                <a:lnTo>
                  <a:pt x="13248" y="8788"/>
                </a:lnTo>
                <a:lnTo>
                  <a:pt x="13287" y="8785"/>
                </a:lnTo>
                <a:lnTo>
                  <a:pt x="13307" y="8782"/>
                </a:lnTo>
                <a:lnTo>
                  <a:pt x="13324" y="8779"/>
                </a:lnTo>
                <a:lnTo>
                  <a:pt x="13331" y="8777"/>
                </a:lnTo>
                <a:lnTo>
                  <a:pt x="13336" y="8774"/>
                </a:lnTo>
                <a:lnTo>
                  <a:pt x="13339" y="8771"/>
                </a:lnTo>
                <a:lnTo>
                  <a:pt x="13340" y="8768"/>
                </a:lnTo>
                <a:lnTo>
                  <a:pt x="13376" y="8767"/>
                </a:lnTo>
                <a:lnTo>
                  <a:pt x="13413" y="8765"/>
                </a:lnTo>
                <a:lnTo>
                  <a:pt x="13454" y="8762"/>
                </a:lnTo>
                <a:lnTo>
                  <a:pt x="13494" y="8758"/>
                </a:lnTo>
                <a:lnTo>
                  <a:pt x="13534" y="8751"/>
                </a:lnTo>
                <a:lnTo>
                  <a:pt x="13574" y="8744"/>
                </a:lnTo>
                <a:lnTo>
                  <a:pt x="13593" y="8739"/>
                </a:lnTo>
                <a:lnTo>
                  <a:pt x="13612" y="8735"/>
                </a:lnTo>
                <a:lnTo>
                  <a:pt x="13629" y="8730"/>
                </a:lnTo>
                <a:lnTo>
                  <a:pt x="13647" y="8725"/>
                </a:lnTo>
                <a:lnTo>
                  <a:pt x="13646" y="8737"/>
                </a:lnTo>
                <a:lnTo>
                  <a:pt x="13645" y="8750"/>
                </a:lnTo>
                <a:lnTo>
                  <a:pt x="13644" y="8762"/>
                </a:lnTo>
                <a:lnTo>
                  <a:pt x="13642" y="8774"/>
                </a:lnTo>
                <a:lnTo>
                  <a:pt x="13636" y="8796"/>
                </a:lnTo>
                <a:lnTo>
                  <a:pt x="13629" y="8818"/>
                </a:lnTo>
                <a:lnTo>
                  <a:pt x="13621" y="8839"/>
                </a:lnTo>
                <a:lnTo>
                  <a:pt x="13612" y="8859"/>
                </a:lnTo>
                <a:lnTo>
                  <a:pt x="13602" y="8880"/>
                </a:lnTo>
                <a:lnTo>
                  <a:pt x="13592" y="8900"/>
                </a:lnTo>
                <a:lnTo>
                  <a:pt x="13583" y="8920"/>
                </a:lnTo>
                <a:lnTo>
                  <a:pt x="13574" y="8940"/>
                </a:lnTo>
                <a:lnTo>
                  <a:pt x="13566" y="8961"/>
                </a:lnTo>
                <a:lnTo>
                  <a:pt x="13559" y="8981"/>
                </a:lnTo>
                <a:lnTo>
                  <a:pt x="13556" y="8992"/>
                </a:lnTo>
                <a:lnTo>
                  <a:pt x="13554" y="9003"/>
                </a:lnTo>
                <a:lnTo>
                  <a:pt x="13552" y="9015"/>
                </a:lnTo>
                <a:lnTo>
                  <a:pt x="13551" y="9026"/>
                </a:lnTo>
                <a:lnTo>
                  <a:pt x="13550" y="9038"/>
                </a:lnTo>
                <a:lnTo>
                  <a:pt x="13550" y="9050"/>
                </a:lnTo>
                <a:lnTo>
                  <a:pt x="13551" y="9062"/>
                </a:lnTo>
                <a:lnTo>
                  <a:pt x="13552" y="9074"/>
                </a:lnTo>
                <a:lnTo>
                  <a:pt x="13538" y="9075"/>
                </a:lnTo>
                <a:lnTo>
                  <a:pt x="13528" y="9078"/>
                </a:lnTo>
                <a:lnTo>
                  <a:pt x="13523" y="9080"/>
                </a:lnTo>
                <a:lnTo>
                  <a:pt x="13519" y="9082"/>
                </a:lnTo>
                <a:lnTo>
                  <a:pt x="13516" y="9084"/>
                </a:lnTo>
                <a:lnTo>
                  <a:pt x="13513" y="9087"/>
                </a:lnTo>
                <a:lnTo>
                  <a:pt x="13508" y="9093"/>
                </a:lnTo>
                <a:lnTo>
                  <a:pt x="13504" y="9100"/>
                </a:lnTo>
                <a:lnTo>
                  <a:pt x="13503" y="9108"/>
                </a:lnTo>
                <a:lnTo>
                  <a:pt x="13502" y="9117"/>
                </a:lnTo>
                <a:lnTo>
                  <a:pt x="13505" y="9152"/>
                </a:lnTo>
                <a:lnTo>
                  <a:pt x="13509" y="9180"/>
                </a:lnTo>
                <a:lnTo>
                  <a:pt x="13500" y="9186"/>
                </a:lnTo>
                <a:lnTo>
                  <a:pt x="13492" y="9193"/>
                </a:lnTo>
                <a:lnTo>
                  <a:pt x="13485" y="9199"/>
                </a:lnTo>
                <a:lnTo>
                  <a:pt x="13478" y="9207"/>
                </a:lnTo>
                <a:lnTo>
                  <a:pt x="13466" y="9222"/>
                </a:lnTo>
                <a:lnTo>
                  <a:pt x="13455" y="9238"/>
                </a:lnTo>
                <a:lnTo>
                  <a:pt x="13443" y="9254"/>
                </a:lnTo>
                <a:lnTo>
                  <a:pt x="13430" y="9270"/>
                </a:lnTo>
                <a:lnTo>
                  <a:pt x="13422" y="9278"/>
                </a:lnTo>
                <a:lnTo>
                  <a:pt x="13413" y="9284"/>
                </a:lnTo>
                <a:lnTo>
                  <a:pt x="13403" y="9291"/>
                </a:lnTo>
                <a:lnTo>
                  <a:pt x="13393" y="9297"/>
                </a:lnTo>
                <a:lnTo>
                  <a:pt x="13392" y="9302"/>
                </a:lnTo>
                <a:lnTo>
                  <a:pt x="13391" y="9309"/>
                </a:lnTo>
                <a:lnTo>
                  <a:pt x="13389" y="9315"/>
                </a:lnTo>
                <a:lnTo>
                  <a:pt x="13387" y="9321"/>
                </a:lnTo>
                <a:lnTo>
                  <a:pt x="13380" y="9335"/>
                </a:lnTo>
                <a:lnTo>
                  <a:pt x="13371" y="9348"/>
                </a:lnTo>
                <a:lnTo>
                  <a:pt x="13360" y="9363"/>
                </a:lnTo>
                <a:lnTo>
                  <a:pt x="13347" y="9377"/>
                </a:lnTo>
                <a:lnTo>
                  <a:pt x="13334" y="9393"/>
                </a:lnTo>
                <a:lnTo>
                  <a:pt x="13319" y="9408"/>
                </a:lnTo>
                <a:lnTo>
                  <a:pt x="13289" y="9437"/>
                </a:lnTo>
                <a:lnTo>
                  <a:pt x="13260" y="9465"/>
                </a:lnTo>
                <a:lnTo>
                  <a:pt x="13246" y="9478"/>
                </a:lnTo>
                <a:lnTo>
                  <a:pt x="13234" y="9490"/>
                </a:lnTo>
                <a:lnTo>
                  <a:pt x="13224" y="9501"/>
                </a:lnTo>
                <a:lnTo>
                  <a:pt x="13215" y="9512"/>
                </a:lnTo>
                <a:lnTo>
                  <a:pt x="13206" y="9524"/>
                </a:lnTo>
                <a:lnTo>
                  <a:pt x="13194" y="9536"/>
                </a:lnTo>
                <a:lnTo>
                  <a:pt x="13181" y="9550"/>
                </a:lnTo>
                <a:lnTo>
                  <a:pt x="13166" y="9563"/>
                </a:lnTo>
                <a:lnTo>
                  <a:pt x="13136" y="9593"/>
                </a:lnTo>
                <a:lnTo>
                  <a:pt x="13104" y="9624"/>
                </a:lnTo>
                <a:lnTo>
                  <a:pt x="13088" y="9640"/>
                </a:lnTo>
                <a:lnTo>
                  <a:pt x="13073" y="9656"/>
                </a:lnTo>
                <a:lnTo>
                  <a:pt x="13059" y="9672"/>
                </a:lnTo>
                <a:lnTo>
                  <a:pt x="13047" y="9688"/>
                </a:lnTo>
                <a:lnTo>
                  <a:pt x="13034" y="9703"/>
                </a:lnTo>
                <a:lnTo>
                  <a:pt x="13025" y="9718"/>
                </a:lnTo>
                <a:lnTo>
                  <a:pt x="13021" y="9726"/>
                </a:lnTo>
                <a:lnTo>
                  <a:pt x="13018" y="9733"/>
                </a:lnTo>
                <a:lnTo>
                  <a:pt x="13015" y="9740"/>
                </a:lnTo>
                <a:lnTo>
                  <a:pt x="13013" y="9747"/>
                </a:lnTo>
                <a:lnTo>
                  <a:pt x="13011" y="9747"/>
                </a:lnTo>
                <a:lnTo>
                  <a:pt x="13008" y="9750"/>
                </a:lnTo>
                <a:lnTo>
                  <a:pt x="13004" y="9754"/>
                </a:lnTo>
                <a:lnTo>
                  <a:pt x="12992" y="9766"/>
                </a:lnTo>
                <a:lnTo>
                  <a:pt x="12977" y="9783"/>
                </a:lnTo>
                <a:lnTo>
                  <a:pt x="12939" y="9825"/>
                </a:lnTo>
                <a:lnTo>
                  <a:pt x="12896" y="9875"/>
                </a:lnTo>
                <a:lnTo>
                  <a:pt x="12876" y="9902"/>
                </a:lnTo>
                <a:lnTo>
                  <a:pt x="12857" y="9927"/>
                </a:lnTo>
                <a:lnTo>
                  <a:pt x="12840" y="9950"/>
                </a:lnTo>
                <a:lnTo>
                  <a:pt x="12827" y="9971"/>
                </a:lnTo>
                <a:lnTo>
                  <a:pt x="12822" y="9981"/>
                </a:lnTo>
                <a:lnTo>
                  <a:pt x="12818" y="9990"/>
                </a:lnTo>
                <a:lnTo>
                  <a:pt x="12815" y="9997"/>
                </a:lnTo>
                <a:lnTo>
                  <a:pt x="12813" y="10003"/>
                </a:lnTo>
                <a:lnTo>
                  <a:pt x="12813" y="10009"/>
                </a:lnTo>
                <a:lnTo>
                  <a:pt x="12814" y="10012"/>
                </a:lnTo>
                <a:lnTo>
                  <a:pt x="12817" y="10015"/>
                </a:lnTo>
                <a:lnTo>
                  <a:pt x="12822" y="10016"/>
                </a:lnTo>
                <a:lnTo>
                  <a:pt x="12819" y="10052"/>
                </a:lnTo>
                <a:lnTo>
                  <a:pt x="12812" y="10113"/>
                </a:lnTo>
                <a:lnTo>
                  <a:pt x="12808" y="10151"/>
                </a:lnTo>
                <a:lnTo>
                  <a:pt x="12804" y="10190"/>
                </a:lnTo>
                <a:lnTo>
                  <a:pt x="12800" y="10232"/>
                </a:lnTo>
                <a:lnTo>
                  <a:pt x="12797" y="10275"/>
                </a:lnTo>
                <a:lnTo>
                  <a:pt x="12796" y="10316"/>
                </a:lnTo>
                <a:lnTo>
                  <a:pt x="12795" y="10355"/>
                </a:lnTo>
                <a:lnTo>
                  <a:pt x="12796" y="10374"/>
                </a:lnTo>
                <a:lnTo>
                  <a:pt x="12797" y="10392"/>
                </a:lnTo>
                <a:lnTo>
                  <a:pt x="12798" y="10410"/>
                </a:lnTo>
                <a:lnTo>
                  <a:pt x="12800" y="10425"/>
                </a:lnTo>
                <a:lnTo>
                  <a:pt x="12803" y="10440"/>
                </a:lnTo>
                <a:lnTo>
                  <a:pt x="12806" y="10453"/>
                </a:lnTo>
                <a:lnTo>
                  <a:pt x="12810" y="10464"/>
                </a:lnTo>
                <a:lnTo>
                  <a:pt x="12815" y="10474"/>
                </a:lnTo>
                <a:lnTo>
                  <a:pt x="12821" y="10481"/>
                </a:lnTo>
                <a:lnTo>
                  <a:pt x="12827" y="10487"/>
                </a:lnTo>
                <a:lnTo>
                  <a:pt x="12834" y="10491"/>
                </a:lnTo>
                <a:lnTo>
                  <a:pt x="12843" y="10492"/>
                </a:lnTo>
                <a:lnTo>
                  <a:pt x="12846" y="10519"/>
                </a:lnTo>
                <a:lnTo>
                  <a:pt x="12854" y="10569"/>
                </a:lnTo>
                <a:lnTo>
                  <a:pt x="12865" y="10632"/>
                </a:lnTo>
                <a:lnTo>
                  <a:pt x="12876" y="10702"/>
                </a:lnTo>
                <a:lnTo>
                  <a:pt x="12881" y="10736"/>
                </a:lnTo>
                <a:lnTo>
                  <a:pt x="12885" y="10769"/>
                </a:lnTo>
                <a:lnTo>
                  <a:pt x="12888" y="10801"/>
                </a:lnTo>
                <a:lnTo>
                  <a:pt x="12889" y="10828"/>
                </a:lnTo>
                <a:lnTo>
                  <a:pt x="12889" y="10840"/>
                </a:lnTo>
                <a:lnTo>
                  <a:pt x="12889" y="10851"/>
                </a:lnTo>
                <a:lnTo>
                  <a:pt x="12888" y="10860"/>
                </a:lnTo>
                <a:lnTo>
                  <a:pt x="12886" y="10869"/>
                </a:lnTo>
                <a:lnTo>
                  <a:pt x="12884" y="10875"/>
                </a:lnTo>
                <a:lnTo>
                  <a:pt x="12881" y="10880"/>
                </a:lnTo>
                <a:lnTo>
                  <a:pt x="12878" y="10883"/>
                </a:lnTo>
                <a:lnTo>
                  <a:pt x="12874" y="10884"/>
                </a:lnTo>
                <a:lnTo>
                  <a:pt x="12873" y="10905"/>
                </a:lnTo>
                <a:lnTo>
                  <a:pt x="12871" y="10925"/>
                </a:lnTo>
                <a:lnTo>
                  <a:pt x="12867" y="10944"/>
                </a:lnTo>
                <a:lnTo>
                  <a:pt x="12862" y="10962"/>
                </a:lnTo>
                <a:lnTo>
                  <a:pt x="12857" y="10980"/>
                </a:lnTo>
                <a:lnTo>
                  <a:pt x="12851" y="10997"/>
                </a:lnTo>
                <a:lnTo>
                  <a:pt x="12844" y="11013"/>
                </a:lnTo>
                <a:lnTo>
                  <a:pt x="12837" y="11030"/>
                </a:lnTo>
                <a:lnTo>
                  <a:pt x="12824" y="11062"/>
                </a:lnTo>
                <a:lnTo>
                  <a:pt x="12812" y="11093"/>
                </a:lnTo>
                <a:lnTo>
                  <a:pt x="12807" y="11109"/>
                </a:lnTo>
                <a:lnTo>
                  <a:pt x="12804" y="11125"/>
                </a:lnTo>
                <a:lnTo>
                  <a:pt x="12801" y="11141"/>
                </a:lnTo>
                <a:lnTo>
                  <a:pt x="12801" y="11159"/>
                </a:lnTo>
                <a:lnTo>
                  <a:pt x="12771" y="11176"/>
                </a:lnTo>
                <a:lnTo>
                  <a:pt x="12740" y="11192"/>
                </a:lnTo>
                <a:lnTo>
                  <a:pt x="12726" y="11200"/>
                </a:lnTo>
                <a:lnTo>
                  <a:pt x="12714" y="11210"/>
                </a:lnTo>
                <a:lnTo>
                  <a:pt x="12708" y="11215"/>
                </a:lnTo>
                <a:lnTo>
                  <a:pt x="12703" y="11220"/>
                </a:lnTo>
                <a:lnTo>
                  <a:pt x="12698" y="11226"/>
                </a:lnTo>
                <a:lnTo>
                  <a:pt x="12694" y="11233"/>
                </a:lnTo>
                <a:lnTo>
                  <a:pt x="12689" y="11233"/>
                </a:lnTo>
                <a:lnTo>
                  <a:pt x="12683" y="11234"/>
                </a:lnTo>
                <a:lnTo>
                  <a:pt x="12677" y="11236"/>
                </a:lnTo>
                <a:lnTo>
                  <a:pt x="12672" y="11239"/>
                </a:lnTo>
                <a:lnTo>
                  <a:pt x="12661" y="11245"/>
                </a:lnTo>
                <a:lnTo>
                  <a:pt x="12651" y="11254"/>
                </a:lnTo>
                <a:lnTo>
                  <a:pt x="12642" y="11265"/>
                </a:lnTo>
                <a:lnTo>
                  <a:pt x="12634" y="11276"/>
                </a:lnTo>
                <a:lnTo>
                  <a:pt x="12626" y="11289"/>
                </a:lnTo>
                <a:lnTo>
                  <a:pt x="12618" y="11302"/>
                </a:lnTo>
                <a:lnTo>
                  <a:pt x="12604" y="11327"/>
                </a:lnTo>
                <a:lnTo>
                  <a:pt x="12591" y="11349"/>
                </a:lnTo>
                <a:lnTo>
                  <a:pt x="12585" y="11358"/>
                </a:lnTo>
                <a:lnTo>
                  <a:pt x="12579" y="11365"/>
                </a:lnTo>
                <a:lnTo>
                  <a:pt x="12576" y="11367"/>
                </a:lnTo>
                <a:lnTo>
                  <a:pt x="12573" y="11369"/>
                </a:lnTo>
                <a:lnTo>
                  <a:pt x="12571" y="11370"/>
                </a:lnTo>
                <a:lnTo>
                  <a:pt x="12568" y="11371"/>
                </a:lnTo>
                <a:lnTo>
                  <a:pt x="12567" y="11397"/>
                </a:lnTo>
                <a:lnTo>
                  <a:pt x="12566" y="11425"/>
                </a:lnTo>
                <a:lnTo>
                  <a:pt x="12564" y="11450"/>
                </a:lnTo>
                <a:lnTo>
                  <a:pt x="12561" y="11475"/>
                </a:lnTo>
                <a:lnTo>
                  <a:pt x="12554" y="11525"/>
                </a:lnTo>
                <a:lnTo>
                  <a:pt x="12547" y="11575"/>
                </a:lnTo>
                <a:lnTo>
                  <a:pt x="12539" y="11625"/>
                </a:lnTo>
                <a:lnTo>
                  <a:pt x="12531" y="11678"/>
                </a:lnTo>
                <a:lnTo>
                  <a:pt x="12528" y="11706"/>
                </a:lnTo>
                <a:lnTo>
                  <a:pt x="12526" y="11734"/>
                </a:lnTo>
                <a:lnTo>
                  <a:pt x="12525" y="11763"/>
                </a:lnTo>
                <a:lnTo>
                  <a:pt x="12525" y="11794"/>
                </a:lnTo>
                <a:lnTo>
                  <a:pt x="12525" y="11795"/>
                </a:lnTo>
                <a:lnTo>
                  <a:pt x="12526" y="11797"/>
                </a:lnTo>
                <a:lnTo>
                  <a:pt x="12525" y="11800"/>
                </a:lnTo>
                <a:lnTo>
                  <a:pt x="12524" y="11804"/>
                </a:lnTo>
                <a:lnTo>
                  <a:pt x="12521" y="11816"/>
                </a:lnTo>
                <a:lnTo>
                  <a:pt x="12516" y="11831"/>
                </a:lnTo>
                <a:lnTo>
                  <a:pt x="12503" y="11870"/>
                </a:lnTo>
                <a:lnTo>
                  <a:pt x="12487" y="11915"/>
                </a:lnTo>
                <a:lnTo>
                  <a:pt x="12470" y="11961"/>
                </a:lnTo>
                <a:lnTo>
                  <a:pt x="12455" y="12001"/>
                </a:lnTo>
                <a:lnTo>
                  <a:pt x="12445" y="12032"/>
                </a:lnTo>
                <a:lnTo>
                  <a:pt x="12441" y="12048"/>
                </a:lnTo>
                <a:lnTo>
                  <a:pt x="12425" y="12059"/>
                </a:lnTo>
                <a:lnTo>
                  <a:pt x="12406" y="12074"/>
                </a:lnTo>
                <a:lnTo>
                  <a:pt x="12386" y="12090"/>
                </a:lnTo>
                <a:lnTo>
                  <a:pt x="12364" y="12109"/>
                </a:lnTo>
                <a:lnTo>
                  <a:pt x="12342" y="12130"/>
                </a:lnTo>
                <a:lnTo>
                  <a:pt x="12319" y="12152"/>
                </a:lnTo>
                <a:lnTo>
                  <a:pt x="12297" y="12176"/>
                </a:lnTo>
                <a:lnTo>
                  <a:pt x="12273" y="12200"/>
                </a:lnTo>
                <a:lnTo>
                  <a:pt x="12252" y="12225"/>
                </a:lnTo>
                <a:lnTo>
                  <a:pt x="12232" y="12250"/>
                </a:lnTo>
                <a:lnTo>
                  <a:pt x="12213" y="12275"/>
                </a:lnTo>
                <a:lnTo>
                  <a:pt x="12197" y="12300"/>
                </a:lnTo>
                <a:lnTo>
                  <a:pt x="12190" y="12312"/>
                </a:lnTo>
                <a:lnTo>
                  <a:pt x="12184" y="12324"/>
                </a:lnTo>
                <a:lnTo>
                  <a:pt x="12179" y="12335"/>
                </a:lnTo>
                <a:lnTo>
                  <a:pt x="12174" y="12346"/>
                </a:lnTo>
                <a:lnTo>
                  <a:pt x="12170" y="12357"/>
                </a:lnTo>
                <a:lnTo>
                  <a:pt x="12168" y="12367"/>
                </a:lnTo>
                <a:lnTo>
                  <a:pt x="12166" y="12377"/>
                </a:lnTo>
                <a:lnTo>
                  <a:pt x="12166" y="12386"/>
                </a:lnTo>
                <a:lnTo>
                  <a:pt x="12160" y="12395"/>
                </a:lnTo>
                <a:lnTo>
                  <a:pt x="12143" y="12418"/>
                </a:lnTo>
                <a:lnTo>
                  <a:pt x="12120" y="12450"/>
                </a:lnTo>
                <a:lnTo>
                  <a:pt x="12094" y="12487"/>
                </a:lnTo>
                <a:lnTo>
                  <a:pt x="12066" y="12526"/>
                </a:lnTo>
                <a:lnTo>
                  <a:pt x="12041" y="12563"/>
                </a:lnTo>
                <a:lnTo>
                  <a:pt x="12019" y="12591"/>
                </a:lnTo>
                <a:lnTo>
                  <a:pt x="12006" y="12609"/>
                </a:lnTo>
                <a:lnTo>
                  <a:pt x="11979" y="12611"/>
                </a:lnTo>
                <a:lnTo>
                  <a:pt x="11933" y="12619"/>
                </a:lnTo>
                <a:lnTo>
                  <a:pt x="11874" y="12629"/>
                </a:lnTo>
                <a:lnTo>
                  <a:pt x="11811" y="12642"/>
                </a:lnTo>
                <a:lnTo>
                  <a:pt x="11779" y="12649"/>
                </a:lnTo>
                <a:lnTo>
                  <a:pt x="11749" y="12656"/>
                </a:lnTo>
                <a:lnTo>
                  <a:pt x="11722" y="12664"/>
                </a:lnTo>
                <a:lnTo>
                  <a:pt x="11697" y="12670"/>
                </a:lnTo>
                <a:lnTo>
                  <a:pt x="11676" y="12677"/>
                </a:lnTo>
                <a:lnTo>
                  <a:pt x="11661" y="12683"/>
                </a:lnTo>
                <a:lnTo>
                  <a:pt x="11654" y="12686"/>
                </a:lnTo>
                <a:lnTo>
                  <a:pt x="11650" y="12689"/>
                </a:lnTo>
                <a:lnTo>
                  <a:pt x="11647" y="12691"/>
                </a:lnTo>
                <a:lnTo>
                  <a:pt x="11646" y="12694"/>
                </a:lnTo>
                <a:lnTo>
                  <a:pt x="11632" y="12694"/>
                </a:lnTo>
                <a:lnTo>
                  <a:pt x="11616" y="12696"/>
                </a:lnTo>
                <a:lnTo>
                  <a:pt x="11598" y="12698"/>
                </a:lnTo>
                <a:lnTo>
                  <a:pt x="11579" y="12701"/>
                </a:lnTo>
                <a:lnTo>
                  <a:pt x="11538" y="12707"/>
                </a:lnTo>
                <a:lnTo>
                  <a:pt x="11494" y="12713"/>
                </a:lnTo>
                <a:lnTo>
                  <a:pt x="11472" y="12714"/>
                </a:lnTo>
                <a:lnTo>
                  <a:pt x="11452" y="12715"/>
                </a:lnTo>
                <a:lnTo>
                  <a:pt x="11432" y="12714"/>
                </a:lnTo>
                <a:lnTo>
                  <a:pt x="11414" y="12712"/>
                </a:lnTo>
                <a:lnTo>
                  <a:pt x="11406" y="12710"/>
                </a:lnTo>
                <a:lnTo>
                  <a:pt x="11397" y="12708"/>
                </a:lnTo>
                <a:lnTo>
                  <a:pt x="11389" y="12706"/>
                </a:lnTo>
                <a:lnTo>
                  <a:pt x="11382" y="12702"/>
                </a:lnTo>
                <a:lnTo>
                  <a:pt x="11376" y="12699"/>
                </a:lnTo>
                <a:lnTo>
                  <a:pt x="11370" y="12694"/>
                </a:lnTo>
                <a:lnTo>
                  <a:pt x="11365" y="12689"/>
                </a:lnTo>
                <a:lnTo>
                  <a:pt x="11361" y="12683"/>
                </a:lnTo>
                <a:lnTo>
                  <a:pt x="11360" y="12671"/>
                </a:lnTo>
                <a:lnTo>
                  <a:pt x="11359" y="12657"/>
                </a:lnTo>
                <a:lnTo>
                  <a:pt x="11357" y="12643"/>
                </a:lnTo>
                <a:lnTo>
                  <a:pt x="11355" y="12629"/>
                </a:lnTo>
                <a:lnTo>
                  <a:pt x="11349" y="12601"/>
                </a:lnTo>
                <a:lnTo>
                  <a:pt x="11342" y="12571"/>
                </a:lnTo>
                <a:lnTo>
                  <a:pt x="11334" y="12540"/>
                </a:lnTo>
                <a:lnTo>
                  <a:pt x="11327" y="12506"/>
                </a:lnTo>
                <a:lnTo>
                  <a:pt x="11325" y="12490"/>
                </a:lnTo>
                <a:lnTo>
                  <a:pt x="11322" y="12474"/>
                </a:lnTo>
                <a:lnTo>
                  <a:pt x="11320" y="12457"/>
                </a:lnTo>
                <a:lnTo>
                  <a:pt x="11319" y="12440"/>
                </a:lnTo>
                <a:lnTo>
                  <a:pt x="11316" y="12440"/>
                </a:lnTo>
                <a:lnTo>
                  <a:pt x="11313" y="12438"/>
                </a:lnTo>
                <a:lnTo>
                  <a:pt x="11310" y="12437"/>
                </a:lnTo>
                <a:lnTo>
                  <a:pt x="11308" y="12434"/>
                </a:lnTo>
                <a:lnTo>
                  <a:pt x="11303" y="12427"/>
                </a:lnTo>
                <a:lnTo>
                  <a:pt x="11298" y="12419"/>
                </a:lnTo>
                <a:lnTo>
                  <a:pt x="11291" y="12396"/>
                </a:lnTo>
                <a:lnTo>
                  <a:pt x="11283" y="12371"/>
                </a:lnTo>
                <a:lnTo>
                  <a:pt x="11275" y="12346"/>
                </a:lnTo>
                <a:lnTo>
                  <a:pt x="11266" y="12324"/>
                </a:lnTo>
                <a:lnTo>
                  <a:pt x="11262" y="12315"/>
                </a:lnTo>
                <a:lnTo>
                  <a:pt x="11256" y="12308"/>
                </a:lnTo>
                <a:lnTo>
                  <a:pt x="11254" y="12306"/>
                </a:lnTo>
                <a:lnTo>
                  <a:pt x="11251" y="12304"/>
                </a:lnTo>
                <a:lnTo>
                  <a:pt x="11248" y="12303"/>
                </a:lnTo>
                <a:lnTo>
                  <a:pt x="11244" y="12303"/>
                </a:lnTo>
                <a:lnTo>
                  <a:pt x="11242" y="12293"/>
                </a:lnTo>
                <a:lnTo>
                  <a:pt x="11236" y="12275"/>
                </a:lnTo>
                <a:lnTo>
                  <a:pt x="11226" y="12251"/>
                </a:lnTo>
                <a:lnTo>
                  <a:pt x="11214" y="12222"/>
                </a:lnTo>
                <a:lnTo>
                  <a:pt x="11183" y="12151"/>
                </a:lnTo>
                <a:lnTo>
                  <a:pt x="11147" y="12074"/>
                </a:lnTo>
                <a:lnTo>
                  <a:pt x="11130" y="12036"/>
                </a:lnTo>
                <a:lnTo>
                  <a:pt x="11114" y="11997"/>
                </a:lnTo>
                <a:lnTo>
                  <a:pt x="11100" y="11963"/>
                </a:lnTo>
                <a:lnTo>
                  <a:pt x="11088" y="11932"/>
                </a:lnTo>
                <a:lnTo>
                  <a:pt x="11079" y="11905"/>
                </a:lnTo>
                <a:lnTo>
                  <a:pt x="11073" y="11885"/>
                </a:lnTo>
                <a:lnTo>
                  <a:pt x="11072" y="11878"/>
                </a:lnTo>
                <a:lnTo>
                  <a:pt x="11072" y="11872"/>
                </a:lnTo>
                <a:lnTo>
                  <a:pt x="11073" y="11869"/>
                </a:lnTo>
                <a:lnTo>
                  <a:pt x="11075" y="11868"/>
                </a:lnTo>
                <a:lnTo>
                  <a:pt x="11074" y="11848"/>
                </a:lnTo>
                <a:lnTo>
                  <a:pt x="11070" y="11822"/>
                </a:lnTo>
                <a:lnTo>
                  <a:pt x="11064" y="11793"/>
                </a:lnTo>
                <a:lnTo>
                  <a:pt x="11057" y="11762"/>
                </a:lnTo>
                <a:lnTo>
                  <a:pt x="11049" y="11734"/>
                </a:lnTo>
                <a:lnTo>
                  <a:pt x="11043" y="11710"/>
                </a:lnTo>
                <a:lnTo>
                  <a:pt x="11040" y="11701"/>
                </a:lnTo>
                <a:lnTo>
                  <a:pt x="11037" y="11694"/>
                </a:lnTo>
                <a:lnTo>
                  <a:pt x="11035" y="11690"/>
                </a:lnTo>
                <a:lnTo>
                  <a:pt x="11033" y="11688"/>
                </a:lnTo>
                <a:lnTo>
                  <a:pt x="11033" y="11675"/>
                </a:lnTo>
                <a:lnTo>
                  <a:pt x="11032" y="11661"/>
                </a:lnTo>
                <a:lnTo>
                  <a:pt x="11031" y="11647"/>
                </a:lnTo>
                <a:lnTo>
                  <a:pt x="11029" y="11634"/>
                </a:lnTo>
                <a:lnTo>
                  <a:pt x="11023" y="11608"/>
                </a:lnTo>
                <a:lnTo>
                  <a:pt x="11016" y="11583"/>
                </a:lnTo>
                <a:lnTo>
                  <a:pt x="11008" y="11557"/>
                </a:lnTo>
                <a:lnTo>
                  <a:pt x="10999" y="11533"/>
                </a:lnTo>
                <a:lnTo>
                  <a:pt x="10989" y="11507"/>
                </a:lnTo>
                <a:lnTo>
                  <a:pt x="10980" y="11483"/>
                </a:lnTo>
                <a:lnTo>
                  <a:pt x="10970" y="11458"/>
                </a:lnTo>
                <a:lnTo>
                  <a:pt x="10960" y="11434"/>
                </a:lnTo>
                <a:lnTo>
                  <a:pt x="10951" y="11410"/>
                </a:lnTo>
                <a:lnTo>
                  <a:pt x="10943" y="11385"/>
                </a:lnTo>
                <a:lnTo>
                  <a:pt x="10937" y="11360"/>
                </a:lnTo>
                <a:lnTo>
                  <a:pt x="10932" y="11336"/>
                </a:lnTo>
                <a:lnTo>
                  <a:pt x="10930" y="11324"/>
                </a:lnTo>
                <a:lnTo>
                  <a:pt x="10928" y="11311"/>
                </a:lnTo>
                <a:lnTo>
                  <a:pt x="10927" y="11299"/>
                </a:lnTo>
                <a:lnTo>
                  <a:pt x="10927" y="11286"/>
                </a:lnTo>
                <a:lnTo>
                  <a:pt x="10924" y="11286"/>
                </a:lnTo>
                <a:lnTo>
                  <a:pt x="10921" y="11283"/>
                </a:lnTo>
                <a:lnTo>
                  <a:pt x="10918" y="11279"/>
                </a:lnTo>
                <a:lnTo>
                  <a:pt x="10914" y="11273"/>
                </a:lnTo>
                <a:lnTo>
                  <a:pt x="10907" y="11258"/>
                </a:lnTo>
                <a:lnTo>
                  <a:pt x="10900" y="11239"/>
                </a:lnTo>
                <a:lnTo>
                  <a:pt x="10891" y="11217"/>
                </a:lnTo>
                <a:lnTo>
                  <a:pt x="10884" y="11192"/>
                </a:lnTo>
                <a:lnTo>
                  <a:pt x="10877" y="11166"/>
                </a:lnTo>
                <a:lnTo>
                  <a:pt x="10871" y="11137"/>
                </a:lnTo>
                <a:lnTo>
                  <a:pt x="10865" y="11110"/>
                </a:lnTo>
                <a:lnTo>
                  <a:pt x="10861" y="11083"/>
                </a:lnTo>
                <a:lnTo>
                  <a:pt x="10857" y="11059"/>
                </a:lnTo>
                <a:lnTo>
                  <a:pt x="10855" y="11036"/>
                </a:lnTo>
                <a:lnTo>
                  <a:pt x="10854" y="11017"/>
                </a:lnTo>
                <a:lnTo>
                  <a:pt x="10855" y="11002"/>
                </a:lnTo>
                <a:lnTo>
                  <a:pt x="10857" y="10997"/>
                </a:lnTo>
                <a:lnTo>
                  <a:pt x="10858" y="10993"/>
                </a:lnTo>
                <a:lnTo>
                  <a:pt x="10861" y="10990"/>
                </a:lnTo>
                <a:lnTo>
                  <a:pt x="10863" y="10990"/>
                </a:lnTo>
                <a:lnTo>
                  <a:pt x="10864" y="10961"/>
                </a:lnTo>
                <a:lnTo>
                  <a:pt x="10866" y="10934"/>
                </a:lnTo>
                <a:lnTo>
                  <a:pt x="10868" y="10908"/>
                </a:lnTo>
                <a:lnTo>
                  <a:pt x="10872" y="10881"/>
                </a:lnTo>
                <a:lnTo>
                  <a:pt x="10876" y="10856"/>
                </a:lnTo>
                <a:lnTo>
                  <a:pt x="10882" y="10831"/>
                </a:lnTo>
                <a:lnTo>
                  <a:pt x="10887" y="10807"/>
                </a:lnTo>
                <a:lnTo>
                  <a:pt x="10893" y="10782"/>
                </a:lnTo>
                <a:lnTo>
                  <a:pt x="10907" y="10731"/>
                </a:lnTo>
                <a:lnTo>
                  <a:pt x="10919" y="10679"/>
                </a:lnTo>
                <a:lnTo>
                  <a:pt x="10925" y="10651"/>
                </a:lnTo>
                <a:lnTo>
                  <a:pt x="10931" y="10622"/>
                </a:lnTo>
                <a:lnTo>
                  <a:pt x="10936" y="10592"/>
                </a:lnTo>
                <a:lnTo>
                  <a:pt x="10941" y="10560"/>
                </a:lnTo>
                <a:lnTo>
                  <a:pt x="10944" y="10526"/>
                </a:lnTo>
                <a:lnTo>
                  <a:pt x="10947" y="10492"/>
                </a:lnTo>
                <a:lnTo>
                  <a:pt x="10948" y="10461"/>
                </a:lnTo>
                <a:lnTo>
                  <a:pt x="10948" y="10431"/>
                </a:lnTo>
                <a:lnTo>
                  <a:pt x="10948" y="10402"/>
                </a:lnTo>
                <a:lnTo>
                  <a:pt x="10946" y="10373"/>
                </a:lnTo>
                <a:lnTo>
                  <a:pt x="10943" y="10346"/>
                </a:lnTo>
                <a:lnTo>
                  <a:pt x="10940" y="10320"/>
                </a:lnTo>
                <a:lnTo>
                  <a:pt x="10935" y="10295"/>
                </a:lnTo>
                <a:lnTo>
                  <a:pt x="10931" y="10270"/>
                </a:lnTo>
                <a:lnTo>
                  <a:pt x="10926" y="10244"/>
                </a:lnTo>
                <a:lnTo>
                  <a:pt x="10920" y="10220"/>
                </a:lnTo>
                <a:lnTo>
                  <a:pt x="10908" y="10171"/>
                </a:lnTo>
                <a:lnTo>
                  <a:pt x="10895" y="10121"/>
                </a:lnTo>
                <a:lnTo>
                  <a:pt x="10891" y="10120"/>
                </a:lnTo>
                <a:lnTo>
                  <a:pt x="10886" y="10117"/>
                </a:lnTo>
                <a:lnTo>
                  <a:pt x="10881" y="10112"/>
                </a:lnTo>
                <a:lnTo>
                  <a:pt x="10875" y="10105"/>
                </a:lnTo>
                <a:lnTo>
                  <a:pt x="10862" y="10088"/>
                </a:lnTo>
                <a:lnTo>
                  <a:pt x="10848" y="10068"/>
                </a:lnTo>
                <a:lnTo>
                  <a:pt x="10835" y="10047"/>
                </a:lnTo>
                <a:lnTo>
                  <a:pt x="10824" y="10026"/>
                </a:lnTo>
                <a:lnTo>
                  <a:pt x="10815" y="10007"/>
                </a:lnTo>
                <a:lnTo>
                  <a:pt x="10811" y="9995"/>
                </a:lnTo>
                <a:lnTo>
                  <a:pt x="10795" y="9983"/>
                </a:lnTo>
                <a:lnTo>
                  <a:pt x="10781" y="9971"/>
                </a:lnTo>
                <a:lnTo>
                  <a:pt x="10768" y="9958"/>
                </a:lnTo>
                <a:lnTo>
                  <a:pt x="10756" y="9943"/>
                </a:lnTo>
                <a:lnTo>
                  <a:pt x="10746" y="9928"/>
                </a:lnTo>
                <a:lnTo>
                  <a:pt x="10736" y="9911"/>
                </a:lnTo>
                <a:lnTo>
                  <a:pt x="10728" y="9894"/>
                </a:lnTo>
                <a:lnTo>
                  <a:pt x="10720" y="9876"/>
                </a:lnTo>
                <a:lnTo>
                  <a:pt x="10714" y="9857"/>
                </a:lnTo>
                <a:lnTo>
                  <a:pt x="10709" y="9839"/>
                </a:lnTo>
                <a:lnTo>
                  <a:pt x="10704" y="9819"/>
                </a:lnTo>
                <a:lnTo>
                  <a:pt x="10701" y="9800"/>
                </a:lnTo>
                <a:lnTo>
                  <a:pt x="10698" y="9780"/>
                </a:lnTo>
                <a:lnTo>
                  <a:pt x="10696" y="9759"/>
                </a:lnTo>
                <a:lnTo>
                  <a:pt x="10695" y="9740"/>
                </a:lnTo>
                <a:lnTo>
                  <a:pt x="10694" y="9720"/>
                </a:lnTo>
                <a:lnTo>
                  <a:pt x="10699" y="9713"/>
                </a:lnTo>
                <a:lnTo>
                  <a:pt x="10704" y="9706"/>
                </a:lnTo>
                <a:lnTo>
                  <a:pt x="10709" y="9698"/>
                </a:lnTo>
                <a:lnTo>
                  <a:pt x="10713" y="9689"/>
                </a:lnTo>
                <a:lnTo>
                  <a:pt x="10722" y="9668"/>
                </a:lnTo>
                <a:lnTo>
                  <a:pt x="10729" y="9645"/>
                </a:lnTo>
                <a:lnTo>
                  <a:pt x="10736" y="9619"/>
                </a:lnTo>
                <a:lnTo>
                  <a:pt x="10742" y="9592"/>
                </a:lnTo>
                <a:lnTo>
                  <a:pt x="10747" y="9564"/>
                </a:lnTo>
                <a:lnTo>
                  <a:pt x="10752" y="9536"/>
                </a:lnTo>
                <a:lnTo>
                  <a:pt x="10755" y="9506"/>
                </a:lnTo>
                <a:lnTo>
                  <a:pt x="10758" y="9477"/>
                </a:lnTo>
                <a:lnTo>
                  <a:pt x="10760" y="9449"/>
                </a:lnTo>
                <a:lnTo>
                  <a:pt x="10761" y="9423"/>
                </a:lnTo>
                <a:lnTo>
                  <a:pt x="10761" y="9398"/>
                </a:lnTo>
                <a:lnTo>
                  <a:pt x="10761" y="9375"/>
                </a:lnTo>
                <a:lnTo>
                  <a:pt x="10759" y="9355"/>
                </a:lnTo>
                <a:lnTo>
                  <a:pt x="10757" y="9339"/>
                </a:lnTo>
                <a:lnTo>
                  <a:pt x="10738" y="9330"/>
                </a:lnTo>
                <a:lnTo>
                  <a:pt x="10720" y="9323"/>
                </a:lnTo>
                <a:lnTo>
                  <a:pt x="10704" y="9317"/>
                </a:lnTo>
                <a:lnTo>
                  <a:pt x="10688" y="9312"/>
                </a:lnTo>
                <a:lnTo>
                  <a:pt x="10673" y="9309"/>
                </a:lnTo>
                <a:lnTo>
                  <a:pt x="10658" y="9306"/>
                </a:lnTo>
                <a:lnTo>
                  <a:pt x="10643" y="9305"/>
                </a:lnTo>
                <a:lnTo>
                  <a:pt x="10628" y="9304"/>
                </a:lnTo>
                <a:lnTo>
                  <a:pt x="10599" y="9304"/>
                </a:lnTo>
                <a:lnTo>
                  <a:pt x="10568" y="9305"/>
                </a:lnTo>
                <a:lnTo>
                  <a:pt x="10533" y="9306"/>
                </a:lnTo>
                <a:lnTo>
                  <a:pt x="10493" y="9307"/>
                </a:lnTo>
                <a:lnTo>
                  <a:pt x="10485" y="9295"/>
                </a:lnTo>
                <a:lnTo>
                  <a:pt x="10476" y="9284"/>
                </a:lnTo>
                <a:lnTo>
                  <a:pt x="10464" y="9274"/>
                </a:lnTo>
                <a:lnTo>
                  <a:pt x="10451" y="9266"/>
                </a:lnTo>
                <a:lnTo>
                  <a:pt x="10435" y="9257"/>
                </a:lnTo>
                <a:lnTo>
                  <a:pt x="10418" y="9251"/>
                </a:lnTo>
                <a:lnTo>
                  <a:pt x="10400" y="9245"/>
                </a:lnTo>
                <a:lnTo>
                  <a:pt x="10379" y="9241"/>
                </a:lnTo>
                <a:lnTo>
                  <a:pt x="10359" y="9237"/>
                </a:lnTo>
                <a:lnTo>
                  <a:pt x="10337" y="9234"/>
                </a:lnTo>
                <a:lnTo>
                  <a:pt x="10314" y="9231"/>
                </a:lnTo>
                <a:lnTo>
                  <a:pt x="10290" y="9230"/>
                </a:lnTo>
                <a:lnTo>
                  <a:pt x="10264" y="9229"/>
                </a:lnTo>
                <a:lnTo>
                  <a:pt x="10239" y="9228"/>
                </a:lnTo>
                <a:lnTo>
                  <a:pt x="10214" y="9228"/>
                </a:lnTo>
                <a:lnTo>
                  <a:pt x="10188" y="9229"/>
                </a:lnTo>
                <a:lnTo>
                  <a:pt x="10135" y="9231"/>
                </a:lnTo>
                <a:lnTo>
                  <a:pt x="10083" y="9234"/>
                </a:lnTo>
                <a:lnTo>
                  <a:pt x="10033" y="9238"/>
                </a:lnTo>
                <a:lnTo>
                  <a:pt x="9984" y="9243"/>
                </a:lnTo>
                <a:lnTo>
                  <a:pt x="9940" y="9247"/>
                </a:lnTo>
                <a:lnTo>
                  <a:pt x="9900" y="9250"/>
                </a:lnTo>
                <a:lnTo>
                  <a:pt x="9864" y="9253"/>
                </a:lnTo>
                <a:lnTo>
                  <a:pt x="9836" y="9254"/>
                </a:lnTo>
                <a:lnTo>
                  <a:pt x="9836" y="9260"/>
                </a:lnTo>
                <a:lnTo>
                  <a:pt x="9833" y="9267"/>
                </a:lnTo>
                <a:lnTo>
                  <a:pt x="9829" y="9271"/>
                </a:lnTo>
                <a:lnTo>
                  <a:pt x="9823" y="9275"/>
                </a:lnTo>
                <a:lnTo>
                  <a:pt x="9816" y="9278"/>
                </a:lnTo>
                <a:lnTo>
                  <a:pt x="9807" y="9281"/>
                </a:lnTo>
                <a:lnTo>
                  <a:pt x="9797" y="9282"/>
                </a:lnTo>
                <a:lnTo>
                  <a:pt x="9787" y="9283"/>
                </a:lnTo>
                <a:lnTo>
                  <a:pt x="9775" y="9283"/>
                </a:lnTo>
                <a:lnTo>
                  <a:pt x="9761" y="9283"/>
                </a:lnTo>
                <a:lnTo>
                  <a:pt x="9748" y="9281"/>
                </a:lnTo>
                <a:lnTo>
                  <a:pt x="9734" y="9280"/>
                </a:lnTo>
                <a:lnTo>
                  <a:pt x="9704" y="9275"/>
                </a:lnTo>
                <a:lnTo>
                  <a:pt x="9674" y="9268"/>
                </a:lnTo>
                <a:lnTo>
                  <a:pt x="9642" y="9259"/>
                </a:lnTo>
                <a:lnTo>
                  <a:pt x="9611" y="9249"/>
                </a:lnTo>
                <a:lnTo>
                  <a:pt x="9582" y="9238"/>
                </a:lnTo>
                <a:lnTo>
                  <a:pt x="9555" y="9227"/>
                </a:lnTo>
                <a:lnTo>
                  <a:pt x="9543" y="9221"/>
                </a:lnTo>
                <a:lnTo>
                  <a:pt x="9531" y="9215"/>
                </a:lnTo>
                <a:lnTo>
                  <a:pt x="9521" y="9209"/>
                </a:lnTo>
                <a:lnTo>
                  <a:pt x="9511" y="9203"/>
                </a:lnTo>
                <a:lnTo>
                  <a:pt x="9503" y="9197"/>
                </a:lnTo>
                <a:lnTo>
                  <a:pt x="9496" y="9191"/>
                </a:lnTo>
                <a:lnTo>
                  <a:pt x="9491" y="9186"/>
                </a:lnTo>
                <a:lnTo>
                  <a:pt x="9487" y="9180"/>
                </a:lnTo>
                <a:lnTo>
                  <a:pt x="9480" y="9179"/>
                </a:lnTo>
                <a:lnTo>
                  <a:pt x="9472" y="9178"/>
                </a:lnTo>
                <a:lnTo>
                  <a:pt x="9464" y="9176"/>
                </a:lnTo>
                <a:lnTo>
                  <a:pt x="9455" y="9173"/>
                </a:lnTo>
                <a:lnTo>
                  <a:pt x="9446" y="9169"/>
                </a:lnTo>
                <a:lnTo>
                  <a:pt x="9437" y="9164"/>
                </a:lnTo>
                <a:lnTo>
                  <a:pt x="9428" y="9159"/>
                </a:lnTo>
                <a:lnTo>
                  <a:pt x="9418" y="9153"/>
                </a:lnTo>
                <a:lnTo>
                  <a:pt x="9399" y="9139"/>
                </a:lnTo>
                <a:lnTo>
                  <a:pt x="9379" y="9123"/>
                </a:lnTo>
                <a:lnTo>
                  <a:pt x="9360" y="9106"/>
                </a:lnTo>
                <a:lnTo>
                  <a:pt x="9342" y="9087"/>
                </a:lnTo>
                <a:lnTo>
                  <a:pt x="9324" y="9068"/>
                </a:lnTo>
                <a:lnTo>
                  <a:pt x="9308" y="9048"/>
                </a:lnTo>
                <a:lnTo>
                  <a:pt x="9293" y="9028"/>
                </a:lnTo>
                <a:lnTo>
                  <a:pt x="9280" y="9007"/>
                </a:lnTo>
                <a:lnTo>
                  <a:pt x="9270" y="8987"/>
                </a:lnTo>
                <a:lnTo>
                  <a:pt x="9262" y="8969"/>
                </a:lnTo>
                <a:lnTo>
                  <a:pt x="9258" y="8960"/>
                </a:lnTo>
                <a:lnTo>
                  <a:pt x="9256" y="8952"/>
                </a:lnTo>
                <a:lnTo>
                  <a:pt x="9255" y="8944"/>
                </a:lnTo>
                <a:lnTo>
                  <a:pt x="9254" y="8937"/>
                </a:lnTo>
                <a:lnTo>
                  <a:pt x="9246" y="8931"/>
                </a:lnTo>
                <a:lnTo>
                  <a:pt x="9238" y="8923"/>
                </a:lnTo>
                <a:lnTo>
                  <a:pt x="9229" y="8915"/>
                </a:lnTo>
                <a:lnTo>
                  <a:pt x="9220" y="8906"/>
                </a:lnTo>
                <a:lnTo>
                  <a:pt x="9202" y="8884"/>
                </a:lnTo>
                <a:lnTo>
                  <a:pt x="9184" y="8858"/>
                </a:lnTo>
                <a:lnTo>
                  <a:pt x="9166" y="8830"/>
                </a:lnTo>
                <a:lnTo>
                  <a:pt x="9147" y="8799"/>
                </a:lnTo>
                <a:lnTo>
                  <a:pt x="9129" y="8767"/>
                </a:lnTo>
                <a:lnTo>
                  <a:pt x="9111" y="8733"/>
                </a:lnTo>
                <a:lnTo>
                  <a:pt x="9095" y="8700"/>
                </a:lnTo>
                <a:lnTo>
                  <a:pt x="9080" y="8666"/>
                </a:lnTo>
                <a:lnTo>
                  <a:pt x="9067" y="8634"/>
                </a:lnTo>
                <a:lnTo>
                  <a:pt x="9056" y="8602"/>
                </a:lnTo>
                <a:lnTo>
                  <a:pt x="9046" y="8573"/>
                </a:lnTo>
                <a:lnTo>
                  <a:pt x="9039" y="8546"/>
                </a:lnTo>
                <a:lnTo>
                  <a:pt x="9037" y="8534"/>
                </a:lnTo>
                <a:lnTo>
                  <a:pt x="9035" y="8523"/>
                </a:lnTo>
                <a:lnTo>
                  <a:pt x="9033" y="8512"/>
                </a:lnTo>
                <a:lnTo>
                  <a:pt x="9033" y="8502"/>
                </a:lnTo>
                <a:lnTo>
                  <a:pt x="9026" y="8498"/>
                </a:lnTo>
                <a:lnTo>
                  <a:pt x="9020" y="8494"/>
                </a:lnTo>
                <a:lnTo>
                  <a:pt x="9015" y="8489"/>
                </a:lnTo>
                <a:lnTo>
                  <a:pt x="9010" y="8484"/>
                </a:lnTo>
                <a:lnTo>
                  <a:pt x="9004" y="8478"/>
                </a:lnTo>
                <a:lnTo>
                  <a:pt x="9000" y="8472"/>
                </a:lnTo>
                <a:lnTo>
                  <a:pt x="8997" y="8465"/>
                </a:lnTo>
                <a:lnTo>
                  <a:pt x="8994" y="8459"/>
                </a:lnTo>
                <a:lnTo>
                  <a:pt x="8989" y="8444"/>
                </a:lnTo>
                <a:lnTo>
                  <a:pt x="8986" y="8429"/>
                </a:lnTo>
                <a:lnTo>
                  <a:pt x="8984" y="8414"/>
                </a:lnTo>
                <a:lnTo>
                  <a:pt x="8984" y="8399"/>
                </a:lnTo>
                <a:lnTo>
                  <a:pt x="8985" y="8384"/>
                </a:lnTo>
                <a:lnTo>
                  <a:pt x="8988" y="8369"/>
                </a:lnTo>
                <a:lnTo>
                  <a:pt x="8991" y="8357"/>
                </a:lnTo>
                <a:lnTo>
                  <a:pt x="8996" y="8345"/>
                </a:lnTo>
                <a:lnTo>
                  <a:pt x="9001" y="8336"/>
                </a:lnTo>
                <a:lnTo>
                  <a:pt x="9007" y="8329"/>
                </a:lnTo>
                <a:lnTo>
                  <a:pt x="9011" y="8326"/>
                </a:lnTo>
                <a:lnTo>
                  <a:pt x="9015" y="8324"/>
                </a:lnTo>
                <a:lnTo>
                  <a:pt x="9019" y="8323"/>
                </a:lnTo>
                <a:lnTo>
                  <a:pt x="9022" y="8323"/>
                </a:lnTo>
                <a:lnTo>
                  <a:pt x="9024" y="8314"/>
                </a:lnTo>
                <a:lnTo>
                  <a:pt x="9024" y="8304"/>
                </a:lnTo>
                <a:lnTo>
                  <a:pt x="9024" y="8293"/>
                </a:lnTo>
                <a:lnTo>
                  <a:pt x="9022" y="8280"/>
                </a:lnTo>
                <a:lnTo>
                  <a:pt x="9018" y="8249"/>
                </a:lnTo>
                <a:lnTo>
                  <a:pt x="9011" y="8218"/>
                </a:lnTo>
                <a:lnTo>
                  <a:pt x="9002" y="8185"/>
                </a:lnTo>
                <a:lnTo>
                  <a:pt x="8994" y="8153"/>
                </a:lnTo>
                <a:lnTo>
                  <a:pt x="8986" y="8123"/>
                </a:lnTo>
                <a:lnTo>
                  <a:pt x="8978" y="8098"/>
                </a:lnTo>
                <a:lnTo>
                  <a:pt x="8977" y="8090"/>
                </a:lnTo>
                <a:lnTo>
                  <a:pt x="8977" y="8081"/>
                </a:lnTo>
                <a:lnTo>
                  <a:pt x="8978" y="8073"/>
                </a:lnTo>
                <a:lnTo>
                  <a:pt x="8980" y="8064"/>
                </a:lnTo>
                <a:lnTo>
                  <a:pt x="8986" y="8047"/>
                </a:lnTo>
                <a:lnTo>
                  <a:pt x="8995" y="8029"/>
                </a:lnTo>
                <a:lnTo>
                  <a:pt x="9004" y="8010"/>
                </a:lnTo>
                <a:lnTo>
                  <a:pt x="9014" y="7991"/>
                </a:lnTo>
                <a:lnTo>
                  <a:pt x="9017" y="7981"/>
                </a:lnTo>
                <a:lnTo>
                  <a:pt x="9020" y="7972"/>
                </a:lnTo>
                <a:lnTo>
                  <a:pt x="9022" y="7962"/>
                </a:lnTo>
                <a:lnTo>
                  <a:pt x="9022" y="7952"/>
                </a:lnTo>
                <a:lnTo>
                  <a:pt x="9023" y="7901"/>
                </a:lnTo>
                <a:lnTo>
                  <a:pt x="9024" y="7854"/>
                </a:lnTo>
                <a:lnTo>
                  <a:pt x="9026" y="7832"/>
                </a:lnTo>
                <a:lnTo>
                  <a:pt x="9028" y="7811"/>
                </a:lnTo>
                <a:lnTo>
                  <a:pt x="9031" y="7791"/>
                </a:lnTo>
                <a:lnTo>
                  <a:pt x="9034" y="7770"/>
                </a:lnTo>
                <a:lnTo>
                  <a:pt x="9039" y="7748"/>
                </a:lnTo>
                <a:lnTo>
                  <a:pt x="9045" y="7727"/>
                </a:lnTo>
                <a:lnTo>
                  <a:pt x="9052" y="7706"/>
                </a:lnTo>
                <a:lnTo>
                  <a:pt x="9060" y="7683"/>
                </a:lnTo>
                <a:lnTo>
                  <a:pt x="9069" y="7660"/>
                </a:lnTo>
                <a:lnTo>
                  <a:pt x="9080" y="7635"/>
                </a:lnTo>
                <a:lnTo>
                  <a:pt x="9093" y="7608"/>
                </a:lnTo>
                <a:lnTo>
                  <a:pt x="9107" y="7579"/>
                </a:lnTo>
                <a:lnTo>
                  <a:pt x="9117" y="7561"/>
                </a:lnTo>
                <a:lnTo>
                  <a:pt x="9128" y="7543"/>
                </a:lnTo>
                <a:lnTo>
                  <a:pt x="9139" y="7524"/>
                </a:lnTo>
                <a:lnTo>
                  <a:pt x="9150" y="7506"/>
                </a:lnTo>
                <a:lnTo>
                  <a:pt x="9161" y="7485"/>
                </a:lnTo>
                <a:lnTo>
                  <a:pt x="9172" y="7465"/>
                </a:lnTo>
                <a:lnTo>
                  <a:pt x="9182" y="7444"/>
                </a:lnTo>
                <a:lnTo>
                  <a:pt x="9191" y="7422"/>
                </a:lnTo>
                <a:lnTo>
                  <a:pt x="9199" y="7403"/>
                </a:lnTo>
                <a:lnTo>
                  <a:pt x="9206" y="7390"/>
                </a:lnTo>
                <a:lnTo>
                  <a:pt x="9213" y="7380"/>
                </a:lnTo>
                <a:lnTo>
                  <a:pt x="9219" y="7373"/>
                </a:lnTo>
                <a:lnTo>
                  <a:pt x="9226" y="7368"/>
                </a:lnTo>
                <a:lnTo>
                  <a:pt x="9231" y="7366"/>
                </a:lnTo>
                <a:lnTo>
                  <a:pt x="9237" y="7365"/>
                </a:lnTo>
                <a:lnTo>
                  <a:pt x="9243" y="7365"/>
                </a:lnTo>
                <a:lnTo>
                  <a:pt x="9249" y="7365"/>
                </a:lnTo>
                <a:lnTo>
                  <a:pt x="9256" y="7364"/>
                </a:lnTo>
                <a:lnTo>
                  <a:pt x="9264" y="7363"/>
                </a:lnTo>
                <a:lnTo>
                  <a:pt x="9271" y="7359"/>
                </a:lnTo>
                <a:lnTo>
                  <a:pt x="9279" y="7354"/>
                </a:lnTo>
                <a:lnTo>
                  <a:pt x="9288" y="7345"/>
                </a:lnTo>
                <a:lnTo>
                  <a:pt x="9297" y="7334"/>
                </a:lnTo>
                <a:lnTo>
                  <a:pt x="9308" y="7317"/>
                </a:lnTo>
                <a:lnTo>
                  <a:pt x="9318" y="7311"/>
                </a:lnTo>
                <a:lnTo>
                  <a:pt x="9328" y="7304"/>
                </a:lnTo>
                <a:lnTo>
                  <a:pt x="9337" y="7295"/>
                </a:lnTo>
                <a:lnTo>
                  <a:pt x="9346" y="7286"/>
                </a:lnTo>
                <a:lnTo>
                  <a:pt x="9364" y="7264"/>
                </a:lnTo>
                <a:lnTo>
                  <a:pt x="9381" y="7239"/>
                </a:lnTo>
                <a:lnTo>
                  <a:pt x="9399" y="7214"/>
                </a:lnTo>
                <a:lnTo>
                  <a:pt x="9417" y="7190"/>
                </a:lnTo>
                <a:lnTo>
                  <a:pt x="9426" y="7179"/>
                </a:lnTo>
                <a:lnTo>
                  <a:pt x="9435" y="7168"/>
                </a:lnTo>
                <a:lnTo>
                  <a:pt x="9445" y="7158"/>
                </a:lnTo>
                <a:lnTo>
                  <a:pt x="9456" y="7148"/>
                </a:lnTo>
                <a:lnTo>
                  <a:pt x="9464" y="7137"/>
                </a:lnTo>
                <a:lnTo>
                  <a:pt x="9470" y="7126"/>
                </a:lnTo>
                <a:lnTo>
                  <a:pt x="9472" y="7122"/>
                </a:lnTo>
                <a:lnTo>
                  <a:pt x="9474" y="7116"/>
                </a:lnTo>
                <a:lnTo>
                  <a:pt x="9475" y="7112"/>
                </a:lnTo>
                <a:lnTo>
                  <a:pt x="9475" y="7108"/>
                </a:lnTo>
                <a:lnTo>
                  <a:pt x="9475" y="7104"/>
                </a:lnTo>
                <a:lnTo>
                  <a:pt x="9474" y="7100"/>
                </a:lnTo>
                <a:lnTo>
                  <a:pt x="9473" y="7095"/>
                </a:lnTo>
                <a:lnTo>
                  <a:pt x="9471" y="7091"/>
                </a:lnTo>
                <a:lnTo>
                  <a:pt x="9465" y="7083"/>
                </a:lnTo>
                <a:lnTo>
                  <a:pt x="9456" y="7074"/>
                </a:lnTo>
                <a:lnTo>
                  <a:pt x="9459" y="7072"/>
                </a:lnTo>
                <a:lnTo>
                  <a:pt x="9463" y="7067"/>
                </a:lnTo>
                <a:lnTo>
                  <a:pt x="9467" y="7058"/>
                </a:lnTo>
                <a:lnTo>
                  <a:pt x="9472" y="7048"/>
                </a:lnTo>
                <a:lnTo>
                  <a:pt x="9484" y="7021"/>
                </a:lnTo>
                <a:lnTo>
                  <a:pt x="9497" y="6987"/>
                </a:lnTo>
                <a:lnTo>
                  <a:pt x="9509" y="6953"/>
                </a:lnTo>
                <a:lnTo>
                  <a:pt x="9521" y="6920"/>
                </a:lnTo>
                <a:lnTo>
                  <a:pt x="9525" y="6906"/>
                </a:lnTo>
                <a:lnTo>
                  <a:pt x="9528" y="6893"/>
                </a:lnTo>
                <a:lnTo>
                  <a:pt x="9530" y="6882"/>
                </a:lnTo>
                <a:lnTo>
                  <a:pt x="9530" y="6874"/>
                </a:lnTo>
                <a:lnTo>
                  <a:pt x="9555" y="6837"/>
                </a:lnTo>
                <a:lnTo>
                  <a:pt x="9570" y="6815"/>
                </a:lnTo>
                <a:lnTo>
                  <a:pt x="9575" y="6808"/>
                </a:lnTo>
                <a:lnTo>
                  <a:pt x="9578" y="6803"/>
                </a:lnTo>
                <a:lnTo>
                  <a:pt x="9581" y="6801"/>
                </a:lnTo>
                <a:lnTo>
                  <a:pt x="9583" y="6800"/>
                </a:lnTo>
                <a:lnTo>
                  <a:pt x="9588" y="6802"/>
                </a:lnTo>
                <a:lnTo>
                  <a:pt x="9596" y="6808"/>
                </a:lnTo>
                <a:lnTo>
                  <a:pt x="9602" y="6811"/>
                </a:lnTo>
                <a:lnTo>
                  <a:pt x="9611" y="6815"/>
                </a:lnTo>
                <a:lnTo>
                  <a:pt x="9622" y="6818"/>
                </a:lnTo>
                <a:lnTo>
                  <a:pt x="9635" y="6820"/>
                </a:lnTo>
                <a:lnTo>
                  <a:pt x="9662" y="6788"/>
                </a:lnTo>
                <a:lnTo>
                  <a:pt x="9693" y="6750"/>
                </a:lnTo>
                <a:lnTo>
                  <a:pt x="9701" y="6740"/>
                </a:lnTo>
                <a:lnTo>
                  <a:pt x="9709" y="6731"/>
                </a:lnTo>
                <a:lnTo>
                  <a:pt x="9718" y="6724"/>
                </a:lnTo>
                <a:lnTo>
                  <a:pt x="9727" y="6717"/>
                </a:lnTo>
                <a:lnTo>
                  <a:pt x="9736" y="6711"/>
                </a:lnTo>
                <a:lnTo>
                  <a:pt x="9744" y="6707"/>
                </a:lnTo>
                <a:lnTo>
                  <a:pt x="9753" y="6704"/>
                </a:lnTo>
                <a:lnTo>
                  <a:pt x="9762" y="6703"/>
                </a:lnTo>
                <a:lnTo>
                  <a:pt x="9767" y="6696"/>
                </a:lnTo>
                <a:lnTo>
                  <a:pt x="9772" y="6689"/>
                </a:lnTo>
                <a:lnTo>
                  <a:pt x="9778" y="6683"/>
                </a:lnTo>
                <a:lnTo>
                  <a:pt x="9784" y="6676"/>
                </a:lnTo>
                <a:lnTo>
                  <a:pt x="9790" y="6671"/>
                </a:lnTo>
                <a:lnTo>
                  <a:pt x="9797" y="6666"/>
                </a:lnTo>
                <a:lnTo>
                  <a:pt x="9805" y="6661"/>
                </a:lnTo>
                <a:lnTo>
                  <a:pt x="9812" y="6657"/>
                </a:lnTo>
                <a:lnTo>
                  <a:pt x="9820" y="6653"/>
                </a:lnTo>
                <a:lnTo>
                  <a:pt x="9828" y="6650"/>
                </a:lnTo>
                <a:lnTo>
                  <a:pt x="9837" y="6647"/>
                </a:lnTo>
                <a:lnTo>
                  <a:pt x="9845" y="6645"/>
                </a:lnTo>
                <a:lnTo>
                  <a:pt x="9862" y="6642"/>
                </a:lnTo>
                <a:lnTo>
                  <a:pt x="9879" y="6641"/>
                </a:lnTo>
                <a:lnTo>
                  <a:pt x="9879" y="6646"/>
                </a:lnTo>
                <a:lnTo>
                  <a:pt x="9880" y="6651"/>
                </a:lnTo>
                <a:lnTo>
                  <a:pt x="9883" y="6655"/>
                </a:lnTo>
                <a:lnTo>
                  <a:pt x="9886" y="6658"/>
                </a:lnTo>
                <a:lnTo>
                  <a:pt x="9890" y="6660"/>
                </a:lnTo>
                <a:lnTo>
                  <a:pt x="9895" y="6662"/>
                </a:lnTo>
                <a:lnTo>
                  <a:pt x="9901" y="6663"/>
                </a:lnTo>
                <a:lnTo>
                  <a:pt x="9907" y="6664"/>
                </a:lnTo>
                <a:lnTo>
                  <a:pt x="9920" y="6664"/>
                </a:lnTo>
                <a:lnTo>
                  <a:pt x="9935" y="6662"/>
                </a:lnTo>
                <a:lnTo>
                  <a:pt x="9951" y="6658"/>
                </a:lnTo>
                <a:lnTo>
                  <a:pt x="9967" y="6654"/>
                </a:lnTo>
                <a:lnTo>
                  <a:pt x="10001" y="6643"/>
                </a:lnTo>
                <a:lnTo>
                  <a:pt x="10033" y="6632"/>
                </a:lnTo>
                <a:lnTo>
                  <a:pt x="10056" y="6623"/>
                </a:lnTo>
                <a:lnTo>
                  <a:pt x="10070" y="6620"/>
                </a:lnTo>
                <a:lnTo>
                  <a:pt x="10073" y="6613"/>
                </a:lnTo>
                <a:lnTo>
                  <a:pt x="10077" y="6608"/>
                </a:lnTo>
                <a:lnTo>
                  <a:pt x="10082" y="6602"/>
                </a:lnTo>
                <a:lnTo>
                  <a:pt x="10088" y="6596"/>
                </a:lnTo>
                <a:lnTo>
                  <a:pt x="10101" y="6585"/>
                </a:lnTo>
                <a:lnTo>
                  <a:pt x="10117" y="6574"/>
                </a:lnTo>
                <a:lnTo>
                  <a:pt x="10135" y="6563"/>
                </a:lnTo>
                <a:lnTo>
                  <a:pt x="10155" y="6553"/>
                </a:lnTo>
                <a:lnTo>
                  <a:pt x="10175" y="6543"/>
                </a:lnTo>
                <a:lnTo>
                  <a:pt x="10196" y="6533"/>
                </a:lnTo>
                <a:lnTo>
                  <a:pt x="10217" y="6525"/>
                </a:lnTo>
                <a:lnTo>
                  <a:pt x="10238" y="6517"/>
                </a:lnTo>
                <a:lnTo>
                  <a:pt x="10258" y="6510"/>
                </a:lnTo>
                <a:lnTo>
                  <a:pt x="10278" y="6504"/>
                </a:lnTo>
                <a:lnTo>
                  <a:pt x="10296" y="6499"/>
                </a:lnTo>
                <a:lnTo>
                  <a:pt x="10311" y="6496"/>
                </a:lnTo>
                <a:lnTo>
                  <a:pt x="10324" y="6493"/>
                </a:lnTo>
                <a:lnTo>
                  <a:pt x="10334" y="6493"/>
                </a:lnTo>
                <a:lnTo>
                  <a:pt x="10335" y="6485"/>
                </a:lnTo>
                <a:lnTo>
                  <a:pt x="10338" y="6480"/>
                </a:lnTo>
                <a:lnTo>
                  <a:pt x="10343" y="6475"/>
                </a:lnTo>
                <a:lnTo>
                  <a:pt x="10350" y="6472"/>
                </a:lnTo>
                <a:lnTo>
                  <a:pt x="10359" y="6469"/>
                </a:lnTo>
                <a:lnTo>
                  <a:pt x="10369" y="6467"/>
                </a:lnTo>
                <a:lnTo>
                  <a:pt x="10380" y="6465"/>
                </a:lnTo>
                <a:lnTo>
                  <a:pt x="10393" y="6464"/>
                </a:lnTo>
                <a:lnTo>
                  <a:pt x="10423" y="6464"/>
                </a:lnTo>
                <a:lnTo>
                  <a:pt x="10456" y="6466"/>
                </a:lnTo>
                <a:lnTo>
                  <a:pt x="10491" y="6469"/>
                </a:lnTo>
                <a:lnTo>
                  <a:pt x="10529" y="6473"/>
                </a:lnTo>
                <a:lnTo>
                  <a:pt x="10605" y="6484"/>
                </a:lnTo>
                <a:lnTo>
                  <a:pt x="10676" y="6495"/>
                </a:lnTo>
                <a:lnTo>
                  <a:pt x="10706" y="6499"/>
                </a:lnTo>
                <a:lnTo>
                  <a:pt x="10732" y="6502"/>
                </a:lnTo>
                <a:lnTo>
                  <a:pt x="10753" y="6504"/>
                </a:lnTo>
                <a:lnTo>
                  <a:pt x="10768" y="6503"/>
                </a:lnTo>
                <a:close/>
                <a:moveTo>
                  <a:pt x="10938" y="6418"/>
                </a:moveTo>
                <a:lnTo>
                  <a:pt x="10941" y="6408"/>
                </a:lnTo>
                <a:lnTo>
                  <a:pt x="10945" y="6400"/>
                </a:lnTo>
                <a:lnTo>
                  <a:pt x="10949" y="6394"/>
                </a:lnTo>
                <a:lnTo>
                  <a:pt x="10953" y="6390"/>
                </a:lnTo>
                <a:lnTo>
                  <a:pt x="10958" y="6387"/>
                </a:lnTo>
                <a:lnTo>
                  <a:pt x="10963" y="6387"/>
                </a:lnTo>
                <a:lnTo>
                  <a:pt x="10969" y="6387"/>
                </a:lnTo>
                <a:lnTo>
                  <a:pt x="10974" y="6389"/>
                </a:lnTo>
                <a:lnTo>
                  <a:pt x="10999" y="6402"/>
                </a:lnTo>
                <a:lnTo>
                  <a:pt x="11026" y="6415"/>
                </a:lnTo>
                <a:lnTo>
                  <a:pt x="11040" y="6419"/>
                </a:lnTo>
                <a:lnTo>
                  <a:pt x="11052" y="6423"/>
                </a:lnTo>
                <a:lnTo>
                  <a:pt x="11061" y="6425"/>
                </a:lnTo>
                <a:lnTo>
                  <a:pt x="11069" y="6426"/>
                </a:lnTo>
                <a:lnTo>
                  <a:pt x="11076" y="6426"/>
                </a:lnTo>
                <a:lnTo>
                  <a:pt x="11081" y="6425"/>
                </a:lnTo>
                <a:lnTo>
                  <a:pt x="11086" y="6423"/>
                </a:lnTo>
                <a:lnTo>
                  <a:pt x="11090" y="6421"/>
                </a:lnTo>
                <a:lnTo>
                  <a:pt x="11098" y="6415"/>
                </a:lnTo>
                <a:lnTo>
                  <a:pt x="11107" y="6406"/>
                </a:lnTo>
                <a:lnTo>
                  <a:pt x="11113" y="6402"/>
                </a:lnTo>
                <a:lnTo>
                  <a:pt x="11120" y="6397"/>
                </a:lnTo>
                <a:lnTo>
                  <a:pt x="11128" y="6392"/>
                </a:lnTo>
                <a:lnTo>
                  <a:pt x="11138" y="6387"/>
                </a:lnTo>
                <a:lnTo>
                  <a:pt x="11138" y="6402"/>
                </a:lnTo>
                <a:lnTo>
                  <a:pt x="11137" y="6415"/>
                </a:lnTo>
                <a:lnTo>
                  <a:pt x="11136" y="6427"/>
                </a:lnTo>
                <a:lnTo>
                  <a:pt x="11134" y="6437"/>
                </a:lnTo>
                <a:lnTo>
                  <a:pt x="11132" y="6446"/>
                </a:lnTo>
                <a:lnTo>
                  <a:pt x="11129" y="6454"/>
                </a:lnTo>
                <a:lnTo>
                  <a:pt x="11125" y="6460"/>
                </a:lnTo>
                <a:lnTo>
                  <a:pt x="11121" y="6465"/>
                </a:lnTo>
                <a:lnTo>
                  <a:pt x="11117" y="6469"/>
                </a:lnTo>
                <a:lnTo>
                  <a:pt x="11113" y="6472"/>
                </a:lnTo>
                <a:lnTo>
                  <a:pt x="11108" y="6473"/>
                </a:lnTo>
                <a:lnTo>
                  <a:pt x="11102" y="6474"/>
                </a:lnTo>
                <a:lnTo>
                  <a:pt x="11096" y="6474"/>
                </a:lnTo>
                <a:lnTo>
                  <a:pt x="11090" y="6474"/>
                </a:lnTo>
                <a:lnTo>
                  <a:pt x="11084" y="6472"/>
                </a:lnTo>
                <a:lnTo>
                  <a:pt x="11077" y="6470"/>
                </a:lnTo>
                <a:lnTo>
                  <a:pt x="11047" y="6458"/>
                </a:lnTo>
                <a:lnTo>
                  <a:pt x="11012" y="6441"/>
                </a:lnTo>
                <a:lnTo>
                  <a:pt x="10994" y="6433"/>
                </a:lnTo>
                <a:lnTo>
                  <a:pt x="10976" y="6427"/>
                </a:lnTo>
                <a:lnTo>
                  <a:pt x="10966" y="6424"/>
                </a:lnTo>
                <a:lnTo>
                  <a:pt x="10957" y="6421"/>
                </a:lnTo>
                <a:lnTo>
                  <a:pt x="10947" y="6419"/>
                </a:lnTo>
                <a:lnTo>
                  <a:pt x="10938" y="6418"/>
                </a:lnTo>
                <a:close/>
                <a:moveTo>
                  <a:pt x="13446" y="10831"/>
                </a:moveTo>
                <a:lnTo>
                  <a:pt x="13446" y="10819"/>
                </a:lnTo>
                <a:lnTo>
                  <a:pt x="13447" y="10809"/>
                </a:lnTo>
                <a:lnTo>
                  <a:pt x="13449" y="10803"/>
                </a:lnTo>
                <a:lnTo>
                  <a:pt x="13452" y="10798"/>
                </a:lnTo>
                <a:lnTo>
                  <a:pt x="13462" y="10789"/>
                </a:lnTo>
                <a:lnTo>
                  <a:pt x="13477" y="10778"/>
                </a:lnTo>
                <a:lnTo>
                  <a:pt x="13481" y="10797"/>
                </a:lnTo>
                <a:lnTo>
                  <a:pt x="13485" y="10812"/>
                </a:lnTo>
                <a:lnTo>
                  <a:pt x="13486" y="10818"/>
                </a:lnTo>
                <a:lnTo>
                  <a:pt x="13486" y="10824"/>
                </a:lnTo>
                <a:lnTo>
                  <a:pt x="13486" y="10828"/>
                </a:lnTo>
                <a:lnTo>
                  <a:pt x="13485" y="10832"/>
                </a:lnTo>
                <a:lnTo>
                  <a:pt x="13484" y="10834"/>
                </a:lnTo>
                <a:lnTo>
                  <a:pt x="13482" y="10836"/>
                </a:lnTo>
                <a:lnTo>
                  <a:pt x="13479" y="10838"/>
                </a:lnTo>
                <a:lnTo>
                  <a:pt x="13474" y="10838"/>
                </a:lnTo>
                <a:lnTo>
                  <a:pt x="13463" y="10836"/>
                </a:lnTo>
                <a:lnTo>
                  <a:pt x="13446" y="10831"/>
                </a:lnTo>
                <a:close/>
                <a:moveTo>
                  <a:pt x="9520" y="5179"/>
                </a:moveTo>
                <a:lnTo>
                  <a:pt x="9509" y="5169"/>
                </a:lnTo>
                <a:lnTo>
                  <a:pt x="9503" y="5159"/>
                </a:lnTo>
                <a:lnTo>
                  <a:pt x="9498" y="5150"/>
                </a:lnTo>
                <a:lnTo>
                  <a:pt x="9495" y="5141"/>
                </a:lnTo>
                <a:lnTo>
                  <a:pt x="9494" y="5133"/>
                </a:lnTo>
                <a:lnTo>
                  <a:pt x="9494" y="5124"/>
                </a:lnTo>
                <a:lnTo>
                  <a:pt x="9495" y="5116"/>
                </a:lnTo>
                <a:lnTo>
                  <a:pt x="9498" y="5107"/>
                </a:lnTo>
                <a:lnTo>
                  <a:pt x="9505" y="5090"/>
                </a:lnTo>
                <a:lnTo>
                  <a:pt x="9515" y="5072"/>
                </a:lnTo>
                <a:lnTo>
                  <a:pt x="9520" y="5063"/>
                </a:lnTo>
                <a:lnTo>
                  <a:pt x="9524" y="5053"/>
                </a:lnTo>
                <a:lnTo>
                  <a:pt x="9528" y="5043"/>
                </a:lnTo>
                <a:lnTo>
                  <a:pt x="9530" y="5032"/>
                </a:lnTo>
                <a:lnTo>
                  <a:pt x="9522" y="5029"/>
                </a:lnTo>
                <a:lnTo>
                  <a:pt x="9515" y="5026"/>
                </a:lnTo>
                <a:lnTo>
                  <a:pt x="9508" y="5024"/>
                </a:lnTo>
                <a:lnTo>
                  <a:pt x="9504" y="5021"/>
                </a:lnTo>
                <a:lnTo>
                  <a:pt x="9502" y="5019"/>
                </a:lnTo>
                <a:lnTo>
                  <a:pt x="9501" y="5016"/>
                </a:lnTo>
                <a:lnTo>
                  <a:pt x="9501" y="5014"/>
                </a:lnTo>
                <a:lnTo>
                  <a:pt x="9502" y="5011"/>
                </a:lnTo>
                <a:lnTo>
                  <a:pt x="9508" y="5006"/>
                </a:lnTo>
                <a:lnTo>
                  <a:pt x="9519" y="5000"/>
                </a:lnTo>
                <a:lnTo>
                  <a:pt x="9531" y="4995"/>
                </a:lnTo>
                <a:lnTo>
                  <a:pt x="9546" y="4989"/>
                </a:lnTo>
                <a:lnTo>
                  <a:pt x="9578" y="4979"/>
                </a:lnTo>
                <a:lnTo>
                  <a:pt x="9609" y="4967"/>
                </a:lnTo>
                <a:lnTo>
                  <a:pt x="9623" y="4962"/>
                </a:lnTo>
                <a:lnTo>
                  <a:pt x="9634" y="4957"/>
                </a:lnTo>
                <a:lnTo>
                  <a:pt x="9638" y="4954"/>
                </a:lnTo>
                <a:lnTo>
                  <a:pt x="9643" y="4952"/>
                </a:lnTo>
                <a:lnTo>
                  <a:pt x="9645" y="4949"/>
                </a:lnTo>
                <a:lnTo>
                  <a:pt x="9647" y="4947"/>
                </a:lnTo>
                <a:lnTo>
                  <a:pt x="9640" y="4946"/>
                </a:lnTo>
                <a:lnTo>
                  <a:pt x="9633" y="4945"/>
                </a:lnTo>
                <a:lnTo>
                  <a:pt x="9627" y="4943"/>
                </a:lnTo>
                <a:lnTo>
                  <a:pt x="9622" y="4940"/>
                </a:lnTo>
                <a:lnTo>
                  <a:pt x="9617" y="4937"/>
                </a:lnTo>
                <a:lnTo>
                  <a:pt x="9612" y="4933"/>
                </a:lnTo>
                <a:lnTo>
                  <a:pt x="9608" y="4929"/>
                </a:lnTo>
                <a:lnTo>
                  <a:pt x="9605" y="4925"/>
                </a:lnTo>
                <a:lnTo>
                  <a:pt x="9602" y="4920"/>
                </a:lnTo>
                <a:lnTo>
                  <a:pt x="9599" y="4914"/>
                </a:lnTo>
                <a:lnTo>
                  <a:pt x="9597" y="4909"/>
                </a:lnTo>
                <a:lnTo>
                  <a:pt x="9596" y="4903"/>
                </a:lnTo>
                <a:lnTo>
                  <a:pt x="9596" y="4897"/>
                </a:lnTo>
                <a:lnTo>
                  <a:pt x="9597" y="4891"/>
                </a:lnTo>
                <a:lnTo>
                  <a:pt x="9598" y="4885"/>
                </a:lnTo>
                <a:lnTo>
                  <a:pt x="9600" y="4880"/>
                </a:lnTo>
                <a:lnTo>
                  <a:pt x="9603" y="4874"/>
                </a:lnTo>
                <a:lnTo>
                  <a:pt x="9606" y="4871"/>
                </a:lnTo>
                <a:lnTo>
                  <a:pt x="9610" y="4870"/>
                </a:lnTo>
                <a:lnTo>
                  <a:pt x="9613" y="4871"/>
                </a:lnTo>
                <a:lnTo>
                  <a:pt x="9622" y="4876"/>
                </a:lnTo>
                <a:lnTo>
                  <a:pt x="9631" y="4885"/>
                </a:lnTo>
                <a:lnTo>
                  <a:pt x="9642" y="4895"/>
                </a:lnTo>
                <a:lnTo>
                  <a:pt x="9653" y="4903"/>
                </a:lnTo>
                <a:lnTo>
                  <a:pt x="9659" y="4906"/>
                </a:lnTo>
                <a:lnTo>
                  <a:pt x="9665" y="4907"/>
                </a:lnTo>
                <a:lnTo>
                  <a:pt x="9672" y="4907"/>
                </a:lnTo>
                <a:lnTo>
                  <a:pt x="9678" y="4905"/>
                </a:lnTo>
                <a:lnTo>
                  <a:pt x="9696" y="4901"/>
                </a:lnTo>
                <a:lnTo>
                  <a:pt x="9715" y="4894"/>
                </a:lnTo>
                <a:lnTo>
                  <a:pt x="9725" y="4891"/>
                </a:lnTo>
                <a:lnTo>
                  <a:pt x="9734" y="4888"/>
                </a:lnTo>
                <a:lnTo>
                  <a:pt x="9743" y="4885"/>
                </a:lnTo>
                <a:lnTo>
                  <a:pt x="9752" y="4884"/>
                </a:lnTo>
                <a:lnTo>
                  <a:pt x="9755" y="4884"/>
                </a:lnTo>
                <a:lnTo>
                  <a:pt x="9759" y="4885"/>
                </a:lnTo>
                <a:lnTo>
                  <a:pt x="9762" y="4886"/>
                </a:lnTo>
                <a:lnTo>
                  <a:pt x="9766" y="4887"/>
                </a:lnTo>
                <a:lnTo>
                  <a:pt x="9768" y="4889"/>
                </a:lnTo>
                <a:lnTo>
                  <a:pt x="9770" y="4892"/>
                </a:lnTo>
                <a:lnTo>
                  <a:pt x="9772" y="4895"/>
                </a:lnTo>
                <a:lnTo>
                  <a:pt x="9773" y="4899"/>
                </a:lnTo>
                <a:lnTo>
                  <a:pt x="9774" y="4903"/>
                </a:lnTo>
                <a:lnTo>
                  <a:pt x="9774" y="4909"/>
                </a:lnTo>
                <a:lnTo>
                  <a:pt x="9774" y="4915"/>
                </a:lnTo>
                <a:lnTo>
                  <a:pt x="9773" y="4922"/>
                </a:lnTo>
                <a:lnTo>
                  <a:pt x="9769" y="4939"/>
                </a:lnTo>
                <a:lnTo>
                  <a:pt x="9761" y="4960"/>
                </a:lnTo>
                <a:lnTo>
                  <a:pt x="9753" y="4984"/>
                </a:lnTo>
                <a:lnTo>
                  <a:pt x="9745" y="5006"/>
                </a:lnTo>
                <a:lnTo>
                  <a:pt x="9736" y="5027"/>
                </a:lnTo>
                <a:lnTo>
                  <a:pt x="9727" y="5047"/>
                </a:lnTo>
                <a:lnTo>
                  <a:pt x="9718" y="5066"/>
                </a:lnTo>
                <a:lnTo>
                  <a:pt x="9707" y="5084"/>
                </a:lnTo>
                <a:lnTo>
                  <a:pt x="9696" y="5100"/>
                </a:lnTo>
                <a:lnTo>
                  <a:pt x="9684" y="5116"/>
                </a:lnTo>
                <a:lnTo>
                  <a:pt x="9677" y="5123"/>
                </a:lnTo>
                <a:lnTo>
                  <a:pt x="9670" y="5130"/>
                </a:lnTo>
                <a:lnTo>
                  <a:pt x="9662" y="5136"/>
                </a:lnTo>
                <a:lnTo>
                  <a:pt x="9654" y="5142"/>
                </a:lnTo>
                <a:lnTo>
                  <a:pt x="9646" y="5148"/>
                </a:lnTo>
                <a:lnTo>
                  <a:pt x="9636" y="5153"/>
                </a:lnTo>
                <a:lnTo>
                  <a:pt x="9627" y="5158"/>
                </a:lnTo>
                <a:lnTo>
                  <a:pt x="9617" y="5162"/>
                </a:lnTo>
                <a:lnTo>
                  <a:pt x="9607" y="5166"/>
                </a:lnTo>
                <a:lnTo>
                  <a:pt x="9596" y="5169"/>
                </a:lnTo>
                <a:lnTo>
                  <a:pt x="9585" y="5172"/>
                </a:lnTo>
                <a:lnTo>
                  <a:pt x="9573" y="5175"/>
                </a:lnTo>
                <a:lnTo>
                  <a:pt x="9561" y="5177"/>
                </a:lnTo>
                <a:lnTo>
                  <a:pt x="9548" y="5178"/>
                </a:lnTo>
                <a:lnTo>
                  <a:pt x="9534" y="5179"/>
                </a:lnTo>
                <a:lnTo>
                  <a:pt x="9520" y="5179"/>
                </a:lnTo>
                <a:close/>
                <a:moveTo>
                  <a:pt x="8577" y="3974"/>
                </a:moveTo>
                <a:lnTo>
                  <a:pt x="8596" y="3965"/>
                </a:lnTo>
                <a:lnTo>
                  <a:pt x="8640" y="3947"/>
                </a:lnTo>
                <a:lnTo>
                  <a:pt x="8664" y="3937"/>
                </a:lnTo>
                <a:lnTo>
                  <a:pt x="8687" y="3929"/>
                </a:lnTo>
                <a:lnTo>
                  <a:pt x="8704" y="3923"/>
                </a:lnTo>
                <a:lnTo>
                  <a:pt x="8715" y="3920"/>
                </a:lnTo>
                <a:lnTo>
                  <a:pt x="8714" y="3927"/>
                </a:lnTo>
                <a:lnTo>
                  <a:pt x="8712" y="3931"/>
                </a:lnTo>
                <a:lnTo>
                  <a:pt x="8709" y="3934"/>
                </a:lnTo>
                <a:lnTo>
                  <a:pt x="8707" y="3935"/>
                </a:lnTo>
                <a:lnTo>
                  <a:pt x="8707" y="3936"/>
                </a:lnTo>
                <a:lnTo>
                  <a:pt x="8709" y="3937"/>
                </a:lnTo>
                <a:lnTo>
                  <a:pt x="8715" y="3939"/>
                </a:lnTo>
                <a:lnTo>
                  <a:pt x="8725" y="3941"/>
                </a:lnTo>
                <a:lnTo>
                  <a:pt x="8727" y="3950"/>
                </a:lnTo>
                <a:lnTo>
                  <a:pt x="8727" y="3961"/>
                </a:lnTo>
                <a:lnTo>
                  <a:pt x="8727" y="3974"/>
                </a:lnTo>
                <a:lnTo>
                  <a:pt x="8727" y="3986"/>
                </a:lnTo>
                <a:lnTo>
                  <a:pt x="8725" y="4007"/>
                </a:lnTo>
                <a:lnTo>
                  <a:pt x="8725" y="4016"/>
                </a:lnTo>
                <a:lnTo>
                  <a:pt x="8726" y="4018"/>
                </a:lnTo>
                <a:lnTo>
                  <a:pt x="8727" y="4020"/>
                </a:lnTo>
                <a:lnTo>
                  <a:pt x="8729" y="4021"/>
                </a:lnTo>
                <a:lnTo>
                  <a:pt x="8732" y="4022"/>
                </a:lnTo>
                <a:lnTo>
                  <a:pt x="8740" y="4022"/>
                </a:lnTo>
                <a:lnTo>
                  <a:pt x="8751" y="4022"/>
                </a:lnTo>
                <a:lnTo>
                  <a:pt x="8779" y="4017"/>
                </a:lnTo>
                <a:lnTo>
                  <a:pt x="8810" y="4010"/>
                </a:lnTo>
                <a:lnTo>
                  <a:pt x="8842" y="4001"/>
                </a:lnTo>
                <a:lnTo>
                  <a:pt x="8872" y="3993"/>
                </a:lnTo>
                <a:lnTo>
                  <a:pt x="8897" y="3986"/>
                </a:lnTo>
                <a:lnTo>
                  <a:pt x="8912" y="3983"/>
                </a:lnTo>
                <a:lnTo>
                  <a:pt x="8935" y="3979"/>
                </a:lnTo>
                <a:lnTo>
                  <a:pt x="8955" y="3974"/>
                </a:lnTo>
                <a:lnTo>
                  <a:pt x="8974" y="3967"/>
                </a:lnTo>
                <a:lnTo>
                  <a:pt x="8991" y="3961"/>
                </a:lnTo>
                <a:lnTo>
                  <a:pt x="9020" y="3949"/>
                </a:lnTo>
                <a:lnTo>
                  <a:pt x="9041" y="3941"/>
                </a:lnTo>
                <a:lnTo>
                  <a:pt x="9046" y="3940"/>
                </a:lnTo>
                <a:lnTo>
                  <a:pt x="9050" y="3940"/>
                </a:lnTo>
                <a:lnTo>
                  <a:pt x="9054" y="3940"/>
                </a:lnTo>
                <a:lnTo>
                  <a:pt x="9057" y="3940"/>
                </a:lnTo>
                <a:lnTo>
                  <a:pt x="9060" y="3942"/>
                </a:lnTo>
                <a:lnTo>
                  <a:pt x="9063" y="3944"/>
                </a:lnTo>
                <a:lnTo>
                  <a:pt x="9065" y="3947"/>
                </a:lnTo>
                <a:lnTo>
                  <a:pt x="9067" y="3950"/>
                </a:lnTo>
                <a:lnTo>
                  <a:pt x="9071" y="3960"/>
                </a:lnTo>
                <a:lnTo>
                  <a:pt x="9073" y="3975"/>
                </a:lnTo>
                <a:lnTo>
                  <a:pt x="9074" y="3993"/>
                </a:lnTo>
                <a:lnTo>
                  <a:pt x="9075" y="4016"/>
                </a:lnTo>
                <a:lnTo>
                  <a:pt x="9087" y="4020"/>
                </a:lnTo>
                <a:lnTo>
                  <a:pt x="9097" y="4022"/>
                </a:lnTo>
                <a:lnTo>
                  <a:pt x="9106" y="4024"/>
                </a:lnTo>
                <a:lnTo>
                  <a:pt x="9113" y="4024"/>
                </a:lnTo>
                <a:lnTo>
                  <a:pt x="9120" y="4022"/>
                </a:lnTo>
                <a:lnTo>
                  <a:pt x="9125" y="4020"/>
                </a:lnTo>
                <a:lnTo>
                  <a:pt x="9130" y="4017"/>
                </a:lnTo>
                <a:lnTo>
                  <a:pt x="9136" y="4014"/>
                </a:lnTo>
                <a:lnTo>
                  <a:pt x="9144" y="4005"/>
                </a:lnTo>
                <a:lnTo>
                  <a:pt x="9153" y="3994"/>
                </a:lnTo>
                <a:lnTo>
                  <a:pt x="9159" y="3989"/>
                </a:lnTo>
                <a:lnTo>
                  <a:pt x="9165" y="3984"/>
                </a:lnTo>
                <a:lnTo>
                  <a:pt x="9172" y="3979"/>
                </a:lnTo>
                <a:lnTo>
                  <a:pt x="9181" y="3974"/>
                </a:lnTo>
                <a:lnTo>
                  <a:pt x="9182" y="3984"/>
                </a:lnTo>
                <a:lnTo>
                  <a:pt x="9183" y="3992"/>
                </a:lnTo>
                <a:lnTo>
                  <a:pt x="9185" y="3999"/>
                </a:lnTo>
                <a:lnTo>
                  <a:pt x="9188" y="4006"/>
                </a:lnTo>
                <a:lnTo>
                  <a:pt x="9194" y="4017"/>
                </a:lnTo>
                <a:lnTo>
                  <a:pt x="9198" y="4026"/>
                </a:lnTo>
                <a:lnTo>
                  <a:pt x="9199" y="4030"/>
                </a:lnTo>
                <a:lnTo>
                  <a:pt x="9200" y="4034"/>
                </a:lnTo>
                <a:lnTo>
                  <a:pt x="9199" y="4038"/>
                </a:lnTo>
                <a:lnTo>
                  <a:pt x="9196" y="4043"/>
                </a:lnTo>
                <a:lnTo>
                  <a:pt x="9191" y="4048"/>
                </a:lnTo>
                <a:lnTo>
                  <a:pt x="9185" y="4054"/>
                </a:lnTo>
                <a:lnTo>
                  <a:pt x="9176" y="4060"/>
                </a:lnTo>
                <a:lnTo>
                  <a:pt x="9165" y="4068"/>
                </a:lnTo>
                <a:lnTo>
                  <a:pt x="9143" y="4081"/>
                </a:lnTo>
                <a:lnTo>
                  <a:pt x="9120" y="4092"/>
                </a:lnTo>
                <a:lnTo>
                  <a:pt x="9098" y="4103"/>
                </a:lnTo>
                <a:lnTo>
                  <a:pt x="9076" y="4110"/>
                </a:lnTo>
                <a:lnTo>
                  <a:pt x="9053" y="4115"/>
                </a:lnTo>
                <a:lnTo>
                  <a:pt x="9029" y="4119"/>
                </a:lnTo>
                <a:lnTo>
                  <a:pt x="9002" y="4121"/>
                </a:lnTo>
                <a:lnTo>
                  <a:pt x="8974" y="4122"/>
                </a:lnTo>
                <a:lnTo>
                  <a:pt x="8959" y="4123"/>
                </a:lnTo>
                <a:lnTo>
                  <a:pt x="8932" y="4126"/>
                </a:lnTo>
                <a:lnTo>
                  <a:pt x="8899" y="4131"/>
                </a:lnTo>
                <a:lnTo>
                  <a:pt x="8862" y="4135"/>
                </a:lnTo>
                <a:lnTo>
                  <a:pt x="8827" y="4138"/>
                </a:lnTo>
                <a:lnTo>
                  <a:pt x="8797" y="4140"/>
                </a:lnTo>
                <a:lnTo>
                  <a:pt x="8785" y="4139"/>
                </a:lnTo>
                <a:lnTo>
                  <a:pt x="8776" y="4138"/>
                </a:lnTo>
                <a:lnTo>
                  <a:pt x="8773" y="4137"/>
                </a:lnTo>
                <a:lnTo>
                  <a:pt x="8770" y="4135"/>
                </a:lnTo>
                <a:lnTo>
                  <a:pt x="8769" y="4134"/>
                </a:lnTo>
                <a:lnTo>
                  <a:pt x="8768" y="4132"/>
                </a:lnTo>
                <a:lnTo>
                  <a:pt x="8755" y="4132"/>
                </a:lnTo>
                <a:lnTo>
                  <a:pt x="8743" y="4131"/>
                </a:lnTo>
                <a:lnTo>
                  <a:pt x="8731" y="4129"/>
                </a:lnTo>
                <a:lnTo>
                  <a:pt x="8719" y="4127"/>
                </a:lnTo>
                <a:lnTo>
                  <a:pt x="8696" y="4121"/>
                </a:lnTo>
                <a:lnTo>
                  <a:pt x="8672" y="4114"/>
                </a:lnTo>
                <a:lnTo>
                  <a:pt x="8648" y="4107"/>
                </a:lnTo>
                <a:lnTo>
                  <a:pt x="8622" y="4100"/>
                </a:lnTo>
                <a:lnTo>
                  <a:pt x="8595" y="4093"/>
                </a:lnTo>
                <a:lnTo>
                  <a:pt x="8567" y="4089"/>
                </a:lnTo>
                <a:lnTo>
                  <a:pt x="8568" y="4083"/>
                </a:lnTo>
                <a:lnTo>
                  <a:pt x="8571" y="4075"/>
                </a:lnTo>
                <a:lnTo>
                  <a:pt x="8577" y="4067"/>
                </a:lnTo>
                <a:lnTo>
                  <a:pt x="8583" y="4058"/>
                </a:lnTo>
                <a:lnTo>
                  <a:pt x="8597" y="4039"/>
                </a:lnTo>
                <a:lnTo>
                  <a:pt x="8611" y="4020"/>
                </a:lnTo>
                <a:lnTo>
                  <a:pt x="8616" y="4011"/>
                </a:lnTo>
                <a:lnTo>
                  <a:pt x="8619" y="4002"/>
                </a:lnTo>
                <a:lnTo>
                  <a:pt x="8620" y="3998"/>
                </a:lnTo>
                <a:lnTo>
                  <a:pt x="8620" y="3995"/>
                </a:lnTo>
                <a:lnTo>
                  <a:pt x="8620" y="3991"/>
                </a:lnTo>
                <a:lnTo>
                  <a:pt x="8619" y="3988"/>
                </a:lnTo>
                <a:lnTo>
                  <a:pt x="8617" y="3985"/>
                </a:lnTo>
                <a:lnTo>
                  <a:pt x="8615" y="3982"/>
                </a:lnTo>
                <a:lnTo>
                  <a:pt x="8611" y="3980"/>
                </a:lnTo>
                <a:lnTo>
                  <a:pt x="8606" y="3978"/>
                </a:lnTo>
                <a:lnTo>
                  <a:pt x="8601" y="3976"/>
                </a:lnTo>
                <a:lnTo>
                  <a:pt x="8594" y="3975"/>
                </a:lnTo>
                <a:lnTo>
                  <a:pt x="8586" y="3974"/>
                </a:lnTo>
                <a:lnTo>
                  <a:pt x="8577" y="3974"/>
                </a:lnTo>
                <a:close/>
                <a:moveTo>
                  <a:pt x="13139" y="11127"/>
                </a:moveTo>
                <a:lnTo>
                  <a:pt x="13154" y="11140"/>
                </a:lnTo>
                <a:lnTo>
                  <a:pt x="13170" y="11154"/>
                </a:lnTo>
                <a:lnTo>
                  <a:pt x="13177" y="11160"/>
                </a:lnTo>
                <a:lnTo>
                  <a:pt x="13184" y="11166"/>
                </a:lnTo>
                <a:lnTo>
                  <a:pt x="13190" y="11170"/>
                </a:lnTo>
                <a:lnTo>
                  <a:pt x="13197" y="11174"/>
                </a:lnTo>
                <a:lnTo>
                  <a:pt x="13203" y="11176"/>
                </a:lnTo>
                <a:lnTo>
                  <a:pt x="13209" y="11176"/>
                </a:lnTo>
                <a:lnTo>
                  <a:pt x="13212" y="11176"/>
                </a:lnTo>
                <a:lnTo>
                  <a:pt x="13215" y="11175"/>
                </a:lnTo>
                <a:lnTo>
                  <a:pt x="13218" y="11173"/>
                </a:lnTo>
                <a:lnTo>
                  <a:pt x="13221" y="11171"/>
                </a:lnTo>
                <a:lnTo>
                  <a:pt x="13227" y="11164"/>
                </a:lnTo>
                <a:lnTo>
                  <a:pt x="13233" y="11155"/>
                </a:lnTo>
                <a:lnTo>
                  <a:pt x="13239" y="11142"/>
                </a:lnTo>
                <a:lnTo>
                  <a:pt x="13245" y="11127"/>
                </a:lnTo>
                <a:lnTo>
                  <a:pt x="13231" y="11124"/>
                </a:lnTo>
                <a:lnTo>
                  <a:pt x="13220" y="11121"/>
                </a:lnTo>
                <a:lnTo>
                  <a:pt x="13211" y="11117"/>
                </a:lnTo>
                <a:lnTo>
                  <a:pt x="13204" y="11113"/>
                </a:lnTo>
                <a:lnTo>
                  <a:pt x="13199" y="11109"/>
                </a:lnTo>
                <a:lnTo>
                  <a:pt x="13195" y="11104"/>
                </a:lnTo>
                <a:lnTo>
                  <a:pt x="13192" y="11099"/>
                </a:lnTo>
                <a:lnTo>
                  <a:pt x="13191" y="11093"/>
                </a:lnTo>
                <a:lnTo>
                  <a:pt x="13191" y="11086"/>
                </a:lnTo>
                <a:lnTo>
                  <a:pt x="13192" y="11079"/>
                </a:lnTo>
                <a:lnTo>
                  <a:pt x="13194" y="11071"/>
                </a:lnTo>
                <a:lnTo>
                  <a:pt x="13197" y="11063"/>
                </a:lnTo>
                <a:lnTo>
                  <a:pt x="13204" y="11044"/>
                </a:lnTo>
                <a:lnTo>
                  <a:pt x="13213" y="11021"/>
                </a:lnTo>
                <a:lnTo>
                  <a:pt x="13224" y="11028"/>
                </a:lnTo>
                <a:lnTo>
                  <a:pt x="13236" y="11034"/>
                </a:lnTo>
                <a:lnTo>
                  <a:pt x="13251" y="11041"/>
                </a:lnTo>
                <a:lnTo>
                  <a:pt x="13266" y="11047"/>
                </a:lnTo>
                <a:lnTo>
                  <a:pt x="13282" y="11052"/>
                </a:lnTo>
                <a:lnTo>
                  <a:pt x="13300" y="11056"/>
                </a:lnTo>
                <a:lnTo>
                  <a:pt x="13317" y="11059"/>
                </a:lnTo>
                <a:lnTo>
                  <a:pt x="13333" y="11061"/>
                </a:lnTo>
                <a:lnTo>
                  <a:pt x="13341" y="11062"/>
                </a:lnTo>
                <a:lnTo>
                  <a:pt x="13349" y="11061"/>
                </a:lnTo>
                <a:lnTo>
                  <a:pt x="13357" y="11061"/>
                </a:lnTo>
                <a:lnTo>
                  <a:pt x="13364" y="11059"/>
                </a:lnTo>
                <a:lnTo>
                  <a:pt x="13371" y="11058"/>
                </a:lnTo>
                <a:lnTo>
                  <a:pt x="13378" y="11055"/>
                </a:lnTo>
                <a:lnTo>
                  <a:pt x="13384" y="11052"/>
                </a:lnTo>
                <a:lnTo>
                  <a:pt x="13390" y="11048"/>
                </a:lnTo>
                <a:lnTo>
                  <a:pt x="13395" y="11044"/>
                </a:lnTo>
                <a:lnTo>
                  <a:pt x="13400" y="11039"/>
                </a:lnTo>
                <a:lnTo>
                  <a:pt x="13404" y="11033"/>
                </a:lnTo>
                <a:lnTo>
                  <a:pt x="13407" y="11026"/>
                </a:lnTo>
                <a:lnTo>
                  <a:pt x="13410" y="11018"/>
                </a:lnTo>
                <a:lnTo>
                  <a:pt x="13412" y="11009"/>
                </a:lnTo>
                <a:lnTo>
                  <a:pt x="13413" y="11000"/>
                </a:lnTo>
                <a:lnTo>
                  <a:pt x="13414" y="10990"/>
                </a:lnTo>
                <a:lnTo>
                  <a:pt x="13403" y="10989"/>
                </a:lnTo>
                <a:lnTo>
                  <a:pt x="13394" y="10987"/>
                </a:lnTo>
                <a:lnTo>
                  <a:pt x="13386" y="10985"/>
                </a:lnTo>
                <a:lnTo>
                  <a:pt x="13380" y="10981"/>
                </a:lnTo>
                <a:lnTo>
                  <a:pt x="13375" y="10977"/>
                </a:lnTo>
                <a:lnTo>
                  <a:pt x="13371" y="10972"/>
                </a:lnTo>
                <a:lnTo>
                  <a:pt x="13368" y="10966"/>
                </a:lnTo>
                <a:lnTo>
                  <a:pt x="13366" y="10960"/>
                </a:lnTo>
                <a:lnTo>
                  <a:pt x="13365" y="10954"/>
                </a:lnTo>
                <a:lnTo>
                  <a:pt x="13365" y="10947"/>
                </a:lnTo>
                <a:lnTo>
                  <a:pt x="13366" y="10940"/>
                </a:lnTo>
                <a:lnTo>
                  <a:pt x="13367" y="10933"/>
                </a:lnTo>
                <a:lnTo>
                  <a:pt x="13369" y="10926"/>
                </a:lnTo>
                <a:lnTo>
                  <a:pt x="13372" y="10919"/>
                </a:lnTo>
                <a:lnTo>
                  <a:pt x="13375" y="10912"/>
                </a:lnTo>
                <a:lnTo>
                  <a:pt x="13379" y="10905"/>
                </a:lnTo>
                <a:lnTo>
                  <a:pt x="13383" y="10898"/>
                </a:lnTo>
                <a:lnTo>
                  <a:pt x="13387" y="10892"/>
                </a:lnTo>
                <a:lnTo>
                  <a:pt x="13391" y="10887"/>
                </a:lnTo>
                <a:lnTo>
                  <a:pt x="13396" y="10882"/>
                </a:lnTo>
                <a:lnTo>
                  <a:pt x="13401" y="10879"/>
                </a:lnTo>
                <a:lnTo>
                  <a:pt x="13405" y="10876"/>
                </a:lnTo>
                <a:lnTo>
                  <a:pt x="13410" y="10874"/>
                </a:lnTo>
                <a:lnTo>
                  <a:pt x="13414" y="10873"/>
                </a:lnTo>
                <a:lnTo>
                  <a:pt x="13418" y="10873"/>
                </a:lnTo>
                <a:lnTo>
                  <a:pt x="13423" y="10875"/>
                </a:lnTo>
                <a:lnTo>
                  <a:pt x="13427" y="10877"/>
                </a:lnTo>
                <a:lnTo>
                  <a:pt x="13430" y="10882"/>
                </a:lnTo>
                <a:lnTo>
                  <a:pt x="13432" y="10888"/>
                </a:lnTo>
                <a:lnTo>
                  <a:pt x="13434" y="10895"/>
                </a:lnTo>
                <a:lnTo>
                  <a:pt x="13435" y="10905"/>
                </a:lnTo>
                <a:lnTo>
                  <a:pt x="13436" y="10916"/>
                </a:lnTo>
                <a:lnTo>
                  <a:pt x="13445" y="10916"/>
                </a:lnTo>
                <a:lnTo>
                  <a:pt x="13454" y="10915"/>
                </a:lnTo>
                <a:lnTo>
                  <a:pt x="13461" y="10913"/>
                </a:lnTo>
                <a:lnTo>
                  <a:pt x="13468" y="10910"/>
                </a:lnTo>
                <a:lnTo>
                  <a:pt x="13474" y="10907"/>
                </a:lnTo>
                <a:lnTo>
                  <a:pt x="13479" y="10904"/>
                </a:lnTo>
                <a:lnTo>
                  <a:pt x="13484" y="10898"/>
                </a:lnTo>
                <a:lnTo>
                  <a:pt x="13487" y="10894"/>
                </a:lnTo>
                <a:lnTo>
                  <a:pt x="13491" y="10888"/>
                </a:lnTo>
                <a:lnTo>
                  <a:pt x="13493" y="10883"/>
                </a:lnTo>
                <a:lnTo>
                  <a:pt x="13496" y="10877"/>
                </a:lnTo>
                <a:lnTo>
                  <a:pt x="13497" y="10871"/>
                </a:lnTo>
                <a:lnTo>
                  <a:pt x="13500" y="10857"/>
                </a:lnTo>
                <a:lnTo>
                  <a:pt x="13501" y="10843"/>
                </a:lnTo>
                <a:lnTo>
                  <a:pt x="13501" y="10813"/>
                </a:lnTo>
                <a:lnTo>
                  <a:pt x="13502" y="10784"/>
                </a:lnTo>
                <a:lnTo>
                  <a:pt x="13504" y="10769"/>
                </a:lnTo>
                <a:lnTo>
                  <a:pt x="13507" y="10756"/>
                </a:lnTo>
                <a:lnTo>
                  <a:pt x="13509" y="10750"/>
                </a:lnTo>
                <a:lnTo>
                  <a:pt x="13512" y="10745"/>
                </a:lnTo>
                <a:lnTo>
                  <a:pt x="13515" y="10740"/>
                </a:lnTo>
                <a:lnTo>
                  <a:pt x="13519" y="10735"/>
                </a:lnTo>
                <a:lnTo>
                  <a:pt x="13521" y="10760"/>
                </a:lnTo>
                <a:lnTo>
                  <a:pt x="13524" y="10792"/>
                </a:lnTo>
                <a:lnTo>
                  <a:pt x="13530" y="10827"/>
                </a:lnTo>
                <a:lnTo>
                  <a:pt x="13538" y="10863"/>
                </a:lnTo>
                <a:lnTo>
                  <a:pt x="13542" y="10880"/>
                </a:lnTo>
                <a:lnTo>
                  <a:pt x="13548" y="10896"/>
                </a:lnTo>
                <a:lnTo>
                  <a:pt x="13553" y="10913"/>
                </a:lnTo>
                <a:lnTo>
                  <a:pt x="13559" y="10926"/>
                </a:lnTo>
                <a:lnTo>
                  <a:pt x="13565" y="10938"/>
                </a:lnTo>
                <a:lnTo>
                  <a:pt x="13571" y="10947"/>
                </a:lnTo>
                <a:lnTo>
                  <a:pt x="13574" y="10951"/>
                </a:lnTo>
                <a:lnTo>
                  <a:pt x="13577" y="10954"/>
                </a:lnTo>
                <a:lnTo>
                  <a:pt x="13580" y="10957"/>
                </a:lnTo>
                <a:lnTo>
                  <a:pt x="13583" y="10958"/>
                </a:lnTo>
                <a:lnTo>
                  <a:pt x="13591" y="10965"/>
                </a:lnTo>
                <a:lnTo>
                  <a:pt x="13596" y="10972"/>
                </a:lnTo>
                <a:lnTo>
                  <a:pt x="13601" y="10978"/>
                </a:lnTo>
                <a:lnTo>
                  <a:pt x="13604" y="10984"/>
                </a:lnTo>
                <a:lnTo>
                  <a:pt x="13607" y="10990"/>
                </a:lnTo>
                <a:lnTo>
                  <a:pt x="13608" y="10996"/>
                </a:lnTo>
                <a:lnTo>
                  <a:pt x="13609" y="11001"/>
                </a:lnTo>
                <a:lnTo>
                  <a:pt x="13608" y="11007"/>
                </a:lnTo>
                <a:lnTo>
                  <a:pt x="13607" y="11012"/>
                </a:lnTo>
                <a:lnTo>
                  <a:pt x="13605" y="11017"/>
                </a:lnTo>
                <a:lnTo>
                  <a:pt x="13603" y="11022"/>
                </a:lnTo>
                <a:lnTo>
                  <a:pt x="13600" y="11027"/>
                </a:lnTo>
                <a:lnTo>
                  <a:pt x="13592" y="11036"/>
                </a:lnTo>
                <a:lnTo>
                  <a:pt x="13583" y="11045"/>
                </a:lnTo>
                <a:lnTo>
                  <a:pt x="13562" y="11062"/>
                </a:lnTo>
                <a:lnTo>
                  <a:pt x="13541" y="11079"/>
                </a:lnTo>
                <a:lnTo>
                  <a:pt x="13532" y="11088"/>
                </a:lnTo>
                <a:lnTo>
                  <a:pt x="13525" y="11097"/>
                </a:lnTo>
                <a:lnTo>
                  <a:pt x="13523" y="11102"/>
                </a:lnTo>
                <a:lnTo>
                  <a:pt x="13521" y="11106"/>
                </a:lnTo>
                <a:lnTo>
                  <a:pt x="13520" y="11111"/>
                </a:lnTo>
                <a:lnTo>
                  <a:pt x="13519" y="11117"/>
                </a:lnTo>
                <a:lnTo>
                  <a:pt x="13513" y="11121"/>
                </a:lnTo>
                <a:lnTo>
                  <a:pt x="13507" y="11126"/>
                </a:lnTo>
                <a:lnTo>
                  <a:pt x="13503" y="11132"/>
                </a:lnTo>
                <a:lnTo>
                  <a:pt x="13499" y="11139"/>
                </a:lnTo>
                <a:lnTo>
                  <a:pt x="13496" y="11147"/>
                </a:lnTo>
                <a:lnTo>
                  <a:pt x="13493" y="11156"/>
                </a:lnTo>
                <a:lnTo>
                  <a:pt x="13491" y="11165"/>
                </a:lnTo>
                <a:lnTo>
                  <a:pt x="13490" y="11174"/>
                </a:lnTo>
                <a:lnTo>
                  <a:pt x="13488" y="11192"/>
                </a:lnTo>
                <a:lnTo>
                  <a:pt x="13488" y="11208"/>
                </a:lnTo>
                <a:lnTo>
                  <a:pt x="13488" y="11222"/>
                </a:lnTo>
                <a:lnTo>
                  <a:pt x="13488" y="11233"/>
                </a:lnTo>
                <a:lnTo>
                  <a:pt x="13475" y="11233"/>
                </a:lnTo>
                <a:lnTo>
                  <a:pt x="13462" y="11233"/>
                </a:lnTo>
                <a:lnTo>
                  <a:pt x="13449" y="11233"/>
                </a:lnTo>
                <a:lnTo>
                  <a:pt x="13436" y="11233"/>
                </a:lnTo>
                <a:lnTo>
                  <a:pt x="13434" y="11253"/>
                </a:lnTo>
                <a:lnTo>
                  <a:pt x="13432" y="11272"/>
                </a:lnTo>
                <a:lnTo>
                  <a:pt x="13429" y="11293"/>
                </a:lnTo>
                <a:lnTo>
                  <a:pt x="13425" y="11314"/>
                </a:lnTo>
                <a:lnTo>
                  <a:pt x="13415" y="11354"/>
                </a:lnTo>
                <a:lnTo>
                  <a:pt x="13406" y="11393"/>
                </a:lnTo>
                <a:lnTo>
                  <a:pt x="13397" y="11433"/>
                </a:lnTo>
                <a:lnTo>
                  <a:pt x="13389" y="11471"/>
                </a:lnTo>
                <a:lnTo>
                  <a:pt x="13386" y="11489"/>
                </a:lnTo>
                <a:lnTo>
                  <a:pt x="13384" y="11506"/>
                </a:lnTo>
                <a:lnTo>
                  <a:pt x="13383" y="11523"/>
                </a:lnTo>
                <a:lnTo>
                  <a:pt x="13382" y="11540"/>
                </a:lnTo>
                <a:lnTo>
                  <a:pt x="13378" y="11541"/>
                </a:lnTo>
                <a:lnTo>
                  <a:pt x="13374" y="11542"/>
                </a:lnTo>
                <a:lnTo>
                  <a:pt x="13370" y="11545"/>
                </a:lnTo>
                <a:lnTo>
                  <a:pt x="13367" y="11548"/>
                </a:lnTo>
                <a:lnTo>
                  <a:pt x="13364" y="11552"/>
                </a:lnTo>
                <a:lnTo>
                  <a:pt x="13361" y="11557"/>
                </a:lnTo>
                <a:lnTo>
                  <a:pt x="13359" y="11562"/>
                </a:lnTo>
                <a:lnTo>
                  <a:pt x="13357" y="11569"/>
                </a:lnTo>
                <a:lnTo>
                  <a:pt x="13353" y="11583"/>
                </a:lnTo>
                <a:lnTo>
                  <a:pt x="13350" y="11600"/>
                </a:lnTo>
                <a:lnTo>
                  <a:pt x="13348" y="11619"/>
                </a:lnTo>
                <a:lnTo>
                  <a:pt x="13347" y="11639"/>
                </a:lnTo>
                <a:lnTo>
                  <a:pt x="13345" y="11684"/>
                </a:lnTo>
                <a:lnTo>
                  <a:pt x="13345" y="11731"/>
                </a:lnTo>
                <a:lnTo>
                  <a:pt x="13344" y="11778"/>
                </a:lnTo>
                <a:lnTo>
                  <a:pt x="13343" y="11824"/>
                </a:lnTo>
                <a:lnTo>
                  <a:pt x="13324" y="11850"/>
                </a:lnTo>
                <a:lnTo>
                  <a:pt x="13305" y="11877"/>
                </a:lnTo>
                <a:lnTo>
                  <a:pt x="13285" y="11904"/>
                </a:lnTo>
                <a:lnTo>
                  <a:pt x="13266" y="11931"/>
                </a:lnTo>
                <a:lnTo>
                  <a:pt x="13242" y="11932"/>
                </a:lnTo>
                <a:lnTo>
                  <a:pt x="13221" y="11929"/>
                </a:lnTo>
                <a:lnTo>
                  <a:pt x="13202" y="11922"/>
                </a:lnTo>
                <a:lnTo>
                  <a:pt x="13184" y="11911"/>
                </a:lnTo>
                <a:lnTo>
                  <a:pt x="13168" y="11896"/>
                </a:lnTo>
                <a:lnTo>
                  <a:pt x="13153" y="11879"/>
                </a:lnTo>
                <a:lnTo>
                  <a:pt x="13140" y="11859"/>
                </a:lnTo>
                <a:lnTo>
                  <a:pt x="13130" y="11837"/>
                </a:lnTo>
                <a:lnTo>
                  <a:pt x="13120" y="11812"/>
                </a:lnTo>
                <a:lnTo>
                  <a:pt x="13112" y="11784"/>
                </a:lnTo>
                <a:lnTo>
                  <a:pt x="13105" y="11754"/>
                </a:lnTo>
                <a:lnTo>
                  <a:pt x="13100" y="11724"/>
                </a:lnTo>
                <a:lnTo>
                  <a:pt x="13095" y="11692"/>
                </a:lnTo>
                <a:lnTo>
                  <a:pt x="13092" y="11658"/>
                </a:lnTo>
                <a:lnTo>
                  <a:pt x="13090" y="11623"/>
                </a:lnTo>
                <a:lnTo>
                  <a:pt x="13089" y="11588"/>
                </a:lnTo>
                <a:lnTo>
                  <a:pt x="13088" y="11553"/>
                </a:lnTo>
                <a:lnTo>
                  <a:pt x="13089" y="11516"/>
                </a:lnTo>
                <a:lnTo>
                  <a:pt x="13090" y="11480"/>
                </a:lnTo>
                <a:lnTo>
                  <a:pt x="13092" y="11445"/>
                </a:lnTo>
                <a:lnTo>
                  <a:pt x="13094" y="11410"/>
                </a:lnTo>
                <a:lnTo>
                  <a:pt x="13097" y="11375"/>
                </a:lnTo>
                <a:lnTo>
                  <a:pt x="13101" y="11342"/>
                </a:lnTo>
                <a:lnTo>
                  <a:pt x="13104" y="11310"/>
                </a:lnTo>
                <a:lnTo>
                  <a:pt x="13113" y="11250"/>
                </a:lnTo>
                <a:lnTo>
                  <a:pt x="13122" y="11199"/>
                </a:lnTo>
                <a:lnTo>
                  <a:pt x="13126" y="11177"/>
                </a:lnTo>
                <a:lnTo>
                  <a:pt x="13130" y="11158"/>
                </a:lnTo>
                <a:lnTo>
                  <a:pt x="13135" y="11140"/>
                </a:lnTo>
                <a:lnTo>
                  <a:pt x="13139" y="11127"/>
                </a:lnTo>
                <a:close/>
                <a:moveTo>
                  <a:pt x="14524" y="7522"/>
                </a:moveTo>
                <a:lnTo>
                  <a:pt x="14491" y="7522"/>
                </a:lnTo>
                <a:lnTo>
                  <a:pt x="14457" y="7520"/>
                </a:lnTo>
                <a:lnTo>
                  <a:pt x="14422" y="7516"/>
                </a:lnTo>
                <a:lnTo>
                  <a:pt x="14389" y="7511"/>
                </a:lnTo>
                <a:lnTo>
                  <a:pt x="14359" y="7506"/>
                </a:lnTo>
                <a:lnTo>
                  <a:pt x="14332" y="7500"/>
                </a:lnTo>
                <a:lnTo>
                  <a:pt x="14310" y="7492"/>
                </a:lnTo>
                <a:lnTo>
                  <a:pt x="14292" y="7487"/>
                </a:lnTo>
                <a:lnTo>
                  <a:pt x="14272" y="7486"/>
                </a:lnTo>
                <a:lnTo>
                  <a:pt x="14253" y="7484"/>
                </a:lnTo>
                <a:lnTo>
                  <a:pt x="14233" y="7482"/>
                </a:lnTo>
                <a:lnTo>
                  <a:pt x="14214" y="7478"/>
                </a:lnTo>
                <a:lnTo>
                  <a:pt x="14195" y="7474"/>
                </a:lnTo>
                <a:lnTo>
                  <a:pt x="14176" y="7469"/>
                </a:lnTo>
                <a:lnTo>
                  <a:pt x="14157" y="7463"/>
                </a:lnTo>
                <a:lnTo>
                  <a:pt x="14138" y="7456"/>
                </a:lnTo>
                <a:lnTo>
                  <a:pt x="14101" y="7442"/>
                </a:lnTo>
                <a:lnTo>
                  <a:pt x="14064" y="7427"/>
                </a:lnTo>
                <a:lnTo>
                  <a:pt x="14027" y="7410"/>
                </a:lnTo>
                <a:lnTo>
                  <a:pt x="13990" y="7394"/>
                </a:lnTo>
                <a:lnTo>
                  <a:pt x="13954" y="7379"/>
                </a:lnTo>
                <a:lnTo>
                  <a:pt x="13917" y="7364"/>
                </a:lnTo>
                <a:lnTo>
                  <a:pt x="13898" y="7358"/>
                </a:lnTo>
                <a:lnTo>
                  <a:pt x="13880" y="7352"/>
                </a:lnTo>
                <a:lnTo>
                  <a:pt x="13861" y="7347"/>
                </a:lnTo>
                <a:lnTo>
                  <a:pt x="13843" y="7343"/>
                </a:lnTo>
                <a:lnTo>
                  <a:pt x="13824" y="7340"/>
                </a:lnTo>
                <a:lnTo>
                  <a:pt x="13806" y="7338"/>
                </a:lnTo>
                <a:lnTo>
                  <a:pt x="13786" y="7336"/>
                </a:lnTo>
                <a:lnTo>
                  <a:pt x="13767" y="7336"/>
                </a:lnTo>
                <a:lnTo>
                  <a:pt x="13748" y="7337"/>
                </a:lnTo>
                <a:lnTo>
                  <a:pt x="13729" y="7340"/>
                </a:lnTo>
                <a:lnTo>
                  <a:pt x="13709" y="7343"/>
                </a:lnTo>
                <a:lnTo>
                  <a:pt x="13690" y="7349"/>
                </a:lnTo>
                <a:lnTo>
                  <a:pt x="13690" y="7345"/>
                </a:lnTo>
                <a:lnTo>
                  <a:pt x="13691" y="7342"/>
                </a:lnTo>
                <a:lnTo>
                  <a:pt x="13690" y="7340"/>
                </a:lnTo>
                <a:lnTo>
                  <a:pt x="13689" y="7338"/>
                </a:lnTo>
                <a:lnTo>
                  <a:pt x="13688" y="7337"/>
                </a:lnTo>
                <a:lnTo>
                  <a:pt x="13685" y="7337"/>
                </a:lnTo>
                <a:lnTo>
                  <a:pt x="13682" y="7337"/>
                </a:lnTo>
                <a:lnTo>
                  <a:pt x="13679" y="7338"/>
                </a:lnTo>
                <a:lnTo>
                  <a:pt x="13680" y="7333"/>
                </a:lnTo>
                <a:lnTo>
                  <a:pt x="13680" y="7326"/>
                </a:lnTo>
                <a:lnTo>
                  <a:pt x="13679" y="7318"/>
                </a:lnTo>
                <a:lnTo>
                  <a:pt x="13677" y="7309"/>
                </a:lnTo>
                <a:lnTo>
                  <a:pt x="13674" y="7298"/>
                </a:lnTo>
                <a:lnTo>
                  <a:pt x="13669" y="7287"/>
                </a:lnTo>
                <a:lnTo>
                  <a:pt x="13665" y="7275"/>
                </a:lnTo>
                <a:lnTo>
                  <a:pt x="13659" y="7263"/>
                </a:lnTo>
                <a:lnTo>
                  <a:pt x="13647" y="7236"/>
                </a:lnTo>
                <a:lnTo>
                  <a:pt x="13632" y="7209"/>
                </a:lnTo>
                <a:lnTo>
                  <a:pt x="13615" y="7182"/>
                </a:lnTo>
                <a:lnTo>
                  <a:pt x="13596" y="7156"/>
                </a:lnTo>
                <a:lnTo>
                  <a:pt x="13587" y="7144"/>
                </a:lnTo>
                <a:lnTo>
                  <a:pt x="13577" y="7133"/>
                </a:lnTo>
                <a:lnTo>
                  <a:pt x="13567" y="7122"/>
                </a:lnTo>
                <a:lnTo>
                  <a:pt x="13557" y="7111"/>
                </a:lnTo>
                <a:lnTo>
                  <a:pt x="13546" y="7102"/>
                </a:lnTo>
                <a:lnTo>
                  <a:pt x="13535" y="7095"/>
                </a:lnTo>
                <a:lnTo>
                  <a:pt x="13525" y="7089"/>
                </a:lnTo>
                <a:lnTo>
                  <a:pt x="13515" y="7084"/>
                </a:lnTo>
                <a:lnTo>
                  <a:pt x="13505" y="7081"/>
                </a:lnTo>
                <a:lnTo>
                  <a:pt x="13495" y="7079"/>
                </a:lnTo>
                <a:lnTo>
                  <a:pt x="13486" y="7080"/>
                </a:lnTo>
                <a:lnTo>
                  <a:pt x="13477" y="7082"/>
                </a:lnTo>
                <a:lnTo>
                  <a:pt x="13468" y="7087"/>
                </a:lnTo>
                <a:lnTo>
                  <a:pt x="13460" y="7093"/>
                </a:lnTo>
                <a:lnTo>
                  <a:pt x="13452" y="7102"/>
                </a:lnTo>
                <a:lnTo>
                  <a:pt x="13445" y="7113"/>
                </a:lnTo>
                <a:lnTo>
                  <a:pt x="13443" y="7117"/>
                </a:lnTo>
                <a:lnTo>
                  <a:pt x="13442" y="7122"/>
                </a:lnTo>
                <a:lnTo>
                  <a:pt x="13442" y="7127"/>
                </a:lnTo>
                <a:lnTo>
                  <a:pt x="13442" y="7132"/>
                </a:lnTo>
                <a:lnTo>
                  <a:pt x="13443" y="7144"/>
                </a:lnTo>
                <a:lnTo>
                  <a:pt x="13447" y="7156"/>
                </a:lnTo>
                <a:lnTo>
                  <a:pt x="13451" y="7170"/>
                </a:lnTo>
                <a:lnTo>
                  <a:pt x="13457" y="7185"/>
                </a:lnTo>
                <a:lnTo>
                  <a:pt x="13464" y="7200"/>
                </a:lnTo>
                <a:lnTo>
                  <a:pt x="13472" y="7215"/>
                </a:lnTo>
                <a:lnTo>
                  <a:pt x="13481" y="7230"/>
                </a:lnTo>
                <a:lnTo>
                  <a:pt x="13490" y="7246"/>
                </a:lnTo>
                <a:lnTo>
                  <a:pt x="13499" y="7260"/>
                </a:lnTo>
                <a:lnTo>
                  <a:pt x="13508" y="7273"/>
                </a:lnTo>
                <a:lnTo>
                  <a:pt x="13517" y="7284"/>
                </a:lnTo>
                <a:lnTo>
                  <a:pt x="13526" y="7294"/>
                </a:lnTo>
                <a:lnTo>
                  <a:pt x="13534" y="7301"/>
                </a:lnTo>
                <a:lnTo>
                  <a:pt x="13541" y="7307"/>
                </a:lnTo>
                <a:lnTo>
                  <a:pt x="13541" y="7319"/>
                </a:lnTo>
                <a:lnTo>
                  <a:pt x="13544" y="7334"/>
                </a:lnTo>
                <a:lnTo>
                  <a:pt x="13549" y="7349"/>
                </a:lnTo>
                <a:lnTo>
                  <a:pt x="13554" y="7366"/>
                </a:lnTo>
                <a:lnTo>
                  <a:pt x="13560" y="7383"/>
                </a:lnTo>
                <a:lnTo>
                  <a:pt x="13567" y="7399"/>
                </a:lnTo>
                <a:lnTo>
                  <a:pt x="13571" y="7405"/>
                </a:lnTo>
                <a:lnTo>
                  <a:pt x="13575" y="7412"/>
                </a:lnTo>
                <a:lnTo>
                  <a:pt x="13579" y="7417"/>
                </a:lnTo>
                <a:lnTo>
                  <a:pt x="13584" y="7422"/>
                </a:lnTo>
                <a:lnTo>
                  <a:pt x="13594" y="7433"/>
                </a:lnTo>
                <a:lnTo>
                  <a:pt x="13601" y="7443"/>
                </a:lnTo>
                <a:lnTo>
                  <a:pt x="13605" y="7452"/>
                </a:lnTo>
                <a:lnTo>
                  <a:pt x="13607" y="7460"/>
                </a:lnTo>
                <a:lnTo>
                  <a:pt x="13608" y="7468"/>
                </a:lnTo>
                <a:lnTo>
                  <a:pt x="13607" y="7475"/>
                </a:lnTo>
                <a:lnTo>
                  <a:pt x="13604" y="7482"/>
                </a:lnTo>
                <a:lnTo>
                  <a:pt x="13601" y="7489"/>
                </a:lnTo>
                <a:lnTo>
                  <a:pt x="13594" y="7502"/>
                </a:lnTo>
                <a:lnTo>
                  <a:pt x="13586" y="7514"/>
                </a:lnTo>
                <a:lnTo>
                  <a:pt x="13584" y="7520"/>
                </a:lnTo>
                <a:lnTo>
                  <a:pt x="13582" y="7526"/>
                </a:lnTo>
                <a:lnTo>
                  <a:pt x="13582" y="7533"/>
                </a:lnTo>
                <a:lnTo>
                  <a:pt x="13583" y="7540"/>
                </a:lnTo>
                <a:lnTo>
                  <a:pt x="13597" y="7540"/>
                </a:lnTo>
                <a:lnTo>
                  <a:pt x="13609" y="7539"/>
                </a:lnTo>
                <a:lnTo>
                  <a:pt x="13618" y="7538"/>
                </a:lnTo>
                <a:lnTo>
                  <a:pt x="13627" y="7536"/>
                </a:lnTo>
                <a:lnTo>
                  <a:pt x="13633" y="7533"/>
                </a:lnTo>
                <a:lnTo>
                  <a:pt x="13639" y="7529"/>
                </a:lnTo>
                <a:lnTo>
                  <a:pt x="13644" y="7525"/>
                </a:lnTo>
                <a:lnTo>
                  <a:pt x="13648" y="7519"/>
                </a:lnTo>
                <a:lnTo>
                  <a:pt x="13651" y="7511"/>
                </a:lnTo>
                <a:lnTo>
                  <a:pt x="13653" y="7503"/>
                </a:lnTo>
                <a:lnTo>
                  <a:pt x="13655" y="7491"/>
                </a:lnTo>
                <a:lnTo>
                  <a:pt x="13658" y="7480"/>
                </a:lnTo>
                <a:lnTo>
                  <a:pt x="13662" y="7450"/>
                </a:lnTo>
                <a:lnTo>
                  <a:pt x="13668" y="7413"/>
                </a:lnTo>
                <a:lnTo>
                  <a:pt x="13674" y="7417"/>
                </a:lnTo>
                <a:lnTo>
                  <a:pt x="13678" y="7421"/>
                </a:lnTo>
                <a:lnTo>
                  <a:pt x="13682" y="7423"/>
                </a:lnTo>
                <a:lnTo>
                  <a:pt x="13690" y="7423"/>
                </a:lnTo>
                <a:lnTo>
                  <a:pt x="13686" y="7439"/>
                </a:lnTo>
                <a:lnTo>
                  <a:pt x="13685" y="7454"/>
                </a:lnTo>
                <a:lnTo>
                  <a:pt x="13685" y="7469"/>
                </a:lnTo>
                <a:lnTo>
                  <a:pt x="13687" y="7484"/>
                </a:lnTo>
                <a:lnTo>
                  <a:pt x="13690" y="7499"/>
                </a:lnTo>
                <a:lnTo>
                  <a:pt x="13695" y="7513"/>
                </a:lnTo>
                <a:lnTo>
                  <a:pt x="13701" y="7527"/>
                </a:lnTo>
                <a:lnTo>
                  <a:pt x="13709" y="7540"/>
                </a:lnTo>
                <a:lnTo>
                  <a:pt x="13721" y="7560"/>
                </a:lnTo>
                <a:lnTo>
                  <a:pt x="13730" y="7575"/>
                </a:lnTo>
                <a:lnTo>
                  <a:pt x="13736" y="7586"/>
                </a:lnTo>
                <a:lnTo>
                  <a:pt x="13739" y="7593"/>
                </a:lnTo>
                <a:lnTo>
                  <a:pt x="13740" y="7597"/>
                </a:lnTo>
                <a:lnTo>
                  <a:pt x="13739" y="7600"/>
                </a:lnTo>
                <a:lnTo>
                  <a:pt x="13736" y="7600"/>
                </a:lnTo>
                <a:lnTo>
                  <a:pt x="13733" y="7599"/>
                </a:lnTo>
                <a:lnTo>
                  <a:pt x="13729" y="7599"/>
                </a:lnTo>
                <a:lnTo>
                  <a:pt x="13724" y="7598"/>
                </a:lnTo>
                <a:lnTo>
                  <a:pt x="13720" y="7598"/>
                </a:lnTo>
                <a:lnTo>
                  <a:pt x="13717" y="7600"/>
                </a:lnTo>
                <a:lnTo>
                  <a:pt x="13716" y="7601"/>
                </a:lnTo>
                <a:lnTo>
                  <a:pt x="13715" y="7604"/>
                </a:lnTo>
                <a:lnTo>
                  <a:pt x="13715" y="7607"/>
                </a:lnTo>
                <a:lnTo>
                  <a:pt x="13715" y="7610"/>
                </a:lnTo>
                <a:lnTo>
                  <a:pt x="13717" y="7620"/>
                </a:lnTo>
                <a:lnTo>
                  <a:pt x="13721" y="7635"/>
                </a:lnTo>
                <a:lnTo>
                  <a:pt x="13741" y="7635"/>
                </a:lnTo>
                <a:lnTo>
                  <a:pt x="13761" y="7633"/>
                </a:lnTo>
                <a:lnTo>
                  <a:pt x="13781" y="7629"/>
                </a:lnTo>
                <a:lnTo>
                  <a:pt x="13801" y="7624"/>
                </a:lnTo>
                <a:lnTo>
                  <a:pt x="13820" y="7617"/>
                </a:lnTo>
                <a:lnTo>
                  <a:pt x="13838" y="7609"/>
                </a:lnTo>
                <a:lnTo>
                  <a:pt x="13856" y="7600"/>
                </a:lnTo>
                <a:lnTo>
                  <a:pt x="13874" y="7589"/>
                </a:lnTo>
                <a:lnTo>
                  <a:pt x="13890" y="7577"/>
                </a:lnTo>
                <a:lnTo>
                  <a:pt x="13907" y="7563"/>
                </a:lnTo>
                <a:lnTo>
                  <a:pt x="13922" y="7547"/>
                </a:lnTo>
                <a:lnTo>
                  <a:pt x="13937" y="7530"/>
                </a:lnTo>
                <a:lnTo>
                  <a:pt x="13951" y="7512"/>
                </a:lnTo>
                <a:lnTo>
                  <a:pt x="13963" y="7490"/>
                </a:lnTo>
                <a:lnTo>
                  <a:pt x="13975" y="7468"/>
                </a:lnTo>
                <a:lnTo>
                  <a:pt x="13986" y="7444"/>
                </a:lnTo>
                <a:lnTo>
                  <a:pt x="13992" y="7450"/>
                </a:lnTo>
                <a:lnTo>
                  <a:pt x="13997" y="7456"/>
                </a:lnTo>
                <a:lnTo>
                  <a:pt x="14000" y="7463"/>
                </a:lnTo>
                <a:lnTo>
                  <a:pt x="14002" y="7469"/>
                </a:lnTo>
                <a:lnTo>
                  <a:pt x="14003" y="7476"/>
                </a:lnTo>
                <a:lnTo>
                  <a:pt x="14003" y="7482"/>
                </a:lnTo>
                <a:lnTo>
                  <a:pt x="14002" y="7489"/>
                </a:lnTo>
                <a:lnTo>
                  <a:pt x="14001" y="7495"/>
                </a:lnTo>
                <a:lnTo>
                  <a:pt x="14001" y="7503"/>
                </a:lnTo>
                <a:lnTo>
                  <a:pt x="14000" y="7509"/>
                </a:lnTo>
                <a:lnTo>
                  <a:pt x="14000" y="7515"/>
                </a:lnTo>
                <a:lnTo>
                  <a:pt x="14001" y="7521"/>
                </a:lnTo>
                <a:lnTo>
                  <a:pt x="14003" y="7526"/>
                </a:lnTo>
                <a:lnTo>
                  <a:pt x="14006" y="7531"/>
                </a:lnTo>
                <a:lnTo>
                  <a:pt x="14010" y="7536"/>
                </a:lnTo>
                <a:lnTo>
                  <a:pt x="14017" y="7540"/>
                </a:lnTo>
                <a:lnTo>
                  <a:pt x="14042" y="7567"/>
                </a:lnTo>
                <a:lnTo>
                  <a:pt x="14063" y="7591"/>
                </a:lnTo>
                <a:lnTo>
                  <a:pt x="14066" y="7598"/>
                </a:lnTo>
                <a:lnTo>
                  <a:pt x="14069" y="7604"/>
                </a:lnTo>
                <a:lnTo>
                  <a:pt x="14071" y="7610"/>
                </a:lnTo>
                <a:lnTo>
                  <a:pt x="14071" y="7617"/>
                </a:lnTo>
                <a:lnTo>
                  <a:pt x="14071" y="7625"/>
                </a:lnTo>
                <a:lnTo>
                  <a:pt x="14070" y="7633"/>
                </a:lnTo>
                <a:lnTo>
                  <a:pt x="14068" y="7641"/>
                </a:lnTo>
                <a:lnTo>
                  <a:pt x="14064" y="7650"/>
                </a:lnTo>
                <a:lnTo>
                  <a:pt x="14063" y="7653"/>
                </a:lnTo>
                <a:lnTo>
                  <a:pt x="14063" y="7656"/>
                </a:lnTo>
                <a:lnTo>
                  <a:pt x="14063" y="7659"/>
                </a:lnTo>
                <a:lnTo>
                  <a:pt x="14064" y="7663"/>
                </a:lnTo>
                <a:lnTo>
                  <a:pt x="14067" y="7670"/>
                </a:lnTo>
                <a:lnTo>
                  <a:pt x="14072" y="7676"/>
                </a:lnTo>
                <a:lnTo>
                  <a:pt x="14078" y="7683"/>
                </a:lnTo>
                <a:lnTo>
                  <a:pt x="14085" y="7688"/>
                </a:lnTo>
                <a:lnTo>
                  <a:pt x="14093" y="7692"/>
                </a:lnTo>
                <a:lnTo>
                  <a:pt x="14101" y="7695"/>
                </a:lnTo>
                <a:lnTo>
                  <a:pt x="14105" y="7695"/>
                </a:lnTo>
                <a:lnTo>
                  <a:pt x="14109" y="7696"/>
                </a:lnTo>
                <a:lnTo>
                  <a:pt x="14113" y="7695"/>
                </a:lnTo>
                <a:lnTo>
                  <a:pt x="14116" y="7694"/>
                </a:lnTo>
                <a:lnTo>
                  <a:pt x="14120" y="7693"/>
                </a:lnTo>
                <a:lnTo>
                  <a:pt x="14123" y="7691"/>
                </a:lnTo>
                <a:lnTo>
                  <a:pt x="14126" y="7688"/>
                </a:lnTo>
                <a:lnTo>
                  <a:pt x="14129" y="7684"/>
                </a:lnTo>
                <a:lnTo>
                  <a:pt x="14131" y="7680"/>
                </a:lnTo>
                <a:lnTo>
                  <a:pt x="14133" y="7675"/>
                </a:lnTo>
                <a:lnTo>
                  <a:pt x="14135" y="7669"/>
                </a:lnTo>
                <a:lnTo>
                  <a:pt x="14135" y="7662"/>
                </a:lnTo>
                <a:lnTo>
                  <a:pt x="14136" y="7654"/>
                </a:lnTo>
                <a:lnTo>
                  <a:pt x="14136" y="7646"/>
                </a:lnTo>
                <a:lnTo>
                  <a:pt x="14135" y="7636"/>
                </a:lnTo>
                <a:lnTo>
                  <a:pt x="14133" y="7625"/>
                </a:lnTo>
                <a:lnTo>
                  <a:pt x="14144" y="7628"/>
                </a:lnTo>
                <a:lnTo>
                  <a:pt x="14153" y="7632"/>
                </a:lnTo>
                <a:lnTo>
                  <a:pt x="14162" y="7637"/>
                </a:lnTo>
                <a:lnTo>
                  <a:pt x="14170" y="7642"/>
                </a:lnTo>
                <a:lnTo>
                  <a:pt x="14179" y="7648"/>
                </a:lnTo>
                <a:lnTo>
                  <a:pt x="14185" y="7654"/>
                </a:lnTo>
                <a:lnTo>
                  <a:pt x="14191" y="7660"/>
                </a:lnTo>
                <a:lnTo>
                  <a:pt x="14196" y="7667"/>
                </a:lnTo>
                <a:lnTo>
                  <a:pt x="14201" y="7674"/>
                </a:lnTo>
                <a:lnTo>
                  <a:pt x="14205" y="7682"/>
                </a:lnTo>
                <a:lnTo>
                  <a:pt x="14208" y="7689"/>
                </a:lnTo>
                <a:lnTo>
                  <a:pt x="14210" y="7698"/>
                </a:lnTo>
                <a:lnTo>
                  <a:pt x="14212" y="7706"/>
                </a:lnTo>
                <a:lnTo>
                  <a:pt x="14213" y="7714"/>
                </a:lnTo>
                <a:lnTo>
                  <a:pt x="14214" y="7723"/>
                </a:lnTo>
                <a:lnTo>
                  <a:pt x="14214" y="7732"/>
                </a:lnTo>
                <a:lnTo>
                  <a:pt x="14214" y="7740"/>
                </a:lnTo>
                <a:lnTo>
                  <a:pt x="14213" y="7750"/>
                </a:lnTo>
                <a:lnTo>
                  <a:pt x="14211" y="7759"/>
                </a:lnTo>
                <a:lnTo>
                  <a:pt x="14209" y="7768"/>
                </a:lnTo>
                <a:lnTo>
                  <a:pt x="14206" y="7777"/>
                </a:lnTo>
                <a:lnTo>
                  <a:pt x="14203" y="7785"/>
                </a:lnTo>
                <a:lnTo>
                  <a:pt x="14199" y="7794"/>
                </a:lnTo>
                <a:lnTo>
                  <a:pt x="14195" y="7802"/>
                </a:lnTo>
                <a:lnTo>
                  <a:pt x="14190" y="7810"/>
                </a:lnTo>
                <a:lnTo>
                  <a:pt x="14185" y="7818"/>
                </a:lnTo>
                <a:lnTo>
                  <a:pt x="14180" y="7825"/>
                </a:lnTo>
                <a:lnTo>
                  <a:pt x="14172" y="7832"/>
                </a:lnTo>
                <a:lnTo>
                  <a:pt x="14166" y="7839"/>
                </a:lnTo>
                <a:lnTo>
                  <a:pt x="14159" y="7845"/>
                </a:lnTo>
                <a:lnTo>
                  <a:pt x="14152" y="7851"/>
                </a:lnTo>
                <a:lnTo>
                  <a:pt x="14144" y="7857"/>
                </a:lnTo>
                <a:lnTo>
                  <a:pt x="14144" y="7867"/>
                </a:lnTo>
                <a:lnTo>
                  <a:pt x="14142" y="7876"/>
                </a:lnTo>
                <a:lnTo>
                  <a:pt x="14139" y="7884"/>
                </a:lnTo>
                <a:lnTo>
                  <a:pt x="14136" y="7892"/>
                </a:lnTo>
                <a:lnTo>
                  <a:pt x="14127" y="7905"/>
                </a:lnTo>
                <a:lnTo>
                  <a:pt x="14118" y="7917"/>
                </a:lnTo>
                <a:lnTo>
                  <a:pt x="14113" y="7924"/>
                </a:lnTo>
                <a:lnTo>
                  <a:pt x="14108" y="7931"/>
                </a:lnTo>
                <a:lnTo>
                  <a:pt x="14104" y="7938"/>
                </a:lnTo>
                <a:lnTo>
                  <a:pt x="14100" y="7946"/>
                </a:lnTo>
                <a:lnTo>
                  <a:pt x="14096" y="7955"/>
                </a:lnTo>
                <a:lnTo>
                  <a:pt x="14094" y="7965"/>
                </a:lnTo>
                <a:lnTo>
                  <a:pt x="14092" y="7977"/>
                </a:lnTo>
                <a:lnTo>
                  <a:pt x="14091" y="7989"/>
                </a:lnTo>
                <a:lnTo>
                  <a:pt x="14091" y="7998"/>
                </a:lnTo>
                <a:lnTo>
                  <a:pt x="14090" y="8009"/>
                </a:lnTo>
                <a:lnTo>
                  <a:pt x="14088" y="8019"/>
                </a:lnTo>
                <a:lnTo>
                  <a:pt x="14085" y="8030"/>
                </a:lnTo>
                <a:lnTo>
                  <a:pt x="14082" y="8041"/>
                </a:lnTo>
                <a:lnTo>
                  <a:pt x="14079" y="8051"/>
                </a:lnTo>
                <a:lnTo>
                  <a:pt x="14074" y="8062"/>
                </a:lnTo>
                <a:lnTo>
                  <a:pt x="14069" y="8073"/>
                </a:lnTo>
                <a:lnTo>
                  <a:pt x="14064" y="8083"/>
                </a:lnTo>
                <a:lnTo>
                  <a:pt x="14058" y="8093"/>
                </a:lnTo>
                <a:lnTo>
                  <a:pt x="14052" y="8102"/>
                </a:lnTo>
                <a:lnTo>
                  <a:pt x="14045" y="8110"/>
                </a:lnTo>
                <a:lnTo>
                  <a:pt x="14038" y="8117"/>
                </a:lnTo>
                <a:lnTo>
                  <a:pt x="14031" y="8123"/>
                </a:lnTo>
                <a:lnTo>
                  <a:pt x="14024" y="8129"/>
                </a:lnTo>
                <a:lnTo>
                  <a:pt x="14017" y="8133"/>
                </a:lnTo>
                <a:lnTo>
                  <a:pt x="14016" y="8136"/>
                </a:lnTo>
                <a:lnTo>
                  <a:pt x="14013" y="8139"/>
                </a:lnTo>
                <a:lnTo>
                  <a:pt x="14009" y="8143"/>
                </a:lnTo>
                <a:lnTo>
                  <a:pt x="14003" y="8148"/>
                </a:lnTo>
                <a:lnTo>
                  <a:pt x="13988" y="8159"/>
                </a:lnTo>
                <a:lnTo>
                  <a:pt x="13968" y="8171"/>
                </a:lnTo>
                <a:lnTo>
                  <a:pt x="13918" y="8200"/>
                </a:lnTo>
                <a:lnTo>
                  <a:pt x="13862" y="8232"/>
                </a:lnTo>
                <a:lnTo>
                  <a:pt x="13834" y="8249"/>
                </a:lnTo>
                <a:lnTo>
                  <a:pt x="13807" y="8267"/>
                </a:lnTo>
                <a:lnTo>
                  <a:pt x="13781" y="8283"/>
                </a:lnTo>
                <a:lnTo>
                  <a:pt x="13759" y="8300"/>
                </a:lnTo>
                <a:lnTo>
                  <a:pt x="13749" y="8307"/>
                </a:lnTo>
                <a:lnTo>
                  <a:pt x="13741" y="8315"/>
                </a:lnTo>
                <a:lnTo>
                  <a:pt x="13734" y="8322"/>
                </a:lnTo>
                <a:lnTo>
                  <a:pt x="13728" y="8329"/>
                </a:lnTo>
                <a:lnTo>
                  <a:pt x="13724" y="8336"/>
                </a:lnTo>
                <a:lnTo>
                  <a:pt x="13721" y="8343"/>
                </a:lnTo>
                <a:lnTo>
                  <a:pt x="13720" y="8349"/>
                </a:lnTo>
                <a:lnTo>
                  <a:pt x="13721" y="8354"/>
                </a:lnTo>
                <a:lnTo>
                  <a:pt x="13709" y="8355"/>
                </a:lnTo>
                <a:lnTo>
                  <a:pt x="13695" y="8357"/>
                </a:lnTo>
                <a:lnTo>
                  <a:pt x="13677" y="8360"/>
                </a:lnTo>
                <a:lnTo>
                  <a:pt x="13657" y="8364"/>
                </a:lnTo>
                <a:lnTo>
                  <a:pt x="13637" y="8369"/>
                </a:lnTo>
                <a:lnTo>
                  <a:pt x="13616" y="8375"/>
                </a:lnTo>
                <a:lnTo>
                  <a:pt x="13593" y="8384"/>
                </a:lnTo>
                <a:lnTo>
                  <a:pt x="13571" y="8392"/>
                </a:lnTo>
                <a:lnTo>
                  <a:pt x="13549" y="8401"/>
                </a:lnTo>
                <a:lnTo>
                  <a:pt x="13526" y="8410"/>
                </a:lnTo>
                <a:lnTo>
                  <a:pt x="13506" y="8421"/>
                </a:lnTo>
                <a:lnTo>
                  <a:pt x="13487" y="8432"/>
                </a:lnTo>
                <a:lnTo>
                  <a:pt x="13470" y="8443"/>
                </a:lnTo>
                <a:lnTo>
                  <a:pt x="13456" y="8455"/>
                </a:lnTo>
                <a:lnTo>
                  <a:pt x="13449" y="8462"/>
                </a:lnTo>
                <a:lnTo>
                  <a:pt x="13444" y="8468"/>
                </a:lnTo>
                <a:lnTo>
                  <a:pt x="13439" y="8475"/>
                </a:lnTo>
                <a:lnTo>
                  <a:pt x="13436" y="8481"/>
                </a:lnTo>
                <a:lnTo>
                  <a:pt x="13427" y="8482"/>
                </a:lnTo>
                <a:lnTo>
                  <a:pt x="13415" y="8484"/>
                </a:lnTo>
                <a:lnTo>
                  <a:pt x="13402" y="8487"/>
                </a:lnTo>
                <a:lnTo>
                  <a:pt x="13387" y="8490"/>
                </a:lnTo>
                <a:lnTo>
                  <a:pt x="13355" y="8500"/>
                </a:lnTo>
                <a:lnTo>
                  <a:pt x="13320" y="8514"/>
                </a:lnTo>
                <a:lnTo>
                  <a:pt x="13303" y="8520"/>
                </a:lnTo>
                <a:lnTo>
                  <a:pt x="13286" y="8527"/>
                </a:lnTo>
                <a:lnTo>
                  <a:pt x="13271" y="8534"/>
                </a:lnTo>
                <a:lnTo>
                  <a:pt x="13257" y="8541"/>
                </a:lnTo>
                <a:lnTo>
                  <a:pt x="13245" y="8548"/>
                </a:lnTo>
                <a:lnTo>
                  <a:pt x="13235" y="8554"/>
                </a:lnTo>
                <a:lnTo>
                  <a:pt x="13228" y="8561"/>
                </a:lnTo>
                <a:lnTo>
                  <a:pt x="13223" y="8566"/>
                </a:lnTo>
                <a:lnTo>
                  <a:pt x="13206" y="8566"/>
                </a:lnTo>
                <a:lnTo>
                  <a:pt x="13190" y="8564"/>
                </a:lnTo>
                <a:lnTo>
                  <a:pt x="13174" y="8560"/>
                </a:lnTo>
                <a:lnTo>
                  <a:pt x="13159" y="8556"/>
                </a:lnTo>
                <a:lnTo>
                  <a:pt x="13147" y="8551"/>
                </a:lnTo>
                <a:lnTo>
                  <a:pt x="13135" y="8545"/>
                </a:lnTo>
                <a:lnTo>
                  <a:pt x="13124" y="8538"/>
                </a:lnTo>
                <a:lnTo>
                  <a:pt x="13114" y="8530"/>
                </a:lnTo>
                <a:lnTo>
                  <a:pt x="13105" y="8522"/>
                </a:lnTo>
                <a:lnTo>
                  <a:pt x="13096" y="8513"/>
                </a:lnTo>
                <a:lnTo>
                  <a:pt x="13089" y="8502"/>
                </a:lnTo>
                <a:lnTo>
                  <a:pt x="13082" y="8492"/>
                </a:lnTo>
                <a:lnTo>
                  <a:pt x="13069" y="8471"/>
                </a:lnTo>
                <a:lnTo>
                  <a:pt x="13059" y="8450"/>
                </a:lnTo>
                <a:lnTo>
                  <a:pt x="13039" y="8407"/>
                </a:lnTo>
                <a:lnTo>
                  <a:pt x="13021" y="8369"/>
                </a:lnTo>
                <a:lnTo>
                  <a:pt x="13016" y="8362"/>
                </a:lnTo>
                <a:lnTo>
                  <a:pt x="13011" y="8355"/>
                </a:lnTo>
                <a:lnTo>
                  <a:pt x="13005" y="8348"/>
                </a:lnTo>
                <a:lnTo>
                  <a:pt x="12999" y="8343"/>
                </a:lnTo>
                <a:lnTo>
                  <a:pt x="12993" y="8339"/>
                </a:lnTo>
                <a:lnTo>
                  <a:pt x="12986" y="8336"/>
                </a:lnTo>
                <a:lnTo>
                  <a:pt x="12978" y="8334"/>
                </a:lnTo>
                <a:lnTo>
                  <a:pt x="12970" y="8333"/>
                </a:lnTo>
                <a:lnTo>
                  <a:pt x="12971" y="8326"/>
                </a:lnTo>
                <a:lnTo>
                  <a:pt x="12971" y="8320"/>
                </a:lnTo>
                <a:lnTo>
                  <a:pt x="12970" y="8313"/>
                </a:lnTo>
                <a:lnTo>
                  <a:pt x="12969" y="8308"/>
                </a:lnTo>
                <a:lnTo>
                  <a:pt x="12966" y="8296"/>
                </a:lnTo>
                <a:lnTo>
                  <a:pt x="12960" y="8286"/>
                </a:lnTo>
                <a:lnTo>
                  <a:pt x="12945" y="8264"/>
                </a:lnTo>
                <a:lnTo>
                  <a:pt x="12928" y="8238"/>
                </a:lnTo>
                <a:lnTo>
                  <a:pt x="12932" y="8236"/>
                </a:lnTo>
                <a:lnTo>
                  <a:pt x="12935" y="8232"/>
                </a:lnTo>
                <a:lnTo>
                  <a:pt x="12937" y="8226"/>
                </a:lnTo>
                <a:lnTo>
                  <a:pt x="12937" y="8218"/>
                </a:lnTo>
                <a:lnTo>
                  <a:pt x="12935" y="8207"/>
                </a:lnTo>
                <a:lnTo>
                  <a:pt x="12932" y="8194"/>
                </a:lnTo>
                <a:lnTo>
                  <a:pt x="12928" y="8180"/>
                </a:lnTo>
                <a:lnTo>
                  <a:pt x="12923" y="8164"/>
                </a:lnTo>
                <a:lnTo>
                  <a:pt x="12909" y="8128"/>
                </a:lnTo>
                <a:lnTo>
                  <a:pt x="12893" y="8086"/>
                </a:lnTo>
                <a:lnTo>
                  <a:pt x="12875" y="8042"/>
                </a:lnTo>
                <a:lnTo>
                  <a:pt x="12855" y="7995"/>
                </a:lnTo>
                <a:lnTo>
                  <a:pt x="12813" y="7901"/>
                </a:lnTo>
                <a:lnTo>
                  <a:pt x="12775" y="7813"/>
                </a:lnTo>
                <a:lnTo>
                  <a:pt x="12759" y="7776"/>
                </a:lnTo>
                <a:lnTo>
                  <a:pt x="12747" y="7742"/>
                </a:lnTo>
                <a:lnTo>
                  <a:pt x="12743" y="7728"/>
                </a:lnTo>
                <a:lnTo>
                  <a:pt x="12740" y="7716"/>
                </a:lnTo>
                <a:lnTo>
                  <a:pt x="12738" y="7706"/>
                </a:lnTo>
                <a:lnTo>
                  <a:pt x="12737" y="7698"/>
                </a:lnTo>
                <a:lnTo>
                  <a:pt x="12730" y="7693"/>
                </a:lnTo>
                <a:lnTo>
                  <a:pt x="12722" y="7686"/>
                </a:lnTo>
                <a:lnTo>
                  <a:pt x="12715" y="7677"/>
                </a:lnTo>
                <a:lnTo>
                  <a:pt x="12707" y="7666"/>
                </a:lnTo>
                <a:lnTo>
                  <a:pt x="12700" y="7653"/>
                </a:lnTo>
                <a:lnTo>
                  <a:pt x="12692" y="7640"/>
                </a:lnTo>
                <a:lnTo>
                  <a:pt x="12685" y="7625"/>
                </a:lnTo>
                <a:lnTo>
                  <a:pt x="12678" y="7609"/>
                </a:lnTo>
                <a:lnTo>
                  <a:pt x="12666" y="7577"/>
                </a:lnTo>
                <a:lnTo>
                  <a:pt x="12654" y="7547"/>
                </a:lnTo>
                <a:lnTo>
                  <a:pt x="12646" y="7520"/>
                </a:lnTo>
                <a:lnTo>
                  <a:pt x="12641" y="7498"/>
                </a:lnTo>
                <a:lnTo>
                  <a:pt x="12631" y="7490"/>
                </a:lnTo>
                <a:lnTo>
                  <a:pt x="12622" y="7481"/>
                </a:lnTo>
                <a:lnTo>
                  <a:pt x="12612" y="7470"/>
                </a:lnTo>
                <a:lnTo>
                  <a:pt x="12603" y="7459"/>
                </a:lnTo>
                <a:lnTo>
                  <a:pt x="12593" y="7446"/>
                </a:lnTo>
                <a:lnTo>
                  <a:pt x="12584" y="7432"/>
                </a:lnTo>
                <a:lnTo>
                  <a:pt x="12575" y="7418"/>
                </a:lnTo>
                <a:lnTo>
                  <a:pt x="12567" y="7403"/>
                </a:lnTo>
                <a:lnTo>
                  <a:pt x="12551" y="7372"/>
                </a:lnTo>
                <a:lnTo>
                  <a:pt x="12535" y="7341"/>
                </a:lnTo>
                <a:lnTo>
                  <a:pt x="12523" y="7312"/>
                </a:lnTo>
                <a:lnTo>
                  <a:pt x="12514" y="7286"/>
                </a:lnTo>
                <a:lnTo>
                  <a:pt x="12503" y="7278"/>
                </a:lnTo>
                <a:lnTo>
                  <a:pt x="12491" y="7268"/>
                </a:lnTo>
                <a:lnTo>
                  <a:pt x="12478" y="7255"/>
                </a:lnTo>
                <a:lnTo>
                  <a:pt x="12464" y="7239"/>
                </a:lnTo>
                <a:lnTo>
                  <a:pt x="12449" y="7223"/>
                </a:lnTo>
                <a:lnTo>
                  <a:pt x="12433" y="7206"/>
                </a:lnTo>
                <a:lnTo>
                  <a:pt x="12418" y="7187"/>
                </a:lnTo>
                <a:lnTo>
                  <a:pt x="12401" y="7168"/>
                </a:lnTo>
                <a:lnTo>
                  <a:pt x="12386" y="7148"/>
                </a:lnTo>
                <a:lnTo>
                  <a:pt x="12372" y="7128"/>
                </a:lnTo>
                <a:lnTo>
                  <a:pt x="12358" y="7108"/>
                </a:lnTo>
                <a:lnTo>
                  <a:pt x="12346" y="7088"/>
                </a:lnTo>
                <a:lnTo>
                  <a:pt x="12335" y="7070"/>
                </a:lnTo>
                <a:lnTo>
                  <a:pt x="12326" y="7052"/>
                </a:lnTo>
                <a:lnTo>
                  <a:pt x="12319" y="7036"/>
                </a:lnTo>
                <a:lnTo>
                  <a:pt x="12313" y="7021"/>
                </a:lnTo>
                <a:lnTo>
                  <a:pt x="12343" y="7025"/>
                </a:lnTo>
                <a:lnTo>
                  <a:pt x="12375" y="7027"/>
                </a:lnTo>
                <a:lnTo>
                  <a:pt x="12391" y="7028"/>
                </a:lnTo>
                <a:lnTo>
                  <a:pt x="12406" y="7027"/>
                </a:lnTo>
                <a:lnTo>
                  <a:pt x="12423" y="7026"/>
                </a:lnTo>
                <a:lnTo>
                  <a:pt x="12437" y="7024"/>
                </a:lnTo>
                <a:lnTo>
                  <a:pt x="12451" y="7021"/>
                </a:lnTo>
                <a:lnTo>
                  <a:pt x="12464" y="7016"/>
                </a:lnTo>
                <a:lnTo>
                  <a:pt x="12469" y="7013"/>
                </a:lnTo>
                <a:lnTo>
                  <a:pt x="12475" y="7010"/>
                </a:lnTo>
                <a:lnTo>
                  <a:pt x="12480" y="7006"/>
                </a:lnTo>
                <a:lnTo>
                  <a:pt x="12485" y="7001"/>
                </a:lnTo>
                <a:lnTo>
                  <a:pt x="12489" y="6997"/>
                </a:lnTo>
                <a:lnTo>
                  <a:pt x="12492" y="6990"/>
                </a:lnTo>
                <a:lnTo>
                  <a:pt x="12496" y="6985"/>
                </a:lnTo>
                <a:lnTo>
                  <a:pt x="12498" y="6978"/>
                </a:lnTo>
                <a:lnTo>
                  <a:pt x="12501" y="6971"/>
                </a:lnTo>
                <a:lnTo>
                  <a:pt x="12502" y="6964"/>
                </a:lnTo>
                <a:lnTo>
                  <a:pt x="12503" y="6956"/>
                </a:lnTo>
                <a:lnTo>
                  <a:pt x="12504" y="6947"/>
                </a:lnTo>
                <a:lnTo>
                  <a:pt x="12494" y="6946"/>
                </a:lnTo>
                <a:lnTo>
                  <a:pt x="12486" y="6944"/>
                </a:lnTo>
                <a:lnTo>
                  <a:pt x="12480" y="6941"/>
                </a:lnTo>
                <a:lnTo>
                  <a:pt x="12474" y="6937"/>
                </a:lnTo>
                <a:lnTo>
                  <a:pt x="12469" y="6932"/>
                </a:lnTo>
                <a:lnTo>
                  <a:pt x="12465" y="6927"/>
                </a:lnTo>
                <a:lnTo>
                  <a:pt x="12463" y="6921"/>
                </a:lnTo>
                <a:lnTo>
                  <a:pt x="12461" y="6915"/>
                </a:lnTo>
                <a:lnTo>
                  <a:pt x="12461" y="6910"/>
                </a:lnTo>
                <a:lnTo>
                  <a:pt x="12462" y="6904"/>
                </a:lnTo>
                <a:lnTo>
                  <a:pt x="12464" y="6899"/>
                </a:lnTo>
                <a:lnTo>
                  <a:pt x="12467" y="6894"/>
                </a:lnTo>
                <a:lnTo>
                  <a:pt x="12472" y="6890"/>
                </a:lnTo>
                <a:lnTo>
                  <a:pt x="12478" y="6887"/>
                </a:lnTo>
                <a:lnTo>
                  <a:pt x="12485" y="6885"/>
                </a:lnTo>
                <a:lnTo>
                  <a:pt x="12493" y="6884"/>
                </a:lnTo>
                <a:lnTo>
                  <a:pt x="12491" y="6872"/>
                </a:lnTo>
                <a:lnTo>
                  <a:pt x="12490" y="6860"/>
                </a:lnTo>
                <a:lnTo>
                  <a:pt x="12490" y="6849"/>
                </a:lnTo>
                <a:lnTo>
                  <a:pt x="12492" y="6838"/>
                </a:lnTo>
                <a:lnTo>
                  <a:pt x="12494" y="6827"/>
                </a:lnTo>
                <a:lnTo>
                  <a:pt x="12498" y="6817"/>
                </a:lnTo>
                <a:lnTo>
                  <a:pt x="12501" y="6807"/>
                </a:lnTo>
                <a:lnTo>
                  <a:pt x="12506" y="6797"/>
                </a:lnTo>
                <a:lnTo>
                  <a:pt x="12515" y="6778"/>
                </a:lnTo>
                <a:lnTo>
                  <a:pt x="12524" y="6759"/>
                </a:lnTo>
                <a:lnTo>
                  <a:pt x="12528" y="6750"/>
                </a:lnTo>
                <a:lnTo>
                  <a:pt x="12532" y="6740"/>
                </a:lnTo>
                <a:lnTo>
                  <a:pt x="12535" y="6730"/>
                </a:lnTo>
                <a:lnTo>
                  <a:pt x="12539" y="6721"/>
                </a:lnTo>
                <a:lnTo>
                  <a:pt x="12544" y="6697"/>
                </a:lnTo>
                <a:lnTo>
                  <a:pt x="12550" y="6670"/>
                </a:lnTo>
                <a:lnTo>
                  <a:pt x="12557" y="6641"/>
                </a:lnTo>
                <a:lnTo>
                  <a:pt x="12563" y="6611"/>
                </a:lnTo>
                <a:lnTo>
                  <a:pt x="12569" y="6580"/>
                </a:lnTo>
                <a:lnTo>
                  <a:pt x="12574" y="6550"/>
                </a:lnTo>
                <a:lnTo>
                  <a:pt x="12577" y="6521"/>
                </a:lnTo>
                <a:lnTo>
                  <a:pt x="12578" y="6493"/>
                </a:lnTo>
                <a:lnTo>
                  <a:pt x="12553" y="6493"/>
                </a:lnTo>
                <a:lnTo>
                  <a:pt x="12531" y="6495"/>
                </a:lnTo>
                <a:lnTo>
                  <a:pt x="12514" y="6497"/>
                </a:lnTo>
                <a:lnTo>
                  <a:pt x="12498" y="6501"/>
                </a:lnTo>
                <a:lnTo>
                  <a:pt x="12467" y="6511"/>
                </a:lnTo>
                <a:lnTo>
                  <a:pt x="12430" y="6524"/>
                </a:lnTo>
                <a:lnTo>
                  <a:pt x="12430" y="6528"/>
                </a:lnTo>
                <a:lnTo>
                  <a:pt x="12428" y="6531"/>
                </a:lnTo>
                <a:lnTo>
                  <a:pt x="12427" y="6534"/>
                </a:lnTo>
                <a:lnTo>
                  <a:pt x="12424" y="6536"/>
                </a:lnTo>
                <a:lnTo>
                  <a:pt x="12421" y="6538"/>
                </a:lnTo>
                <a:lnTo>
                  <a:pt x="12418" y="6539"/>
                </a:lnTo>
                <a:lnTo>
                  <a:pt x="12414" y="6540"/>
                </a:lnTo>
                <a:lnTo>
                  <a:pt x="12409" y="6540"/>
                </a:lnTo>
                <a:lnTo>
                  <a:pt x="12399" y="6540"/>
                </a:lnTo>
                <a:lnTo>
                  <a:pt x="12387" y="6539"/>
                </a:lnTo>
                <a:lnTo>
                  <a:pt x="12375" y="6537"/>
                </a:lnTo>
                <a:lnTo>
                  <a:pt x="12363" y="6535"/>
                </a:lnTo>
                <a:lnTo>
                  <a:pt x="12313" y="6521"/>
                </a:lnTo>
                <a:lnTo>
                  <a:pt x="12281" y="6513"/>
                </a:lnTo>
                <a:lnTo>
                  <a:pt x="12278" y="6509"/>
                </a:lnTo>
                <a:lnTo>
                  <a:pt x="12274" y="6505"/>
                </a:lnTo>
                <a:lnTo>
                  <a:pt x="12269" y="6502"/>
                </a:lnTo>
                <a:lnTo>
                  <a:pt x="12263" y="6500"/>
                </a:lnTo>
                <a:lnTo>
                  <a:pt x="12257" y="6499"/>
                </a:lnTo>
                <a:lnTo>
                  <a:pt x="12249" y="6499"/>
                </a:lnTo>
                <a:lnTo>
                  <a:pt x="12241" y="6499"/>
                </a:lnTo>
                <a:lnTo>
                  <a:pt x="12233" y="6500"/>
                </a:lnTo>
                <a:lnTo>
                  <a:pt x="12194" y="6506"/>
                </a:lnTo>
                <a:lnTo>
                  <a:pt x="12149" y="6514"/>
                </a:lnTo>
                <a:lnTo>
                  <a:pt x="12127" y="6518"/>
                </a:lnTo>
                <a:lnTo>
                  <a:pt x="12104" y="6520"/>
                </a:lnTo>
                <a:lnTo>
                  <a:pt x="12093" y="6521"/>
                </a:lnTo>
                <a:lnTo>
                  <a:pt x="12082" y="6520"/>
                </a:lnTo>
                <a:lnTo>
                  <a:pt x="12071" y="6520"/>
                </a:lnTo>
                <a:lnTo>
                  <a:pt x="12061" y="6518"/>
                </a:lnTo>
                <a:lnTo>
                  <a:pt x="12051" y="6516"/>
                </a:lnTo>
                <a:lnTo>
                  <a:pt x="12042" y="6513"/>
                </a:lnTo>
                <a:lnTo>
                  <a:pt x="12032" y="6509"/>
                </a:lnTo>
                <a:lnTo>
                  <a:pt x="12023" y="6504"/>
                </a:lnTo>
                <a:lnTo>
                  <a:pt x="12015" y="6497"/>
                </a:lnTo>
                <a:lnTo>
                  <a:pt x="12008" y="6490"/>
                </a:lnTo>
                <a:lnTo>
                  <a:pt x="12002" y="6480"/>
                </a:lnTo>
                <a:lnTo>
                  <a:pt x="11996" y="6470"/>
                </a:lnTo>
                <a:lnTo>
                  <a:pt x="11980" y="6455"/>
                </a:lnTo>
                <a:lnTo>
                  <a:pt x="11967" y="6440"/>
                </a:lnTo>
                <a:lnTo>
                  <a:pt x="11956" y="6426"/>
                </a:lnTo>
                <a:lnTo>
                  <a:pt x="11947" y="6411"/>
                </a:lnTo>
                <a:lnTo>
                  <a:pt x="11940" y="6397"/>
                </a:lnTo>
                <a:lnTo>
                  <a:pt x="11934" y="6382"/>
                </a:lnTo>
                <a:lnTo>
                  <a:pt x="11929" y="6368"/>
                </a:lnTo>
                <a:lnTo>
                  <a:pt x="11925" y="6352"/>
                </a:lnTo>
                <a:lnTo>
                  <a:pt x="11920" y="6320"/>
                </a:lnTo>
                <a:lnTo>
                  <a:pt x="11915" y="6287"/>
                </a:lnTo>
                <a:lnTo>
                  <a:pt x="11913" y="6269"/>
                </a:lnTo>
                <a:lnTo>
                  <a:pt x="11909" y="6250"/>
                </a:lnTo>
                <a:lnTo>
                  <a:pt x="11905" y="6229"/>
                </a:lnTo>
                <a:lnTo>
                  <a:pt x="11900" y="6207"/>
                </a:lnTo>
                <a:lnTo>
                  <a:pt x="11896" y="6197"/>
                </a:lnTo>
                <a:lnTo>
                  <a:pt x="11891" y="6188"/>
                </a:lnTo>
                <a:lnTo>
                  <a:pt x="11885" y="6180"/>
                </a:lnTo>
                <a:lnTo>
                  <a:pt x="11878" y="6173"/>
                </a:lnTo>
                <a:lnTo>
                  <a:pt x="11870" y="6167"/>
                </a:lnTo>
                <a:lnTo>
                  <a:pt x="11861" y="6162"/>
                </a:lnTo>
                <a:lnTo>
                  <a:pt x="11851" y="6157"/>
                </a:lnTo>
                <a:lnTo>
                  <a:pt x="11841" y="6153"/>
                </a:lnTo>
                <a:lnTo>
                  <a:pt x="11819" y="6147"/>
                </a:lnTo>
                <a:lnTo>
                  <a:pt x="11797" y="6143"/>
                </a:lnTo>
                <a:lnTo>
                  <a:pt x="11775" y="6139"/>
                </a:lnTo>
                <a:lnTo>
                  <a:pt x="11756" y="6136"/>
                </a:lnTo>
                <a:lnTo>
                  <a:pt x="11743" y="6134"/>
                </a:lnTo>
                <a:lnTo>
                  <a:pt x="11733" y="6133"/>
                </a:lnTo>
                <a:lnTo>
                  <a:pt x="11723" y="6134"/>
                </a:lnTo>
                <a:lnTo>
                  <a:pt x="11715" y="6135"/>
                </a:lnTo>
                <a:lnTo>
                  <a:pt x="11707" y="6138"/>
                </a:lnTo>
                <a:lnTo>
                  <a:pt x="11701" y="6141"/>
                </a:lnTo>
                <a:lnTo>
                  <a:pt x="11696" y="6145"/>
                </a:lnTo>
                <a:lnTo>
                  <a:pt x="11692" y="6151"/>
                </a:lnTo>
                <a:lnTo>
                  <a:pt x="11688" y="6156"/>
                </a:lnTo>
                <a:lnTo>
                  <a:pt x="11686" y="6163"/>
                </a:lnTo>
                <a:lnTo>
                  <a:pt x="11684" y="6170"/>
                </a:lnTo>
                <a:lnTo>
                  <a:pt x="11683" y="6178"/>
                </a:lnTo>
                <a:lnTo>
                  <a:pt x="11683" y="6195"/>
                </a:lnTo>
                <a:lnTo>
                  <a:pt x="11684" y="6213"/>
                </a:lnTo>
                <a:lnTo>
                  <a:pt x="11687" y="6232"/>
                </a:lnTo>
                <a:lnTo>
                  <a:pt x="11692" y="6252"/>
                </a:lnTo>
                <a:lnTo>
                  <a:pt x="11696" y="6271"/>
                </a:lnTo>
                <a:lnTo>
                  <a:pt x="11701" y="6289"/>
                </a:lnTo>
                <a:lnTo>
                  <a:pt x="11705" y="6306"/>
                </a:lnTo>
                <a:lnTo>
                  <a:pt x="11709" y="6321"/>
                </a:lnTo>
                <a:lnTo>
                  <a:pt x="11710" y="6334"/>
                </a:lnTo>
                <a:lnTo>
                  <a:pt x="11710" y="6343"/>
                </a:lnTo>
                <a:lnTo>
                  <a:pt x="11717" y="6344"/>
                </a:lnTo>
                <a:lnTo>
                  <a:pt x="11723" y="6345"/>
                </a:lnTo>
                <a:lnTo>
                  <a:pt x="11728" y="6346"/>
                </a:lnTo>
                <a:lnTo>
                  <a:pt x="11732" y="6348"/>
                </a:lnTo>
                <a:lnTo>
                  <a:pt x="11735" y="6351"/>
                </a:lnTo>
                <a:lnTo>
                  <a:pt x="11737" y="6353"/>
                </a:lnTo>
                <a:lnTo>
                  <a:pt x="11737" y="6357"/>
                </a:lnTo>
                <a:lnTo>
                  <a:pt x="11737" y="6361"/>
                </a:lnTo>
                <a:lnTo>
                  <a:pt x="11735" y="6370"/>
                </a:lnTo>
                <a:lnTo>
                  <a:pt x="11730" y="6380"/>
                </a:lnTo>
                <a:lnTo>
                  <a:pt x="11724" y="6391"/>
                </a:lnTo>
                <a:lnTo>
                  <a:pt x="11715" y="6403"/>
                </a:lnTo>
                <a:lnTo>
                  <a:pt x="11696" y="6429"/>
                </a:lnTo>
                <a:lnTo>
                  <a:pt x="11677" y="6455"/>
                </a:lnTo>
                <a:lnTo>
                  <a:pt x="11669" y="6468"/>
                </a:lnTo>
                <a:lnTo>
                  <a:pt x="11663" y="6480"/>
                </a:lnTo>
                <a:lnTo>
                  <a:pt x="11661" y="6486"/>
                </a:lnTo>
                <a:lnTo>
                  <a:pt x="11659" y="6492"/>
                </a:lnTo>
                <a:lnTo>
                  <a:pt x="11658" y="6498"/>
                </a:lnTo>
                <a:lnTo>
                  <a:pt x="11657" y="6503"/>
                </a:lnTo>
                <a:lnTo>
                  <a:pt x="11644" y="6500"/>
                </a:lnTo>
                <a:lnTo>
                  <a:pt x="11632" y="6496"/>
                </a:lnTo>
                <a:lnTo>
                  <a:pt x="11621" y="6491"/>
                </a:lnTo>
                <a:lnTo>
                  <a:pt x="11612" y="6485"/>
                </a:lnTo>
                <a:lnTo>
                  <a:pt x="11603" y="6479"/>
                </a:lnTo>
                <a:lnTo>
                  <a:pt x="11595" y="6473"/>
                </a:lnTo>
                <a:lnTo>
                  <a:pt x="11587" y="6466"/>
                </a:lnTo>
                <a:lnTo>
                  <a:pt x="11581" y="6459"/>
                </a:lnTo>
                <a:lnTo>
                  <a:pt x="11575" y="6451"/>
                </a:lnTo>
                <a:lnTo>
                  <a:pt x="11569" y="6443"/>
                </a:lnTo>
                <a:lnTo>
                  <a:pt x="11564" y="6435"/>
                </a:lnTo>
                <a:lnTo>
                  <a:pt x="11560" y="6427"/>
                </a:lnTo>
                <a:lnTo>
                  <a:pt x="11552" y="6409"/>
                </a:lnTo>
                <a:lnTo>
                  <a:pt x="11546" y="6391"/>
                </a:lnTo>
                <a:lnTo>
                  <a:pt x="11534" y="6353"/>
                </a:lnTo>
                <a:lnTo>
                  <a:pt x="11521" y="6320"/>
                </a:lnTo>
                <a:lnTo>
                  <a:pt x="11517" y="6312"/>
                </a:lnTo>
                <a:lnTo>
                  <a:pt x="11513" y="6304"/>
                </a:lnTo>
                <a:lnTo>
                  <a:pt x="11508" y="6297"/>
                </a:lnTo>
                <a:lnTo>
                  <a:pt x="11503" y="6291"/>
                </a:lnTo>
                <a:lnTo>
                  <a:pt x="11498" y="6285"/>
                </a:lnTo>
                <a:lnTo>
                  <a:pt x="11491" y="6279"/>
                </a:lnTo>
                <a:lnTo>
                  <a:pt x="11485" y="6274"/>
                </a:lnTo>
                <a:lnTo>
                  <a:pt x="11477" y="6270"/>
                </a:lnTo>
                <a:lnTo>
                  <a:pt x="11473" y="6262"/>
                </a:lnTo>
                <a:lnTo>
                  <a:pt x="11470" y="6255"/>
                </a:lnTo>
                <a:lnTo>
                  <a:pt x="11467" y="6248"/>
                </a:lnTo>
                <a:lnTo>
                  <a:pt x="11465" y="6241"/>
                </a:lnTo>
                <a:lnTo>
                  <a:pt x="11462" y="6227"/>
                </a:lnTo>
                <a:lnTo>
                  <a:pt x="11458" y="6217"/>
                </a:lnTo>
                <a:lnTo>
                  <a:pt x="11456" y="6212"/>
                </a:lnTo>
                <a:lnTo>
                  <a:pt x="11453" y="6208"/>
                </a:lnTo>
                <a:lnTo>
                  <a:pt x="11450" y="6204"/>
                </a:lnTo>
                <a:lnTo>
                  <a:pt x="11445" y="6201"/>
                </a:lnTo>
                <a:lnTo>
                  <a:pt x="11440" y="6199"/>
                </a:lnTo>
                <a:lnTo>
                  <a:pt x="11433" y="6197"/>
                </a:lnTo>
                <a:lnTo>
                  <a:pt x="11424" y="6196"/>
                </a:lnTo>
                <a:lnTo>
                  <a:pt x="11414" y="6196"/>
                </a:lnTo>
                <a:lnTo>
                  <a:pt x="11415" y="6173"/>
                </a:lnTo>
                <a:lnTo>
                  <a:pt x="11418" y="6147"/>
                </a:lnTo>
                <a:lnTo>
                  <a:pt x="11420" y="6120"/>
                </a:lnTo>
                <a:lnTo>
                  <a:pt x="11422" y="6092"/>
                </a:lnTo>
                <a:lnTo>
                  <a:pt x="11421" y="6079"/>
                </a:lnTo>
                <a:lnTo>
                  <a:pt x="11420" y="6067"/>
                </a:lnTo>
                <a:lnTo>
                  <a:pt x="11417" y="6055"/>
                </a:lnTo>
                <a:lnTo>
                  <a:pt x="11414" y="6045"/>
                </a:lnTo>
                <a:lnTo>
                  <a:pt x="11411" y="6040"/>
                </a:lnTo>
                <a:lnTo>
                  <a:pt x="11409" y="6035"/>
                </a:lnTo>
                <a:lnTo>
                  <a:pt x="11405" y="6031"/>
                </a:lnTo>
                <a:lnTo>
                  <a:pt x="11401" y="6027"/>
                </a:lnTo>
                <a:lnTo>
                  <a:pt x="11397" y="6024"/>
                </a:lnTo>
                <a:lnTo>
                  <a:pt x="11392" y="6021"/>
                </a:lnTo>
                <a:lnTo>
                  <a:pt x="11387" y="6018"/>
                </a:lnTo>
                <a:lnTo>
                  <a:pt x="11382" y="6016"/>
                </a:lnTo>
                <a:lnTo>
                  <a:pt x="11381" y="6013"/>
                </a:lnTo>
                <a:lnTo>
                  <a:pt x="11380" y="6011"/>
                </a:lnTo>
                <a:lnTo>
                  <a:pt x="11379" y="6009"/>
                </a:lnTo>
                <a:lnTo>
                  <a:pt x="11377" y="6006"/>
                </a:lnTo>
                <a:lnTo>
                  <a:pt x="11371" y="6002"/>
                </a:lnTo>
                <a:lnTo>
                  <a:pt x="11363" y="5998"/>
                </a:lnTo>
                <a:lnTo>
                  <a:pt x="11343" y="5990"/>
                </a:lnTo>
                <a:lnTo>
                  <a:pt x="11320" y="5981"/>
                </a:lnTo>
                <a:lnTo>
                  <a:pt x="11296" y="5973"/>
                </a:lnTo>
                <a:lnTo>
                  <a:pt x="11273" y="5964"/>
                </a:lnTo>
                <a:lnTo>
                  <a:pt x="11263" y="5959"/>
                </a:lnTo>
                <a:lnTo>
                  <a:pt x="11255" y="5954"/>
                </a:lnTo>
                <a:lnTo>
                  <a:pt x="11249" y="5948"/>
                </a:lnTo>
                <a:lnTo>
                  <a:pt x="11244" y="5941"/>
                </a:lnTo>
                <a:lnTo>
                  <a:pt x="11237" y="5941"/>
                </a:lnTo>
                <a:lnTo>
                  <a:pt x="11229" y="5938"/>
                </a:lnTo>
                <a:lnTo>
                  <a:pt x="11221" y="5934"/>
                </a:lnTo>
                <a:lnTo>
                  <a:pt x="11212" y="5929"/>
                </a:lnTo>
                <a:lnTo>
                  <a:pt x="11203" y="5923"/>
                </a:lnTo>
                <a:lnTo>
                  <a:pt x="11193" y="5916"/>
                </a:lnTo>
                <a:lnTo>
                  <a:pt x="11183" y="5907"/>
                </a:lnTo>
                <a:lnTo>
                  <a:pt x="11173" y="5898"/>
                </a:lnTo>
                <a:lnTo>
                  <a:pt x="11128" y="5855"/>
                </a:lnTo>
                <a:lnTo>
                  <a:pt x="11083" y="5810"/>
                </a:lnTo>
                <a:lnTo>
                  <a:pt x="11061" y="5789"/>
                </a:lnTo>
                <a:lnTo>
                  <a:pt x="11040" y="5769"/>
                </a:lnTo>
                <a:lnTo>
                  <a:pt x="11029" y="5761"/>
                </a:lnTo>
                <a:lnTo>
                  <a:pt x="11018" y="5753"/>
                </a:lnTo>
                <a:lnTo>
                  <a:pt x="11008" y="5746"/>
                </a:lnTo>
                <a:lnTo>
                  <a:pt x="10998" y="5741"/>
                </a:lnTo>
                <a:lnTo>
                  <a:pt x="10989" y="5736"/>
                </a:lnTo>
                <a:lnTo>
                  <a:pt x="10980" y="5732"/>
                </a:lnTo>
                <a:lnTo>
                  <a:pt x="10972" y="5731"/>
                </a:lnTo>
                <a:lnTo>
                  <a:pt x="10964" y="5731"/>
                </a:lnTo>
                <a:lnTo>
                  <a:pt x="10957" y="5734"/>
                </a:lnTo>
                <a:lnTo>
                  <a:pt x="10950" y="5738"/>
                </a:lnTo>
                <a:lnTo>
                  <a:pt x="10944" y="5744"/>
                </a:lnTo>
                <a:lnTo>
                  <a:pt x="10939" y="5752"/>
                </a:lnTo>
                <a:lnTo>
                  <a:pt x="10934" y="5763"/>
                </a:lnTo>
                <a:lnTo>
                  <a:pt x="10930" y="5773"/>
                </a:lnTo>
                <a:lnTo>
                  <a:pt x="10929" y="5782"/>
                </a:lnTo>
                <a:lnTo>
                  <a:pt x="10929" y="5790"/>
                </a:lnTo>
                <a:lnTo>
                  <a:pt x="10931" y="5798"/>
                </a:lnTo>
                <a:lnTo>
                  <a:pt x="10934" y="5805"/>
                </a:lnTo>
                <a:lnTo>
                  <a:pt x="10937" y="5812"/>
                </a:lnTo>
                <a:lnTo>
                  <a:pt x="10942" y="5819"/>
                </a:lnTo>
                <a:lnTo>
                  <a:pt x="10952" y="5832"/>
                </a:lnTo>
                <a:lnTo>
                  <a:pt x="10963" y="5846"/>
                </a:lnTo>
                <a:lnTo>
                  <a:pt x="10968" y="5853"/>
                </a:lnTo>
                <a:lnTo>
                  <a:pt x="10973" y="5861"/>
                </a:lnTo>
                <a:lnTo>
                  <a:pt x="10977" y="5870"/>
                </a:lnTo>
                <a:lnTo>
                  <a:pt x="10980" y="5879"/>
                </a:lnTo>
                <a:lnTo>
                  <a:pt x="10990" y="5877"/>
                </a:lnTo>
                <a:lnTo>
                  <a:pt x="10999" y="5877"/>
                </a:lnTo>
                <a:lnTo>
                  <a:pt x="11007" y="5878"/>
                </a:lnTo>
                <a:lnTo>
                  <a:pt x="11015" y="5880"/>
                </a:lnTo>
                <a:lnTo>
                  <a:pt x="11023" y="5883"/>
                </a:lnTo>
                <a:lnTo>
                  <a:pt x="11031" y="5887"/>
                </a:lnTo>
                <a:lnTo>
                  <a:pt x="11038" y="5892"/>
                </a:lnTo>
                <a:lnTo>
                  <a:pt x="11044" y="5897"/>
                </a:lnTo>
                <a:lnTo>
                  <a:pt x="11056" y="5910"/>
                </a:lnTo>
                <a:lnTo>
                  <a:pt x="11066" y="5925"/>
                </a:lnTo>
                <a:lnTo>
                  <a:pt x="11077" y="5941"/>
                </a:lnTo>
                <a:lnTo>
                  <a:pt x="11087" y="5958"/>
                </a:lnTo>
                <a:lnTo>
                  <a:pt x="11098" y="5974"/>
                </a:lnTo>
                <a:lnTo>
                  <a:pt x="11109" y="5991"/>
                </a:lnTo>
                <a:lnTo>
                  <a:pt x="11115" y="5999"/>
                </a:lnTo>
                <a:lnTo>
                  <a:pt x="11121" y="6006"/>
                </a:lnTo>
                <a:lnTo>
                  <a:pt x="11128" y="6013"/>
                </a:lnTo>
                <a:lnTo>
                  <a:pt x="11135" y="6019"/>
                </a:lnTo>
                <a:lnTo>
                  <a:pt x="11142" y="6024"/>
                </a:lnTo>
                <a:lnTo>
                  <a:pt x="11150" y="6029"/>
                </a:lnTo>
                <a:lnTo>
                  <a:pt x="11160" y="6033"/>
                </a:lnTo>
                <a:lnTo>
                  <a:pt x="11169" y="6036"/>
                </a:lnTo>
                <a:lnTo>
                  <a:pt x="11179" y="6038"/>
                </a:lnTo>
                <a:lnTo>
                  <a:pt x="11189" y="6039"/>
                </a:lnTo>
                <a:lnTo>
                  <a:pt x="11201" y="6038"/>
                </a:lnTo>
                <a:lnTo>
                  <a:pt x="11213" y="6037"/>
                </a:lnTo>
                <a:lnTo>
                  <a:pt x="11213" y="6058"/>
                </a:lnTo>
                <a:lnTo>
                  <a:pt x="11215" y="6079"/>
                </a:lnTo>
                <a:lnTo>
                  <a:pt x="11219" y="6100"/>
                </a:lnTo>
                <a:lnTo>
                  <a:pt x="11223" y="6122"/>
                </a:lnTo>
                <a:lnTo>
                  <a:pt x="11232" y="6120"/>
                </a:lnTo>
                <a:lnTo>
                  <a:pt x="11240" y="6119"/>
                </a:lnTo>
                <a:lnTo>
                  <a:pt x="11248" y="6119"/>
                </a:lnTo>
                <a:lnTo>
                  <a:pt x="11255" y="6119"/>
                </a:lnTo>
                <a:lnTo>
                  <a:pt x="11262" y="6119"/>
                </a:lnTo>
                <a:lnTo>
                  <a:pt x="11268" y="6120"/>
                </a:lnTo>
                <a:lnTo>
                  <a:pt x="11274" y="6122"/>
                </a:lnTo>
                <a:lnTo>
                  <a:pt x="11280" y="6124"/>
                </a:lnTo>
                <a:lnTo>
                  <a:pt x="11289" y="6129"/>
                </a:lnTo>
                <a:lnTo>
                  <a:pt x="11297" y="6135"/>
                </a:lnTo>
                <a:lnTo>
                  <a:pt x="11304" y="6142"/>
                </a:lnTo>
                <a:lnTo>
                  <a:pt x="11311" y="6150"/>
                </a:lnTo>
                <a:lnTo>
                  <a:pt x="11322" y="6166"/>
                </a:lnTo>
                <a:lnTo>
                  <a:pt x="11332" y="6181"/>
                </a:lnTo>
                <a:lnTo>
                  <a:pt x="11338" y="6187"/>
                </a:lnTo>
                <a:lnTo>
                  <a:pt x="11345" y="6191"/>
                </a:lnTo>
                <a:lnTo>
                  <a:pt x="11348" y="6193"/>
                </a:lnTo>
                <a:lnTo>
                  <a:pt x="11352" y="6194"/>
                </a:lnTo>
                <a:lnTo>
                  <a:pt x="11356" y="6195"/>
                </a:lnTo>
                <a:lnTo>
                  <a:pt x="11361" y="6196"/>
                </a:lnTo>
                <a:lnTo>
                  <a:pt x="11357" y="6200"/>
                </a:lnTo>
                <a:lnTo>
                  <a:pt x="11353" y="6203"/>
                </a:lnTo>
                <a:lnTo>
                  <a:pt x="11349" y="6205"/>
                </a:lnTo>
                <a:lnTo>
                  <a:pt x="11344" y="6206"/>
                </a:lnTo>
                <a:lnTo>
                  <a:pt x="11339" y="6207"/>
                </a:lnTo>
                <a:lnTo>
                  <a:pt x="11334" y="6207"/>
                </a:lnTo>
                <a:lnTo>
                  <a:pt x="11328" y="6206"/>
                </a:lnTo>
                <a:lnTo>
                  <a:pt x="11323" y="6205"/>
                </a:lnTo>
                <a:lnTo>
                  <a:pt x="11311" y="6202"/>
                </a:lnTo>
                <a:lnTo>
                  <a:pt x="11299" y="6198"/>
                </a:lnTo>
                <a:lnTo>
                  <a:pt x="11287" y="6193"/>
                </a:lnTo>
                <a:lnTo>
                  <a:pt x="11275" y="6188"/>
                </a:lnTo>
                <a:lnTo>
                  <a:pt x="11265" y="6184"/>
                </a:lnTo>
                <a:lnTo>
                  <a:pt x="11255" y="6182"/>
                </a:lnTo>
                <a:lnTo>
                  <a:pt x="11251" y="6181"/>
                </a:lnTo>
                <a:lnTo>
                  <a:pt x="11248" y="6181"/>
                </a:lnTo>
                <a:lnTo>
                  <a:pt x="11244" y="6181"/>
                </a:lnTo>
                <a:lnTo>
                  <a:pt x="11241" y="6182"/>
                </a:lnTo>
                <a:lnTo>
                  <a:pt x="11239" y="6184"/>
                </a:lnTo>
                <a:lnTo>
                  <a:pt x="11237" y="6186"/>
                </a:lnTo>
                <a:lnTo>
                  <a:pt x="11236" y="6190"/>
                </a:lnTo>
                <a:lnTo>
                  <a:pt x="11236" y="6194"/>
                </a:lnTo>
                <a:lnTo>
                  <a:pt x="11236" y="6200"/>
                </a:lnTo>
                <a:lnTo>
                  <a:pt x="11237" y="6207"/>
                </a:lnTo>
                <a:lnTo>
                  <a:pt x="11238" y="6214"/>
                </a:lnTo>
                <a:lnTo>
                  <a:pt x="11241" y="6224"/>
                </a:lnTo>
                <a:lnTo>
                  <a:pt x="11244" y="6235"/>
                </a:lnTo>
                <a:lnTo>
                  <a:pt x="11246" y="6247"/>
                </a:lnTo>
                <a:lnTo>
                  <a:pt x="11248" y="6258"/>
                </a:lnTo>
                <a:lnTo>
                  <a:pt x="11249" y="6269"/>
                </a:lnTo>
                <a:lnTo>
                  <a:pt x="11248" y="6279"/>
                </a:lnTo>
                <a:lnTo>
                  <a:pt x="11247" y="6290"/>
                </a:lnTo>
                <a:lnTo>
                  <a:pt x="11245" y="6300"/>
                </a:lnTo>
                <a:lnTo>
                  <a:pt x="11242" y="6311"/>
                </a:lnTo>
                <a:lnTo>
                  <a:pt x="11238" y="6321"/>
                </a:lnTo>
                <a:lnTo>
                  <a:pt x="11232" y="6332"/>
                </a:lnTo>
                <a:lnTo>
                  <a:pt x="11225" y="6342"/>
                </a:lnTo>
                <a:lnTo>
                  <a:pt x="11217" y="6353"/>
                </a:lnTo>
                <a:lnTo>
                  <a:pt x="11208" y="6364"/>
                </a:lnTo>
                <a:lnTo>
                  <a:pt x="11197" y="6375"/>
                </a:lnTo>
                <a:lnTo>
                  <a:pt x="11184" y="6386"/>
                </a:lnTo>
                <a:lnTo>
                  <a:pt x="11171" y="6397"/>
                </a:lnTo>
                <a:lnTo>
                  <a:pt x="11170" y="6368"/>
                </a:lnTo>
                <a:lnTo>
                  <a:pt x="11169" y="6331"/>
                </a:lnTo>
                <a:lnTo>
                  <a:pt x="11167" y="6311"/>
                </a:lnTo>
                <a:lnTo>
                  <a:pt x="11165" y="6291"/>
                </a:lnTo>
                <a:lnTo>
                  <a:pt x="11163" y="6271"/>
                </a:lnTo>
                <a:lnTo>
                  <a:pt x="11159" y="6251"/>
                </a:lnTo>
                <a:lnTo>
                  <a:pt x="11155" y="6231"/>
                </a:lnTo>
                <a:lnTo>
                  <a:pt x="11149" y="6213"/>
                </a:lnTo>
                <a:lnTo>
                  <a:pt x="11143" y="6196"/>
                </a:lnTo>
                <a:lnTo>
                  <a:pt x="11136" y="6182"/>
                </a:lnTo>
                <a:lnTo>
                  <a:pt x="11133" y="6176"/>
                </a:lnTo>
                <a:lnTo>
                  <a:pt x="11128" y="6170"/>
                </a:lnTo>
                <a:lnTo>
                  <a:pt x="11124" y="6165"/>
                </a:lnTo>
                <a:lnTo>
                  <a:pt x="11119" y="6161"/>
                </a:lnTo>
                <a:lnTo>
                  <a:pt x="11114" y="6158"/>
                </a:lnTo>
                <a:lnTo>
                  <a:pt x="11108" y="6155"/>
                </a:lnTo>
                <a:lnTo>
                  <a:pt x="11102" y="6154"/>
                </a:lnTo>
                <a:lnTo>
                  <a:pt x="11096" y="6153"/>
                </a:lnTo>
                <a:lnTo>
                  <a:pt x="11092" y="6145"/>
                </a:lnTo>
                <a:lnTo>
                  <a:pt x="11087" y="6137"/>
                </a:lnTo>
                <a:lnTo>
                  <a:pt x="11081" y="6130"/>
                </a:lnTo>
                <a:lnTo>
                  <a:pt x="11075" y="6124"/>
                </a:lnTo>
                <a:lnTo>
                  <a:pt x="11068" y="6117"/>
                </a:lnTo>
                <a:lnTo>
                  <a:pt x="11062" y="6112"/>
                </a:lnTo>
                <a:lnTo>
                  <a:pt x="11054" y="6106"/>
                </a:lnTo>
                <a:lnTo>
                  <a:pt x="11047" y="6101"/>
                </a:lnTo>
                <a:lnTo>
                  <a:pt x="11031" y="6092"/>
                </a:lnTo>
                <a:lnTo>
                  <a:pt x="11014" y="6085"/>
                </a:lnTo>
                <a:lnTo>
                  <a:pt x="10996" y="6078"/>
                </a:lnTo>
                <a:lnTo>
                  <a:pt x="10979" y="6071"/>
                </a:lnTo>
                <a:lnTo>
                  <a:pt x="10961" y="6065"/>
                </a:lnTo>
                <a:lnTo>
                  <a:pt x="10943" y="6058"/>
                </a:lnTo>
                <a:lnTo>
                  <a:pt x="10926" y="6051"/>
                </a:lnTo>
                <a:lnTo>
                  <a:pt x="10909" y="6043"/>
                </a:lnTo>
                <a:lnTo>
                  <a:pt x="10892" y="6034"/>
                </a:lnTo>
                <a:lnTo>
                  <a:pt x="10878" y="6023"/>
                </a:lnTo>
                <a:lnTo>
                  <a:pt x="10871" y="6017"/>
                </a:lnTo>
                <a:lnTo>
                  <a:pt x="10864" y="6010"/>
                </a:lnTo>
                <a:lnTo>
                  <a:pt x="10858" y="6003"/>
                </a:lnTo>
                <a:lnTo>
                  <a:pt x="10852" y="5995"/>
                </a:lnTo>
                <a:lnTo>
                  <a:pt x="10848" y="5995"/>
                </a:lnTo>
                <a:lnTo>
                  <a:pt x="10844" y="5993"/>
                </a:lnTo>
                <a:lnTo>
                  <a:pt x="10840" y="5991"/>
                </a:lnTo>
                <a:lnTo>
                  <a:pt x="10836" y="5989"/>
                </a:lnTo>
                <a:lnTo>
                  <a:pt x="10828" y="5980"/>
                </a:lnTo>
                <a:lnTo>
                  <a:pt x="10821" y="5971"/>
                </a:lnTo>
                <a:lnTo>
                  <a:pt x="10806" y="5947"/>
                </a:lnTo>
                <a:lnTo>
                  <a:pt x="10792" y="5919"/>
                </a:lnTo>
                <a:lnTo>
                  <a:pt x="10784" y="5905"/>
                </a:lnTo>
                <a:lnTo>
                  <a:pt x="10775" y="5891"/>
                </a:lnTo>
                <a:lnTo>
                  <a:pt x="10765" y="5878"/>
                </a:lnTo>
                <a:lnTo>
                  <a:pt x="10755" y="5866"/>
                </a:lnTo>
                <a:lnTo>
                  <a:pt x="10750" y="5860"/>
                </a:lnTo>
                <a:lnTo>
                  <a:pt x="10744" y="5854"/>
                </a:lnTo>
                <a:lnTo>
                  <a:pt x="10738" y="5849"/>
                </a:lnTo>
                <a:lnTo>
                  <a:pt x="10732" y="5845"/>
                </a:lnTo>
                <a:lnTo>
                  <a:pt x="10726" y="5842"/>
                </a:lnTo>
                <a:lnTo>
                  <a:pt x="10719" y="5839"/>
                </a:lnTo>
                <a:lnTo>
                  <a:pt x="10712" y="5837"/>
                </a:lnTo>
                <a:lnTo>
                  <a:pt x="10705" y="5836"/>
                </a:lnTo>
                <a:lnTo>
                  <a:pt x="10701" y="5840"/>
                </a:lnTo>
                <a:lnTo>
                  <a:pt x="10697" y="5844"/>
                </a:lnTo>
                <a:lnTo>
                  <a:pt x="10692" y="5847"/>
                </a:lnTo>
                <a:lnTo>
                  <a:pt x="10687" y="5851"/>
                </a:lnTo>
                <a:lnTo>
                  <a:pt x="10674" y="5858"/>
                </a:lnTo>
                <a:lnTo>
                  <a:pt x="10660" y="5866"/>
                </a:lnTo>
                <a:lnTo>
                  <a:pt x="10645" y="5871"/>
                </a:lnTo>
                <a:lnTo>
                  <a:pt x="10631" y="5875"/>
                </a:lnTo>
                <a:lnTo>
                  <a:pt x="10619" y="5878"/>
                </a:lnTo>
                <a:lnTo>
                  <a:pt x="10609" y="5879"/>
                </a:lnTo>
                <a:lnTo>
                  <a:pt x="10604" y="5886"/>
                </a:lnTo>
                <a:lnTo>
                  <a:pt x="10599" y="5893"/>
                </a:lnTo>
                <a:lnTo>
                  <a:pt x="10592" y="5899"/>
                </a:lnTo>
                <a:lnTo>
                  <a:pt x="10584" y="5905"/>
                </a:lnTo>
                <a:lnTo>
                  <a:pt x="10575" y="5909"/>
                </a:lnTo>
                <a:lnTo>
                  <a:pt x="10566" y="5912"/>
                </a:lnTo>
                <a:lnTo>
                  <a:pt x="10555" y="5915"/>
                </a:lnTo>
                <a:lnTo>
                  <a:pt x="10545" y="5918"/>
                </a:lnTo>
                <a:lnTo>
                  <a:pt x="10533" y="5919"/>
                </a:lnTo>
                <a:lnTo>
                  <a:pt x="10522" y="5920"/>
                </a:lnTo>
                <a:lnTo>
                  <a:pt x="10508" y="5921"/>
                </a:lnTo>
                <a:lnTo>
                  <a:pt x="10496" y="5921"/>
                </a:lnTo>
                <a:lnTo>
                  <a:pt x="10470" y="5920"/>
                </a:lnTo>
                <a:lnTo>
                  <a:pt x="10445" y="5918"/>
                </a:lnTo>
                <a:lnTo>
                  <a:pt x="10396" y="5911"/>
                </a:lnTo>
                <a:lnTo>
                  <a:pt x="10353" y="5904"/>
                </a:lnTo>
                <a:lnTo>
                  <a:pt x="10337" y="5901"/>
                </a:lnTo>
                <a:lnTo>
                  <a:pt x="10324" y="5899"/>
                </a:lnTo>
                <a:lnTo>
                  <a:pt x="10320" y="5898"/>
                </a:lnTo>
                <a:lnTo>
                  <a:pt x="10316" y="5898"/>
                </a:lnTo>
                <a:lnTo>
                  <a:pt x="10314" y="5899"/>
                </a:lnTo>
                <a:lnTo>
                  <a:pt x="10306" y="5914"/>
                </a:lnTo>
                <a:lnTo>
                  <a:pt x="10290" y="5953"/>
                </a:lnTo>
                <a:lnTo>
                  <a:pt x="10266" y="6009"/>
                </a:lnTo>
                <a:lnTo>
                  <a:pt x="10240" y="6073"/>
                </a:lnTo>
                <a:lnTo>
                  <a:pt x="10214" y="6141"/>
                </a:lnTo>
                <a:lnTo>
                  <a:pt x="10191" y="6202"/>
                </a:lnTo>
                <a:lnTo>
                  <a:pt x="10181" y="6228"/>
                </a:lnTo>
                <a:lnTo>
                  <a:pt x="10174" y="6251"/>
                </a:lnTo>
                <a:lnTo>
                  <a:pt x="10168" y="6269"/>
                </a:lnTo>
                <a:lnTo>
                  <a:pt x="10165" y="6280"/>
                </a:lnTo>
                <a:lnTo>
                  <a:pt x="10162" y="6297"/>
                </a:lnTo>
                <a:lnTo>
                  <a:pt x="10157" y="6312"/>
                </a:lnTo>
                <a:lnTo>
                  <a:pt x="10151" y="6325"/>
                </a:lnTo>
                <a:lnTo>
                  <a:pt x="10144" y="6336"/>
                </a:lnTo>
                <a:lnTo>
                  <a:pt x="10135" y="6347"/>
                </a:lnTo>
                <a:lnTo>
                  <a:pt x="10127" y="6357"/>
                </a:lnTo>
                <a:lnTo>
                  <a:pt x="10119" y="6367"/>
                </a:lnTo>
                <a:lnTo>
                  <a:pt x="10110" y="6376"/>
                </a:lnTo>
                <a:lnTo>
                  <a:pt x="10092" y="6394"/>
                </a:lnTo>
                <a:lnTo>
                  <a:pt x="10075" y="6413"/>
                </a:lnTo>
                <a:lnTo>
                  <a:pt x="10068" y="6424"/>
                </a:lnTo>
                <a:lnTo>
                  <a:pt x="10061" y="6437"/>
                </a:lnTo>
                <a:lnTo>
                  <a:pt x="10055" y="6451"/>
                </a:lnTo>
                <a:lnTo>
                  <a:pt x="10050" y="6467"/>
                </a:lnTo>
                <a:lnTo>
                  <a:pt x="10048" y="6471"/>
                </a:lnTo>
                <a:lnTo>
                  <a:pt x="10045" y="6474"/>
                </a:lnTo>
                <a:lnTo>
                  <a:pt x="10041" y="6478"/>
                </a:lnTo>
                <a:lnTo>
                  <a:pt x="10035" y="6481"/>
                </a:lnTo>
                <a:lnTo>
                  <a:pt x="10020" y="6486"/>
                </a:lnTo>
                <a:lnTo>
                  <a:pt x="10000" y="6491"/>
                </a:lnTo>
                <a:lnTo>
                  <a:pt x="9978" y="6494"/>
                </a:lnTo>
                <a:lnTo>
                  <a:pt x="9954" y="6496"/>
                </a:lnTo>
                <a:lnTo>
                  <a:pt x="9929" y="6499"/>
                </a:lnTo>
                <a:lnTo>
                  <a:pt x="9902" y="6500"/>
                </a:lnTo>
                <a:lnTo>
                  <a:pt x="9850" y="6504"/>
                </a:lnTo>
                <a:lnTo>
                  <a:pt x="9806" y="6508"/>
                </a:lnTo>
                <a:lnTo>
                  <a:pt x="9788" y="6511"/>
                </a:lnTo>
                <a:lnTo>
                  <a:pt x="9775" y="6514"/>
                </a:lnTo>
                <a:lnTo>
                  <a:pt x="9770" y="6516"/>
                </a:lnTo>
                <a:lnTo>
                  <a:pt x="9766" y="6519"/>
                </a:lnTo>
                <a:lnTo>
                  <a:pt x="9763" y="6521"/>
                </a:lnTo>
                <a:lnTo>
                  <a:pt x="9762" y="6524"/>
                </a:lnTo>
                <a:lnTo>
                  <a:pt x="9740" y="6516"/>
                </a:lnTo>
                <a:lnTo>
                  <a:pt x="9719" y="6507"/>
                </a:lnTo>
                <a:lnTo>
                  <a:pt x="9698" y="6497"/>
                </a:lnTo>
                <a:lnTo>
                  <a:pt x="9678" y="6485"/>
                </a:lnTo>
                <a:lnTo>
                  <a:pt x="9659" y="6473"/>
                </a:lnTo>
                <a:lnTo>
                  <a:pt x="9641" y="6460"/>
                </a:lnTo>
                <a:lnTo>
                  <a:pt x="9623" y="6446"/>
                </a:lnTo>
                <a:lnTo>
                  <a:pt x="9607" y="6431"/>
                </a:lnTo>
                <a:lnTo>
                  <a:pt x="9592" y="6415"/>
                </a:lnTo>
                <a:lnTo>
                  <a:pt x="9579" y="6397"/>
                </a:lnTo>
                <a:lnTo>
                  <a:pt x="9574" y="6388"/>
                </a:lnTo>
                <a:lnTo>
                  <a:pt x="9568" y="6379"/>
                </a:lnTo>
                <a:lnTo>
                  <a:pt x="9563" y="6369"/>
                </a:lnTo>
                <a:lnTo>
                  <a:pt x="9559" y="6359"/>
                </a:lnTo>
                <a:lnTo>
                  <a:pt x="9555" y="6348"/>
                </a:lnTo>
                <a:lnTo>
                  <a:pt x="9551" y="6338"/>
                </a:lnTo>
                <a:lnTo>
                  <a:pt x="9548" y="6327"/>
                </a:lnTo>
                <a:lnTo>
                  <a:pt x="9545" y="6317"/>
                </a:lnTo>
                <a:lnTo>
                  <a:pt x="9543" y="6305"/>
                </a:lnTo>
                <a:lnTo>
                  <a:pt x="9542" y="6294"/>
                </a:lnTo>
                <a:lnTo>
                  <a:pt x="9541" y="6282"/>
                </a:lnTo>
                <a:lnTo>
                  <a:pt x="9541" y="6270"/>
                </a:lnTo>
                <a:lnTo>
                  <a:pt x="9539" y="6266"/>
                </a:lnTo>
                <a:lnTo>
                  <a:pt x="9539" y="6256"/>
                </a:lnTo>
                <a:lnTo>
                  <a:pt x="9539" y="6239"/>
                </a:lnTo>
                <a:lnTo>
                  <a:pt x="9540" y="6217"/>
                </a:lnTo>
                <a:lnTo>
                  <a:pt x="9545" y="6162"/>
                </a:lnTo>
                <a:lnTo>
                  <a:pt x="9551" y="6097"/>
                </a:lnTo>
                <a:lnTo>
                  <a:pt x="9558" y="6031"/>
                </a:lnTo>
                <a:lnTo>
                  <a:pt x="9567" y="5968"/>
                </a:lnTo>
                <a:lnTo>
                  <a:pt x="9571" y="5942"/>
                </a:lnTo>
                <a:lnTo>
                  <a:pt x="9575" y="5919"/>
                </a:lnTo>
                <a:lnTo>
                  <a:pt x="9579" y="5901"/>
                </a:lnTo>
                <a:lnTo>
                  <a:pt x="9583" y="5889"/>
                </a:lnTo>
                <a:lnTo>
                  <a:pt x="9591" y="5892"/>
                </a:lnTo>
                <a:lnTo>
                  <a:pt x="9598" y="5895"/>
                </a:lnTo>
                <a:lnTo>
                  <a:pt x="9603" y="5898"/>
                </a:lnTo>
                <a:lnTo>
                  <a:pt x="9608" y="5902"/>
                </a:lnTo>
                <a:lnTo>
                  <a:pt x="9612" y="5908"/>
                </a:lnTo>
                <a:lnTo>
                  <a:pt x="9616" y="5914"/>
                </a:lnTo>
                <a:lnTo>
                  <a:pt x="9620" y="5922"/>
                </a:lnTo>
                <a:lnTo>
                  <a:pt x="9625" y="5931"/>
                </a:lnTo>
                <a:lnTo>
                  <a:pt x="9641" y="5927"/>
                </a:lnTo>
                <a:lnTo>
                  <a:pt x="9657" y="5924"/>
                </a:lnTo>
                <a:lnTo>
                  <a:pt x="9675" y="5922"/>
                </a:lnTo>
                <a:lnTo>
                  <a:pt x="9694" y="5921"/>
                </a:lnTo>
                <a:lnTo>
                  <a:pt x="9734" y="5921"/>
                </a:lnTo>
                <a:lnTo>
                  <a:pt x="9775" y="5920"/>
                </a:lnTo>
                <a:lnTo>
                  <a:pt x="9794" y="5919"/>
                </a:lnTo>
                <a:lnTo>
                  <a:pt x="9811" y="5916"/>
                </a:lnTo>
                <a:lnTo>
                  <a:pt x="9827" y="5913"/>
                </a:lnTo>
                <a:lnTo>
                  <a:pt x="9841" y="5908"/>
                </a:lnTo>
                <a:lnTo>
                  <a:pt x="9847" y="5905"/>
                </a:lnTo>
                <a:lnTo>
                  <a:pt x="9852" y="5902"/>
                </a:lnTo>
                <a:lnTo>
                  <a:pt x="9857" y="5898"/>
                </a:lnTo>
                <a:lnTo>
                  <a:pt x="9861" y="5893"/>
                </a:lnTo>
                <a:lnTo>
                  <a:pt x="9864" y="5888"/>
                </a:lnTo>
                <a:lnTo>
                  <a:pt x="9866" y="5882"/>
                </a:lnTo>
                <a:lnTo>
                  <a:pt x="9868" y="5875"/>
                </a:lnTo>
                <a:lnTo>
                  <a:pt x="9868" y="5868"/>
                </a:lnTo>
                <a:lnTo>
                  <a:pt x="9881" y="5869"/>
                </a:lnTo>
                <a:lnTo>
                  <a:pt x="9893" y="5870"/>
                </a:lnTo>
                <a:lnTo>
                  <a:pt x="9904" y="5872"/>
                </a:lnTo>
                <a:lnTo>
                  <a:pt x="9913" y="5874"/>
                </a:lnTo>
                <a:lnTo>
                  <a:pt x="9921" y="5877"/>
                </a:lnTo>
                <a:lnTo>
                  <a:pt x="9928" y="5881"/>
                </a:lnTo>
                <a:lnTo>
                  <a:pt x="9933" y="5886"/>
                </a:lnTo>
                <a:lnTo>
                  <a:pt x="9938" y="5891"/>
                </a:lnTo>
                <a:lnTo>
                  <a:pt x="9941" y="5896"/>
                </a:lnTo>
                <a:lnTo>
                  <a:pt x="9943" y="5902"/>
                </a:lnTo>
                <a:lnTo>
                  <a:pt x="9944" y="5909"/>
                </a:lnTo>
                <a:lnTo>
                  <a:pt x="9944" y="5916"/>
                </a:lnTo>
                <a:lnTo>
                  <a:pt x="9943" y="5924"/>
                </a:lnTo>
                <a:lnTo>
                  <a:pt x="9941" y="5933"/>
                </a:lnTo>
                <a:lnTo>
                  <a:pt x="9937" y="5942"/>
                </a:lnTo>
                <a:lnTo>
                  <a:pt x="9932" y="5952"/>
                </a:lnTo>
                <a:lnTo>
                  <a:pt x="9959" y="5957"/>
                </a:lnTo>
                <a:lnTo>
                  <a:pt x="9988" y="5960"/>
                </a:lnTo>
                <a:lnTo>
                  <a:pt x="10003" y="5962"/>
                </a:lnTo>
                <a:lnTo>
                  <a:pt x="10019" y="5962"/>
                </a:lnTo>
                <a:lnTo>
                  <a:pt x="10033" y="5961"/>
                </a:lnTo>
                <a:lnTo>
                  <a:pt x="10047" y="5960"/>
                </a:lnTo>
                <a:lnTo>
                  <a:pt x="10060" y="5957"/>
                </a:lnTo>
                <a:lnTo>
                  <a:pt x="10073" y="5953"/>
                </a:lnTo>
                <a:lnTo>
                  <a:pt x="10078" y="5950"/>
                </a:lnTo>
                <a:lnTo>
                  <a:pt x="10084" y="5947"/>
                </a:lnTo>
                <a:lnTo>
                  <a:pt x="10089" y="5944"/>
                </a:lnTo>
                <a:lnTo>
                  <a:pt x="10093" y="5940"/>
                </a:lnTo>
                <a:lnTo>
                  <a:pt x="10097" y="5935"/>
                </a:lnTo>
                <a:lnTo>
                  <a:pt x="10101" y="5930"/>
                </a:lnTo>
                <a:lnTo>
                  <a:pt x="10104" y="5925"/>
                </a:lnTo>
                <a:lnTo>
                  <a:pt x="10107" y="5919"/>
                </a:lnTo>
                <a:lnTo>
                  <a:pt x="10109" y="5912"/>
                </a:lnTo>
                <a:lnTo>
                  <a:pt x="10111" y="5905"/>
                </a:lnTo>
                <a:lnTo>
                  <a:pt x="10112" y="5897"/>
                </a:lnTo>
                <a:lnTo>
                  <a:pt x="10112" y="5889"/>
                </a:lnTo>
                <a:lnTo>
                  <a:pt x="10099" y="5889"/>
                </a:lnTo>
                <a:lnTo>
                  <a:pt x="10089" y="5888"/>
                </a:lnTo>
                <a:lnTo>
                  <a:pt x="10085" y="5887"/>
                </a:lnTo>
                <a:lnTo>
                  <a:pt x="10082" y="5886"/>
                </a:lnTo>
                <a:lnTo>
                  <a:pt x="10079" y="5884"/>
                </a:lnTo>
                <a:lnTo>
                  <a:pt x="10076" y="5882"/>
                </a:lnTo>
                <a:lnTo>
                  <a:pt x="10074" y="5880"/>
                </a:lnTo>
                <a:lnTo>
                  <a:pt x="10073" y="5877"/>
                </a:lnTo>
                <a:lnTo>
                  <a:pt x="10072" y="5874"/>
                </a:lnTo>
                <a:lnTo>
                  <a:pt x="10071" y="5870"/>
                </a:lnTo>
                <a:lnTo>
                  <a:pt x="10070" y="5860"/>
                </a:lnTo>
                <a:lnTo>
                  <a:pt x="10070" y="5846"/>
                </a:lnTo>
                <a:lnTo>
                  <a:pt x="10081" y="5834"/>
                </a:lnTo>
                <a:lnTo>
                  <a:pt x="10089" y="5822"/>
                </a:lnTo>
                <a:lnTo>
                  <a:pt x="10096" y="5809"/>
                </a:lnTo>
                <a:lnTo>
                  <a:pt x="10102" y="5797"/>
                </a:lnTo>
                <a:lnTo>
                  <a:pt x="10105" y="5786"/>
                </a:lnTo>
                <a:lnTo>
                  <a:pt x="10108" y="5774"/>
                </a:lnTo>
                <a:lnTo>
                  <a:pt x="10108" y="5762"/>
                </a:lnTo>
                <a:lnTo>
                  <a:pt x="10108" y="5751"/>
                </a:lnTo>
                <a:lnTo>
                  <a:pt x="10106" y="5739"/>
                </a:lnTo>
                <a:lnTo>
                  <a:pt x="10103" y="5727"/>
                </a:lnTo>
                <a:lnTo>
                  <a:pt x="10100" y="5716"/>
                </a:lnTo>
                <a:lnTo>
                  <a:pt x="10095" y="5705"/>
                </a:lnTo>
                <a:lnTo>
                  <a:pt x="10089" y="5694"/>
                </a:lnTo>
                <a:lnTo>
                  <a:pt x="10083" y="5684"/>
                </a:lnTo>
                <a:lnTo>
                  <a:pt x="10077" y="5673"/>
                </a:lnTo>
                <a:lnTo>
                  <a:pt x="10070" y="5663"/>
                </a:lnTo>
                <a:lnTo>
                  <a:pt x="10038" y="5624"/>
                </a:lnTo>
                <a:lnTo>
                  <a:pt x="10007" y="5587"/>
                </a:lnTo>
                <a:lnTo>
                  <a:pt x="9994" y="5571"/>
                </a:lnTo>
                <a:lnTo>
                  <a:pt x="9983" y="5556"/>
                </a:lnTo>
                <a:lnTo>
                  <a:pt x="9980" y="5549"/>
                </a:lnTo>
                <a:lnTo>
                  <a:pt x="9977" y="5542"/>
                </a:lnTo>
                <a:lnTo>
                  <a:pt x="9975" y="5535"/>
                </a:lnTo>
                <a:lnTo>
                  <a:pt x="9974" y="5529"/>
                </a:lnTo>
                <a:lnTo>
                  <a:pt x="9965" y="5525"/>
                </a:lnTo>
                <a:lnTo>
                  <a:pt x="9956" y="5520"/>
                </a:lnTo>
                <a:lnTo>
                  <a:pt x="9946" y="5514"/>
                </a:lnTo>
                <a:lnTo>
                  <a:pt x="9936" y="5506"/>
                </a:lnTo>
                <a:lnTo>
                  <a:pt x="9916" y="5489"/>
                </a:lnTo>
                <a:lnTo>
                  <a:pt x="9898" y="5471"/>
                </a:lnTo>
                <a:lnTo>
                  <a:pt x="9890" y="5463"/>
                </a:lnTo>
                <a:lnTo>
                  <a:pt x="9885" y="5457"/>
                </a:lnTo>
                <a:lnTo>
                  <a:pt x="9882" y="5451"/>
                </a:lnTo>
                <a:lnTo>
                  <a:pt x="9880" y="5447"/>
                </a:lnTo>
                <a:lnTo>
                  <a:pt x="9881" y="5446"/>
                </a:lnTo>
                <a:lnTo>
                  <a:pt x="9881" y="5445"/>
                </a:lnTo>
                <a:lnTo>
                  <a:pt x="9883" y="5445"/>
                </a:lnTo>
                <a:lnTo>
                  <a:pt x="9885" y="5445"/>
                </a:lnTo>
                <a:lnTo>
                  <a:pt x="9893" y="5447"/>
                </a:lnTo>
                <a:lnTo>
                  <a:pt x="9904" y="5453"/>
                </a:lnTo>
                <a:lnTo>
                  <a:pt x="9915" y="5459"/>
                </a:lnTo>
                <a:lnTo>
                  <a:pt x="9930" y="5465"/>
                </a:lnTo>
                <a:lnTo>
                  <a:pt x="9947" y="5472"/>
                </a:lnTo>
                <a:lnTo>
                  <a:pt x="9965" y="5478"/>
                </a:lnTo>
                <a:lnTo>
                  <a:pt x="9984" y="5485"/>
                </a:lnTo>
                <a:lnTo>
                  <a:pt x="10004" y="5490"/>
                </a:lnTo>
                <a:lnTo>
                  <a:pt x="10024" y="5493"/>
                </a:lnTo>
                <a:lnTo>
                  <a:pt x="10042" y="5495"/>
                </a:lnTo>
                <a:lnTo>
                  <a:pt x="10051" y="5495"/>
                </a:lnTo>
                <a:lnTo>
                  <a:pt x="10059" y="5495"/>
                </a:lnTo>
                <a:lnTo>
                  <a:pt x="10067" y="5494"/>
                </a:lnTo>
                <a:lnTo>
                  <a:pt x="10074" y="5493"/>
                </a:lnTo>
                <a:lnTo>
                  <a:pt x="10080" y="5491"/>
                </a:lnTo>
                <a:lnTo>
                  <a:pt x="10085" y="5488"/>
                </a:lnTo>
                <a:lnTo>
                  <a:pt x="10090" y="5485"/>
                </a:lnTo>
                <a:lnTo>
                  <a:pt x="10094" y="5479"/>
                </a:lnTo>
                <a:lnTo>
                  <a:pt x="10096" y="5474"/>
                </a:lnTo>
                <a:lnTo>
                  <a:pt x="10098" y="5468"/>
                </a:lnTo>
                <a:lnTo>
                  <a:pt x="10098" y="5461"/>
                </a:lnTo>
                <a:lnTo>
                  <a:pt x="10097" y="5454"/>
                </a:lnTo>
                <a:lnTo>
                  <a:pt x="10095" y="5445"/>
                </a:lnTo>
                <a:lnTo>
                  <a:pt x="10092" y="5435"/>
                </a:lnTo>
                <a:lnTo>
                  <a:pt x="10087" y="5424"/>
                </a:lnTo>
                <a:lnTo>
                  <a:pt x="10080" y="5412"/>
                </a:lnTo>
                <a:lnTo>
                  <a:pt x="10084" y="5411"/>
                </a:lnTo>
                <a:lnTo>
                  <a:pt x="10087" y="5409"/>
                </a:lnTo>
                <a:lnTo>
                  <a:pt x="10089" y="5406"/>
                </a:lnTo>
                <a:lnTo>
                  <a:pt x="10091" y="5402"/>
                </a:lnTo>
                <a:lnTo>
                  <a:pt x="10102" y="5411"/>
                </a:lnTo>
                <a:lnTo>
                  <a:pt x="10118" y="5425"/>
                </a:lnTo>
                <a:lnTo>
                  <a:pt x="10127" y="5433"/>
                </a:lnTo>
                <a:lnTo>
                  <a:pt x="10137" y="5440"/>
                </a:lnTo>
                <a:lnTo>
                  <a:pt x="10148" y="5447"/>
                </a:lnTo>
                <a:lnTo>
                  <a:pt x="10158" y="5453"/>
                </a:lnTo>
                <a:lnTo>
                  <a:pt x="10167" y="5458"/>
                </a:lnTo>
                <a:lnTo>
                  <a:pt x="10176" y="5461"/>
                </a:lnTo>
                <a:lnTo>
                  <a:pt x="10181" y="5462"/>
                </a:lnTo>
                <a:lnTo>
                  <a:pt x="10185" y="5462"/>
                </a:lnTo>
                <a:lnTo>
                  <a:pt x="10189" y="5462"/>
                </a:lnTo>
                <a:lnTo>
                  <a:pt x="10192" y="5461"/>
                </a:lnTo>
                <a:lnTo>
                  <a:pt x="10196" y="5459"/>
                </a:lnTo>
                <a:lnTo>
                  <a:pt x="10198" y="5457"/>
                </a:lnTo>
                <a:lnTo>
                  <a:pt x="10201" y="5453"/>
                </a:lnTo>
                <a:lnTo>
                  <a:pt x="10203" y="5449"/>
                </a:lnTo>
                <a:lnTo>
                  <a:pt x="10205" y="5444"/>
                </a:lnTo>
                <a:lnTo>
                  <a:pt x="10206" y="5438"/>
                </a:lnTo>
                <a:lnTo>
                  <a:pt x="10207" y="5431"/>
                </a:lnTo>
                <a:lnTo>
                  <a:pt x="10207" y="5423"/>
                </a:lnTo>
                <a:lnTo>
                  <a:pt x="10213" y="5422"/>
                </a:lnTo>
                <a:lnTo>
                  <a:pt x="10220" y="5420"/>
                </a:lnTo>
                <a:lnTo>
                  <a:pt x="10228" y="5417"/>
                </a:lnTo>
                <a:lnTo>
                  <a:pt x="10237" y="5413"/>
                </a:lnTo>
                <a:lnTo>
                  <a:pt x="10245" y="5408"/>
                </a:lnTo>
                <a:lnTo>
                  <a:pt x="10254" y="5403"/>
                </a:lnTo>
                <a:lnTo>
                  <a:pt x="10262" y="5397"/>
                </a:lnTo>
                <a:lnTo>
                  <a:pt x="10270" y="5392"/>
                </a:lnTo>
                <a:lnTo>
                  <a:pt x="10276" y="5386"/>
                </a:lnTo>
                <a:lnTo>
                  <a:pt x="10281" y="5380"/>
                </a:lnTo>
                <a:lnTo>
                  <a:pt x="10282" y="5377"/>
                </a:lnTo>
                <a:lnTo>
                  <a:pt x="10283" y="5375"/>
                </a:lnTo>
                <a:lnTo>
                  <a:pt x="10283" y="5372"/>
                </a:lnTo>
                <a:lnTo>
                  <a:pt x="10283" y="5370"/>
                </a:lnTo>
                <a:lnTo>
                  <a:pt x="10282" y="5368"/>
                </a:lnTo>
                <a:lnTo>
                  <a:pt x="10280" y="5366"/>
                </a:lnTo>
                <a:lnTo>
                  <a:pt x="10277" y="5364"/>
                </a:lnTo>
                <a:lnTo>
                  <a:pt x="10274" y="5363"/>
                </a:lnTo>
                <a:lnTo>
                  <a:pt x="10263" y="5361"/>
                </a:lnTo>
                <a:lnTo>
                  <a:pt x="10249" y="5360"/>
                </a:lnTo>
                <a:lnTo>
                  <a:pt x="10254" y="5325"/>
                </a:lnTo>
                <a:lnTo>
                  <a:pt x="10256" y="5295"/>
                </a:lnTo>
                <a:lnTo>
                  <a:pt x="10257" y="5267"/>
                </a:lnTo>
                <a:lnTo>
                  <a:pt x="10260" y="5243"/>
                </a:lnTo>
                <a:lnTo>
                  <a:pt x="10283" y="5255"/>
                </a:lnTo>
                <a:lnTo>
                  <a:pt x="10302" y="5262"/>
                </a:lnTo>
                <a:lnTo>
                  <a:pt x="10309" y="5264"/>
                </a:lnTo>
                <a:lnTo>
                  <a:pt x="10316" y="5265"/>
                </a:lnTo>
                <a:lnTo>
                  <a:pt x="10322" y="5266"/>
                </a:lnTo>
                <a:lnTo>
                  <a:pt x="10327" y="5265"/>
                </a:lnTo>
                <a:lnTo>
                  <a:pt x="10331" y="5264"/>
                </a:lnTo>
                <a:lnTo>
                  <a:pt x="10335" y="5263"/>
                </a:lnTo>
                <a:lnTo>
                  <a:pt x="10338" y="5260"/>
                </a:lnTo>
                <a:lnTo>
                  <a:pt x="10341" y="5257"/>
                </a:lnTo>
                <a:lnTo>
                  <a:pt x="10345" y="5250"/>
                </a:lnTo>
                <a:lnTo>
                  <a:pt x="10348" y="5240"/>
                </a:lnTo>
                <a:lnTo>
                  <a:pt x="10352" y="5217"/>
                </a:lnTo>
                <a:lnTo>
                  <a:pt x="10357" y="5192"/>
                </a:lnTo>
                <a:lnTo>
                  <a:pt x="10361" y="5180"/>
                </a:lnTo>
                <a:lnTo>
                  <a:pt x="10367" y="5168"/>
                </a:lnTo>
                <a:lnTo>
                  <a:pt x="10371" y="5163"/>
                </a:lnTo>
                <a:lnTo>
                  <a:pt x="10376" y="5158"/>
                </a:lnTo>
                <a:lnTo>
                  <a:pt x="10381" y="5153"/>
                </a:lnTo>
                <a:lnTo>
                  <a:pt x="10387" y="5148"/>
                </a:lnTo>
                <a:lnTo>
                  <a:pt x="10387" y="5156"/>
                </a:lnTo>
                <a:lnTo>
                  <a:pt x="10388" y="5162"/>
                </a:lnTo>
                <a:lnTo>
                  <a:pt x="10389" y="5167"/>
                </a:lnTo>
                <a:lnTo>
                  <a:pt x="10390" y="5171"/>
                </a:lnTo>
                <a:lnTo>
                  <a:pt x="10392" y="5175"/>
                </a:lnTo>
                <a:lnTo>
                  <a:pt x="10394" y="5177"/>
                </a:lnTo>
                <a:lnTo>
                  <a:pt x="10397" y="5178"/>
                </a:lnTo>
                <a:lnTo>
                  <a:pt x="10400" y="5178"/>
                </a:lnTo>
                <a:lnTo>
                  <a:pt x="10406" y="5177"/>
                </a:lnTo>
                <a:lnTo>
                  <a:pt x="10413" y="5173"/>
                </a:lnTo>
                <a:lnTo>
                  <a:pt x="10421" y="5167"/>
                </a:lnTo>
                <a:lnTo>
                  <a:pt x="10429" y="5160"/>
                </a:lnTo>
                <a:lnTo>
                  <a:pt x="10448" y="5143"/>
                </a:lnTo>
                <a:lnTo>
                  <a:pt x="10467" y="5125"/>
                </a:lnTo>
                <a:lnTo>
                  <a:pt x="10476" y="5118"/>
                </a:lnTo>
                <a:lnTo>
                  <a:pt x="10486" y="5112"/>
                </a:lnTo>
                <a:lnTo>
                  <a:pt x="10490" y="5109"/>
                </a:lnTo>
                <a:lnTo>
                  <a:pt x="10495" y="5108"/>
                </a:lnTo>
                <a:lnTo>
                  <a:pt x="10499" y="5107"/>
                </a:lnTo>
                <a:lnTo>
                  <a:pt x="10503" y="5106"/>
                </a:lnTo>
                <a:lnTo>
                  <a:pt x="10508" y="5098"/>
                </a:lnTo>
                <a:lnTo>
                  <a:pt x="10514" y="5092"/>
                </a:lnTo>
                <a:lnTo>
                  <a:pt x="10520" y="5087"/>
                </a:lnTo>
                <a:lnTo>
                  <a:pt x="10526" y="5082"/>
                </a:lnTo>
                <a:lnTo>
                  <a:pt x="10533" y="5078"/>
                </a:lnTo>
                <a:lnTo>
                  <a:pt x="10539" y="5074"/>
                </a:lnTo>
                <a:lnTo>
                  <a:pt x="10546" y="5071"/>
                </a:lnTo>
                <a:lnTo>
                  <a:pt x="10553" y="5068"/>
                </a:lnTo>
                <a:lnTo>
                  <a:pt x="10568" y="5064"/>
                </a:lnTo>
                <a:lnTo>
                  <a:pt x="10582" y="5061"/>
                </a:lnTo>
                <a:lnTo>
                  <a:pt x="10597" y="5058"/>
                </a:lnTo>
                <a:lnTo>
                  <a:pt x="10612" y="5056"/>
                </a:lnTo>
                <a:lnTo>
                  <a:pt x="10627" y="5054"/>
                </a:lnTo>
                <a:lnTo>
                  <a:pt x="10641" y="5051"/>
                </a:lnTo>
                <a:lnTo>
                  <a:pt x="10656" y="5048"/>
                </a:lnTo>
                <a:lnTo>
                  <a:pt x="10668" y="5042"/>
                </a:lnTo>
                <a:lnTo>
                  <a:pt x="10674" y="5039"/>
                </a:lnTo>
                <a:lnTo>
                  <a:pt x="10680" y="5036"/>
                </a:lnTo>
                <a:lnTo>
                  <a:pt x="10685" y="5031"/>
                </a:lnTo>
                <a:lnTo>
                  <a:pt x="10690" y="5026"/>
                </a:lnTo>
                <a:lnTo>
                  <a:pt x="10694" y="5021"/>
                </a:lnTo>
                <a:lnTo>
                  <a:pt x="10698" y="5015"/>
                </a:lnTo>
                <a:lnTo>
                  <a:pt x="10702" y="5008"/>
                </a:lnTo>
                <a:lnTo>
                  <a:pt x="10705" y="5000"/>
                </a:lnTo>
                <a:lnTo>
                  <a:pt x="10699" y="4997"/>
                </a:lnTo>
                <a:lnTo>
                  <a:pt x="10693" y="4994"/>
                </a:lnTo>
                <a:lnTo>
                  <a:pt x="10688" y="4990"/>
                </a:lnTo>
                <a:lnTo>
                  <a:pt x="10684" y="4986"/>
                </a:lnTo>
                <a:lnTo>
                  <a:pt x="10680" y="4981"/>
                </a:lnTo>
                <a:lnTo>
                  <a:pt x="10676" y="4974"/>
                </a:lnTo>
                <a:lnTo>
                  <a:pt x="10672" y="4967"/>
                </a:lnTo>
                <a:lnTo>
                  <a:pt x="10669" y="4960"/>
                </a:lnTo>
                <a:lnTo>
                  <a:pt x="10664" y="4945"/>
                </a:lnTo>
                <a:lnTo>
                  <a:pt x="10660" y="4929"/>
                </a:lnTo>
                <a:lnTo>
                  <a:pt x="10657" y="4911"/>
                </a:lnTo>
                <a:lnTo>
                  <a:pt x="10654" y="4892"/>
                </a:lnTo>
                <a:lnTo>
                  <a:pt x="10652" y="4854"/>
                </a:lnTo>
                <a:lnTo>
                  <a:pt x="10651" y="4816"/>
                </a:lnTo>
                <a:lnTo>
                  <a:pt x="10652" y="4783"/>
                </a:lnTo>
                <a:lnTo>
                  <a:pt x="10652" y="4757"/>
                </a:lnTo>
                <a:lnTo>
                  <a:pt x="10660" y="4758"/>
                </a:lnTo>
                <a:lnTo>
                  <a:pt x="10667" y="4758"/>
                </a:lnTo>
                <a:lnTo>
                  <a:pt x="10674" y="4757"/>
                </a:lnTo>
                <a:lnTo>
                  <a:pt x="10681" y="4756"/>
                </a:lnTo>
                <a:lnTo>
                  <a:pt x="10696" y="4752"/>
                </a:lnTo>
                <a:lnTo>
                  <a:pt x="10710" y="4747"/>
                </a:lnTo>
                <a:lnTo>
                  <a:pt x="10738" y="4733"/>
                </a:lnTo>
                <a:lnTo>
                  <a:pt x="10764" y="4718"/>
                </a:lnTo>
                <a:lnTo>
                  <a:pt x="10777" y="4712"/>
                </a:lnTo>
                <a:lnTo>
                  <a:pt x="10788" y="4707"/>
                </a:lnTo>
                <a:lnTo>
                  <a:pt x="10798" y="4704"/>
                </a:lnTo>
                <a:lnTo>
                  <a:pt x="10807" y="4703"/>
                </a:lnTo>
                <a:lnTo>
                  <a:pt x="10811" y="4704"/>
                </a:lnTo>
                <a:lnTo>
                  <a:pt x="10814" y="4705"/>
                </a:lnTo>
                <a:lnTo>
                  <a:pt x="10818" y="4707"/>
                </a:lnTo>
                <a:lnTo>
                  <a:pt x="10821" y="4710"/>
                </a:lnTo>
                <a:lnTo>
                  <a:pt x="10823" y="4714"/>
                </a:lnTo>
                <a:lnTo>
                  <a:pt x="10825" y="4719"/>
                </a:lnTo>
                <a:lnTo>
                  <a:pt x="10827" y="4726"/>
                </a:lnTo>
                <a:lnTo>
                  <a:pt x="10828" y="4733"/>
                </a:lnTo>
                <a:lnTo>
                  <a:pt x="10832" y="4764"/>
                </a:lnTo>
                <a:lnTo>
                  <a:pt x="10836" y="4804"/>
                </a:lnTo>
                <a:lnTo>
                  <a:pt x="10839" y="4824"/>
                </a:lnTo>
                <a:lnTo>
                  <a:pt x="10843" y="4841"/>
                </a:lnTo>
                <a:lnTo>
                  <a:pt x="10845" y="4848"/>
                </a:lnTo>
                <a:lnTo>
                  <a:pt x="10847" y="4855"/>
                </a:lnTo>
                <a:lnTo>
                  <a:pt x="10850" y="4860"/>
                </a:lnTo>
                <a:lnTo>
                  <a:pt x="10852" y="4863"/>
                </a:lnTo>
                <a:lnTo>
                  <a:pt x="10872" y="4872"/>
                </a:lnTo>
                <a:lnTo>
                  <a:pt x="10889" y="4878"/>
                </a:lnTo>
                <a:lnTo>
                  <a:pt x="10896" y="4880"/>
                </a:lnTo>
                <a:lnTo>
                  <a:pt x="10904" y="4881"/>
                </a:lnTo>
                <a:lnTo>
                  <a:pt x="10910" y="4882"/>
                </a:lnTo>
                <a:lnTo>
                  <a:pt x="10915" y="4882"/>
                </a:lnTo>
                <a:lnTo>
                  <a:pt x="10920" y="4881"/>
                </a:lnTo>
                <a:lnTo>
                  <a:pt x="10924" y="4879"/>
                </a:lnTo>
                <a:lnTo>
                  <a:pt x="10927" y="4877"/>
                </a:lnTo>
                <a:lnTo>
                  <a:pt x="10931" y="4875"/>
                </a:lnTo>
                <a:lnTo>
                  <a:pt x="10933" y="4872"/>
                </a:lnTo>
                <a:lnTo>
                  <a:pt x="10935" y="4869"/>
                </a:lnTo>
                <a:lnTo>
                  <a:pt x="10937" y="4865"/>
                </a:lnTo>
                <a:lnTo>
                  <a:pt x="10939" y="4860"/>
                </a:lnTo>
                <a:lnTo>
                  <a:pt x="10941" y="4850"/>
                </a:lnTo>
                <a:lnTo>
                  <a:pt x="10941" y="4839"/>
                </a:lnTo>
                <a:lnTo>
                  <a:pt x="10941" y="4828"/>
                </a:lnTo>
                <a:lnTo>
                  <a:pt x="10941" y="4816"/>
                </a:lnTo>
                <a:lnTo>
                  <a:pt x="10939" y="4791"/>
                </a:lnTo>
                <a:lnTo>
                  <a:pt x="10938" y="4767"/>
                </a:lnTo>
                <a:lnTo>
                  <a:pt x="10934" y="4767"/>
                </a:lnTo>
                <a:lnTo>
                  <a:pt x="10931" y="4766"/>
                </a:lnTo>
                <a:lnTo>
                  <a:pt x="10927" y="4764"/>
                </a:lnTo>
                <a:lnTo>
                  <a:pt x="10923" y="4761"/>
                </a:lnTo>
                <a:lnTo>
                  <a:pt x="10915" y="4754"/>
                </a:lnTo>
                <a:lnTo>
                  <a:pt x="10908" y="4745"/>
                </a:lnTo>
                <a:lnTo>
                  <a:pt x="10900" y="4734"/>
                </a:lnTo>
                <a:lnTo>
                  <a:pt x="10891" y="4720"/>
                </a:lnTo>
                <a:lnTo>
                  <a:pt x="10884" y="4706"/>
                </a:lnTo>
                <a:lnTo>
                  <a:pt x="10877" y="4691"/>
                </a:lnTo>
                <a:lnTo>
                  <a:pt x="10870" y="4675"/>
                </a:lnTo>
                <a:lnTo>
                  <a:pt x="10864" y="4658"/>
                </a:lnTo>
                <a:lnTo>
                  <a:pt x="10859" y="4642"/>
                </a:lnTo>
                <a:lnTo>
                  <a:pt x="10854" y="4625"/>
                </a:lnTo>
                <a:lnTo>
                  <a:pt x="10850" y="4609"/>
                </a:lnTo>
                <a:lnTo>
                  <a:pt x="10846" y="4593"/>
                </a:lnTo>
                <a:lnTo>
                  <a:pt x="10844" y="4578"/>
                </a:lnTo>
                <a:lnTo>
                  <a:pt x="10842" y="4566"/>
                </a:lnTo>
                <a:lnTo>
                  <a:pt x="10829" y="4568"/>
                </a:lnTo>
                <a:lnTo>
                  <a:pt x="10816" y="4571"/>
                </a:lnTo>
                <a:lnTo>
                  <a:pt x="10802" y="4574"/>
                </a:lnTo>
                <a:lnTo>
                  <a:pt x="10788" y="4579"/>
                </a:lnTo>
                <a:lnTo>
                  <a:pt x="10775" y="4585"/>
                </a:lnTo>
                <a:lnTo>
                  <a:pt x="10762" y="4591"/>
                </a:lnTo>
                <a:lnTo>
                  <a:pt x="10757" y="4595"/>
                </a:lnTo>
                <a:lnTo>
                  <a:pt x="10753" y="4600"/>
                </a:lnTo>
                <a:lnTo>
                  <a:pt x="10749" y="4604"/>
                </a:lnTo>
                <a:lnTo>
                  <a:pt x="10746" y="4608"/>
                </a:lnTo>
                <a:lnTo>
                  <a:pt x="10725" y="4608"/>
                </a:lnTo>
                <a:lnTo>
                  <a:pt x="10705" y="4607"/>
                </a:lnTo>
                <a:lnTo>
                  <a:pt x="10686" y="4605"/>
                </a:lnTo>
                <a:lnTo>
                  <a:pt x="10667" y="4602"/>
                </a:lnTo>
                <a:lnTo>
                  <a:pt x="10629" y="4594"/>
                </a:lnTo>
                <a:lnTo>
                  <a:pt x="10595" y="4587"/>
                </a:lnTo>
                <a:lnTo>
                  <a:pt x="10562" y="4579"/>
                </a:lnTo>
                <a:lnTo>
                  <a:pt x="10529" y="4572"/>
                </a:lnTo>
                <a:lnTo>
                  <a:pt x="10511" y="4569"/>
                </a:lnTo>
                <a:lnTo>
                  <a:pt x="10495" y="4567"/>
                </a:lnTo>
                <a:lnTo>
                  <a:pt x="10478" y="4566"/>
                </a:lnTo>
                <a:lnTo>
                  <a:pt x="10461" y="4566"/>
                </a:lnTo>
                <a:lnTo>
                  <a:pt x="10440" y="4538"/>
                </a:lnTo>
                <a:lnTo>
                  <a:pt x="10402" y="4492"/>
                </a:lnTo>
                <a:lnTo>
                  <a:pt x="10382" y="4467"/>
                </a:lnTo>
                <a:lnTo>
                  <a:pt x="10366" y="4447"/>
                </a:lnTo>
                <a:lnTo>
                  <a:pt x="10360" y="4439"/>
                </a:lnTo>
                <a:lnTo>
                  <a:pt x="10356" y="4433"/>
                </a:lnTo>
                <a:lnTo>
                  <a:pt x="10354" y="4429"/>
                </a:lnTo>
                <a:lnTo>
                  <a:pt x="10355" y="4428"/>
                </a:lnTo>
                <a:lnTo>
                  <a:pt x="10350" y="4418"/>
                </a:lnTo>
                <a:lnTo>
                  <a:pt x="10345" y="4409"/>
                </a:lnTo>
                <a:lnTo>
                  <a:pt x="10342" y="4400"/>
                </a:lnTo>
                <a:lnTo>
                  <a:pt x="10340" y="4393"/>
                </a:lnTo>
                <a:lnTo>
                  <a:pt x="10338" y="4386"/>
                </a:lnTo>
                <a:lnTo>
                  <a:pt x="10338" y="4380"/>
                </a:lnTo>
                <a:lnTo>
                  <a:pt x="10338" y="4374"/>
                </a:lnTo>
                <a:lnTo>
                  <a:pt x="10339" y="4369"/>
                </a:lnTo>
                <a:lnTo>
                  <a:pt x="10340" y="4365"/>
                </a:lnTo>
                <a:lnTo>
                  <a:pt x="10342" y="4361"/>
                </a:lnTo>
                <a:lnTo>
                  <a:pt x="10345" y="4357"/>
                </a:lnTo>
                <a:lnTo>
                  <a:pt x="10349" y="4354"/>
                </a:lnTo>
                <a:lnTo>
                  <a:pt x="10356" y="4350"/>
                </a:lnTo>
                <a:lnTo>
                  <a:pt x="10366" y="4346"/>
                </a:lnTo>
                <a:lnTo>
                  <a:pt x="10376" y="4344"/>
                </a:lnTo>
                <a:lnTo>
                  <a:pt x="10387" y="4343"/>
                </a:lnTo>
                <a:lnTo>
                  <a:pt x="10399" y="4343"/>
                </a:lnTo>
                <a:lnTo>
                  <a:pt x="10410" y="4343"/>
                </a:lnTo>
                <a:lnTo>
                  <a:pt x="10428" y="4344"/>
                </a:lnTo>
                <a:lnTo>
                  <a:pt x="10440" y="4344"/>
                </a:lnTo>
                <a:lnTo>
                  <a:pt x="10442" y="4334"/>
                </a:lnTo>
                <a:lnTo>
                  <a:pt x="10445" y="4325"/>
                </a:lnTo>
                <a:lnTo>
                  <a:pt x="10451" y="4317"/>
                </a:lnTo>
                <a:lnTo>
                  <a:pt x="10459" y="4309"/>
                </a:lnTo>
                <a:lnTo>
                  <a:pt x="10469" y="4302"/>
                </a:lnTo>
                <a:lnTo>
                  <a:pt x="10480" y="4296"/>
                </a:lnTo>
                <a:lnTo>
                  <a:pt x="10494" y="4289"/>
                </a:lnTo>
                <a:lnTo>
                  <a:pt x="10508" y="4283"/>
                </a:lnTo>
                <a:lnTo>
                  <a:pt x="10542" y="4272"/>
                </a:lnTo>
                <a:lnTo>
                  <a:pt x="10579" y="4261"/>
                </a:lnTo>
                <a:lnTo>
                  <a:pt x="10619" y="4251"/>
                </a:lnTo>
                <a:lnTo>
                  <a:pt x="10661" y="4240"/>
                </a:lnTo>
                <a:lnTo>
                  <a:pt x="10703" y="4229"/>
                </a:lnTo>
                <a:lnTo>
                  <a:pt x="10743" y="4215"/>
                </a:lnTo>
                <a:lnTo>
                  <a:pt x="10762" y="4209"/>
                </a:lnTo>
                <a:lnTo>
                  <a:pt x="10782" y="4201"/>
                </a:lnTo>
                <a:lnTo>
                  <a:pt x="10800" y="4193"/>
                </a:lnTo>
                <a:lnTo>
                  <a:pt x="10816" y="4185"/>
                </a:lnTo>
                <a:lnTo>
                  <a:pt x="10832" y="4176"/>
                </a:lnTo>
                <a:lnTo>
                  <a:pt x="10846" y="4166"/>
                </a:lnTo>
                <a:lnTo>
                  <a:pt x="10859" y="4156"/>
                </a:lnTo>
                <a:lnTo>
                  <a:pt x="10870" y="4144"/>
                </a:lnTo>
                <a:lnTo>
                  <a:pt x="10879" y="4132"/>
                </a:lnTo>
                <a:lnTo>
                  <a:pt x="10887" y="4119"/>
                </a:lnTo>
                <a:lnTo>
                  <a:pt x="10892" y="4105"/>
                </a:lnTo>
                <a:lnTo>
                  <a:pt x="10895" y="4089"/>
                </a:lnTo>
                <a:lnTo>
                  <a:pt x="10883" y="4088"/>
                </a:lnTo>
                <a:lnTo>
                  <a:pt x="10873" y="4086"/>
                </a:lnTo>
                <a:lnTo>
                  <a:pt x="10866" y="4083"/>
                </a:lnTo>
                <a:lnTo>
                  <a:pt x="10860" y="4079"/>
                </a:lnTo>
                <a:lnTo>
                  <a:pt x="10857" y="4073"/>
                </a:lnTo>
                <a:lnTo>
                  <a:pt x="10856" y="4067"/>
                </a:lnTo>
                <a:lnTo>
                  <a:pt x="10856" y="4059"/>
                </a:lnTo>
                <a:lnTo>
                  <a:pt x="10858" y="4051"/>
                </a:lnTo>
                <a:lnTo>
                  <a:pt x="10861" y="4042"/>
                </a:lnTo>
                <a:lnTo>
                  <a:pt x="10866" y="4033"/>
                </a:lnTo>
                <a:lnTo>
                  <a:pt x="10872" y="4023"/>
                </a:lnTo>
                <a:lnTo>
                  <a:pt x="10879" y="4012"/>
                </a:lnTo>
                <a:lnTo>
                  <a:pt x="10895" y="3991"/>
                </a:lnTo>
                <a:lnTo>
                  <a:pt x="10916" y="3967"/>
                </a:lnTo>
                <a:lnTo>
                  <a:pt x="10937" y="3945"/>
                </a:lnTo>
                <a:lnTo>
                  <a:pt x="10959" y="3923"/>
                </a:lnTo>
                <a:lnTo>
                  <a:pt x="10980" y="3902"/>
                </a:lnTo>
                <a:lnTo>
                  <a:pt x="11000" y="3884"/>
                </a:lnTo>
                <a:lnTo>
                  <a:pt x="11031" y="3857"/>
                </a:lnTo>
                <a:lnTo>
                  <a:pt x="11044" y="3847"/>
                </a:lnTo>
                <a:lnTo>
                  <a:pt x="11078" y="3816"/>
                </a:lnTo>
                <a:lnTo>
                  <a:pt x="11109" y="3787"/>
                </a:lnTo>
                <a:lnTo>
                  <a:pt x="11124" y="3773"/>
                </a:lnTo>
                <a:lnTo>
                  <a:pt x="11139" y="3760"/>
                </a:lnTo>
                <a:lnTo>
                  <a:pt x="11155" y="3748"/>
                </a:lnTo>
                <a:lnTo>
                  <a:pt x="11170" y="3737"/>
                </a:lnTo>
                <a:lnTo>
                  <a:pt x="11185" y="3726"/>
                </a:lnTo>
                <a:lnTo>
                  <a:pt x="11200" y="3716"/>
                </a:lnTo>
                <a:lnTo>
                  <a:pt x="11216" y="3707"/>
                </a:lnTo>
                <a:lnTo>
                  <a:pt x="11233" y="3699"/>
                </a:lnTo>
                <a:lnTo>
                  <a:pt x="11251" y="3693"/>
                </a:lnTo>
                <a:lnTo>
                  <a:pt x="11270" y="3688"/>
                </a:lnTo>
                <a:lnTo>
                  <a:pt x="11292" y="3684"/>
                </a:lnTo>
                <a:lnTo>
                  <a:pt x="11313" y="3682"/>
                </a:lnTo>
                <a:lnTo>
                  <a:pt x="11329" y="3679"/>
                </a:lnTo>
                <a:lnTo>
                  <a:pt x="11354" y="3674"/>
                </a:lnTo>
                <a:lnTo>
                  <a:pt x="11389" y="3666"/>
                </a:lnTo>
                <a:lnTo>
                  <a:pt x="11432" y="3656"/>
                </a:lnTo>
                <a:lnTo>
                  <a:pt x="11532" y="3633"/>
                </a:lnTo>
                <a:lnTo>
                  <a:pt x="11642" y="3609"/>
                </a:lnTo>
                <a:lnTo>
                  <a:pt x="11697" y="3599"/>
                </a:lnTo>
                <a:lnTo>
                  <a:pt x="11750" y="3588"/>
                </a:lnTo>
                <a:lnTo>
                  <a:pt x="11799" y="3580"/>
                </a:lnTo>
                <a:lnTo>
                  <a:pt x="11843" y="3575"/>
                </a:lnTo>
                <a:lnTo>
                  <a:pt x="11862" y="3574"/>
                </a:lnTo>
                <a:lnTo>
                  <a:pt x="11879" y="3573"/>
                </a:lnTo>
                <a:lnTo>
                  <a:pt x="11894" y="3574"/>
                </a:lnTo>
                <a:lnTo>
                  <a:pt x="11908" y="3575"/>
                </a:lnTo>
                <a:lnTo>
                  <a:pt x="11919" y="3578"/>
                </a:lnTo>
                <a:lnTo>
                  <a:pt x="11926" y="3581"/>
                </a:lnTo>
                <a:lnTo>
                  <a:pt x="11931" y="3586"/>
                </a:lnTo>
                <a:lnTo>
                  <a:pt x="11933" y="3593"/>
                </a:lnTo>
                <a:lnTo>
                  <a:pt x="11966" y="3593"/>
                </a:lnTo>
                <a:lnTo>
                  <a:pt x="12020" y="3594"/>
                </a:lnTo>
                <a:lnTo>
                  <a:pt x="12088" y="3596"/>
                </a:lnTo>
                <a:lnTo>
                  <a:pt x="12160" y="3599"/>
                </a:lnTo>
                <a:lnTo>
                  <a:pt x="12196" y="3601"/>
                </a:lnTo>
                <a:lnTo>
                  <a:pt x="12229" y="3604"/>
                </a:lnTo>
                <a:lnTo>
                  <a:pt x="12261" y="3607"/>
                </a:lnTo>
                <a:lnTo>
                  <a:pt x="12289" y="3611"/>
                </a:lnTo>
                <a:lnTo>
                  <a:pt x="12301" y="3613"/>
                </a:lnTo>
                <a:lnTo>
                  <a:pt x="12312" y="3616"/>
                </a:lnTo>
                <a:lnTo>
                  <a:pt x="12322" y="3618"/>
                </a:lnTo>
                <a:lnTo>
                  <a:pt x="12330" y="3621"/>
                </a:lnTo>
                <a:lnTo>
                  <a:pt x="12337" y="3624"/>
                </a:lnTo>
                <a:lnTo>
                  <a:pt x="12341" y="3627"/>
                </a:lnTo>
                <a:lnTo>
                  <a:pt x="12344" y="3631"/>
                </a:lnTo>
                <a:lnTo>
                  <a:pt x="12345" y="3635"/>
                </a:lnTo>
                <a:lnTo>
                  <a:pt x="12357" y="3635"/>
                </a:lnTo>
                <a:lnTo>
                  <a:pt x="12369" y="3637"/>
                </a:lnTo>
                <a:lnTo>
                  <a:pt x="12383" y="3640"/>
                </a:lnTo>
                <a:lnTo>
                  <a:pt x="12398" y="3644"/>
                </a:lnTo>
                <a:lnTo>
                  <a:pt x="12431" y="3653"/>
                </a:lnTo>
                <a:lnTo>
                  <a:pt x="12463" y="3663"/>
                </a:lnTo>
                <a:lnTo>
                  <a:pt x="12480" y="3668"/>
                </a:lnTo>
                <a:lnTo>
                  <a:pt x="12495" y="3672"/>
                </a:lnTo>
                <a:lnTo>
                  <a:pt x="12510" y="3675"/>
                </a:lnTo>
                <a:lnTo>
                  <a:pt x="12525" y="3678"/>
                </a:lnTo>
                <a:lnTo>
                  <a:pt x="12539" y="3679"/>
                </a:lnTo>
                <a:lnTo>
                  <a:pt x="12551" y="3680"/>
                </a:lnTo>
                <a:lnTo>
                  <a:pt x="12556" y="3679"/>
                </a:lnTo>
                <a:lnTo>
                  <a:pt x="12561" y="3678"/>
                </a:lnTo>
                <a:lnTo>
                  <a:pt x="12566" y="3677"/>
                </a:lnTo>
                <a:lnTo>
                  <a:pt x="12570" y="3675"/>
                </a:lnTo>
                <a:lnTo>
                  <a:pt x="12577" y="3672"/>
                </a:lnTo>
                <a:lnTo>
                  <a:pt x="12585" y="3670"/>
                </a:lnTo>
                <a:lnTo>
                  <a:pt x="12594" y="3669"/>
                </a:lnTo>
                <a:lnTo>
                  <a:pt x="12605" y="3668"/>
                </a:lnTo>
                <a:lnTo>
                  <a:pt x="12616" y="3668"/>
                </a:lnTo>
                <a:lnTo>
                  <a:pt x="12628" y="3670"/>
                </a:lnTo>
                <a:lnTo>
                  <a:pt x="12641" y="3671"/>
                </a:lnTo>
                <a:lnTo>
                  <a:pt x="12654" y="3674"/>
                </a:lnTo>
                <a:lnTo>
                  <a:pt x="12684" y="3681"/>
                </a:lnTo>
                <a:lnTo>
                  <a:pt x="12713" y="3690"/>
                </a:lnTo>
                <a:lnTo>
                  <a:pt x="12744" y="3702"/>
                </a:lnTo>
                <a:lnTo>
                  <a:pt x="12774" y="3715"/>
                </a:lnTo>
                <a:lnTo>
                  <a:pt x="12805" y="3731"/>
                </a:lnTo>
                <a:lnTo>
                  <a:pt x="12833" y="3747"/>
                </a:lnTo>
                <a:lnTo>
                  <a:pt x="12846" y="3756"/>
                </a:lnTo>
                <a:lnTo>
                  <a:pt x="12858" y="3764"/>
                </a:lnTo>
                <a:lnTo>
                  <a:pt x="12870" y="3773"/>
                </a:lnTo>
                <a:lnTo>
                  <a:pt x="12881" y="3782"/>
                </a:lnTo>
                <a:lnTo>
                  <a:pt x="12891" y="3791"/>
                </a:lnTo>
                <a:lnTo>
                  <a:pt x="12900" y="3801"/>
                </a:lnTo>
                <a:lnTo>
                  <a:pt x="12908" y="3810"/>
                </a:lnTo>
                <a:lnTo>
                  <a:pt x="12914" y="3819"/>
                </a:lnTo>
                <a:lnTo>
                  <a:pt x="12921" y="3829"/>
                </a:lnTo>
                <a:lnTo>
                  <a:pt x="12924" y="3838"/>
                </a:lnTo>
                <a:lnTo>
                  <a:pt x="12927" y="3848"/>
                </a:lnTo>
                <a:lnTo>
                  <a:pt x="12928" y="3857"/>
                </a:lnTo>
                <a:lnTo>
                  <a:pt x="12901" y="3858"/>
                </a:lnTo>
                <a:lnTo>
                  <a:pt x="12874" y="3858"/>
                </a:lnTo>
                <a:lnTo>
                  <a:pt x="12846" y="3860"/>
                </a:lnTo>
                <a:lnTo>
                  <a:pt x="12818" y="3862"/>
                </a:lnTo>
                <a:lnTo>
                  <a:pt x="12757" y="3867"/>
                </a:lnTo>
                <a:lnTo>
                  <a:pt x="12694" y="3873"/>
                </a:lnTo>
                <a:lnTo>
                  <a:pt x="12629" y="3879"/>
                </a:lnTo>
                <a:lnTo>
                  <a:pt x="12563" y="3884"/>
                </a:lnTo>
                <a:lnTo>
                  <a:pt x="12529" y="3886"/>
                </a:lnTo>
                <a:lnTo>
                  <a:pt x="12496" y="3887"/>
                </a:lnTo>
                <a:lnTo>
                  <a:pt x="12463" y="3888"/>
                </a:lnTo>
                <a:lnTo>
                  <a:pt x="12430" y="3889"/>
                </a:lnTo>
                <a:lnTo>
                  <a:pt x="12431" y="3900"/>
                </a:lnTo>
                <a:lnTo>
                  <a:pt x="12433" y="3906"/>
                </a:lnTo>
                <a:lnTo>
                  <a:pt x="12435" y="3909"/>
                </a:lnTo>
                <a:lnTo>
                  <a:pt x="12437" y="3910"/>
                </a:lnTo>
                <a:lnTo>
                  <a:pt x="12438" y="3911"/>
                </a:lnTo>
                <a:lnTo>
                  <a:pt x="12438" y="3913"/>
                </a:lnTo>
                <a:lnTo>
                  <a:pt x="12435" y="3919"/>
                </a:lnTo>
                <a:lnTo>
                  <a:pt x="12430" y="3931"/>
                </a:lnTo>
                <a:lnTo>
                  <a:pt x="12436" y="3931"/>
                </a:lnTo>
                <a:lnTo>
                  <a:pt x="12442" y="3932"/>
                </a:lnTo>
                <a:lnTo>
                  <a:pt x="12448" y="3934"/>
                </a:lnTo>
                <a:lnTo>
                  <a:pt x="12455" y="3937"/>
                </a:lnTo>
                <a:lnTo>
                  <a:pt x="12468" y="3945"/>
                </a:lnTo>
                <a:lnTo>
                  <a:pt x="12482" y="3956"/>
                </a:lnTo>
                <a:lnTo>
                  <a:pt x="12496" y="3970"/>
                </a:lnTo>
                <a:lnTo>
                  <a:pt x="12509" y="3984"/>
                </a:lnTo>
                <a:lnTo>
                  <a:pt x="12523" y="4000"/>
                </a:lnTo>
                <a:lnTo>
                  <a:pt x="12536" y="4017"/>
                </a:lnTo>
                <a:lnTo>
                  <a:pt x="12548" y="4034"/>
                </a:lnTo>
                <a:lnTo>
                  <a:pt x="12559" y="4052"/>
                </a:lnTo>
                <a:lnTo>
                  <a:pt x="12569" y="4069"/>
                </a:lnTo>
                <a:lnTo>
                  <a:pt x="12577" y="4086"/>
                </a:lnTo>
                <a:lnTo>
                  <a:pt x="12583" y="4104"/>
                </a:lnTo>
                <a:lnTo>
                  <a:pt x="12587" y="4118"/>
                </a:lnTo>
                <a:lnTo>
                  <a:pt x="12589" y="4125"/>
                </a:lnTo>
                <a:lnTo>
                  <a:pt x="12589" y="4132"/>
                </a:lnTo>
                <a:lnTo>
                  <a:pt x="12589" y="4138"/>
                </a:lnTo>
                <a:lnTo>
                  <a:pt x="12589" y="4143"/>
                </a:lnTo>
                <a:lnTo>
                  <a:pt x="12604" y="4142"/>
                </a:lnTo>
                <a:lnTo>
                  <a:pt x="12619" y="4141"/>
                </a:lnTo>
                <a:lnTo>
                  <a:pt x="12632" y="4138"/>
                </a:lnTo>
                <a:lnTo>
                  <a:pt x="12644" y="4134"/>
                </a:lnTo>
                <a:lnTo>
                  <a:pt x="12656" y="4129"/>
                </a:lnTo>
                <a:lnTo>
                  <a:pt x="12668" y="4124"/>
                </a:lnTo>
                <a:lnTo>
                  <a:pt x="12679" y="4118"/>
                </a:lnTo>
                <a:lnTo>
                  <a:pt x="12689" y="4112"/>
                </a:lnTo>
                <a:lnTo>
                  <a:pt x="12708" y="4100"/>
                </a:lnTo>
                <a:lnTo>
                  <a:pt x="12727" y="4089"/>
                </a:lnTo>
                <a:lnTo>
                  <a:pt x="12737" y="4085"/>
                </a:lnTo>
                <a:lnTo>
                  <a:pt x="12747" y="4081"/>
                </a:lnTo>
                <a:lnTo>
                  <a:pt x="12757" y="4079"/>
                </a:lnTo>
                <a:lnTo>
                  <a:pt x="12768" y="4079"/>
                </a:lnTo>
                <a:lnTo>
                  <a:pt x="12769" y="4092"/>
                </a:lnTo>
                <a:lnTo>
                  <a:pt x="12772" y="4104"/>
                </a:lnTo>
                <a:lnTo>
                  <a:pt x="12776" y="4114"/>
                </a:lnTo>
                <a:lnTo>
                  <a:pt x="12781" y="4122"/>
                </a:lnTo>
                <a:lnTo>
                  <a:pt x="12788" y="4129"/>
                </a:lnTo>
                <a:lnTo>
                  <a:pt x="12797" y="4134"/>
                </a:lnTo>
                <a:lnTo>
                  <a:pt x="12805" y="4137"/>
                </a:lnTo>
                <a:lnTo>
                  <a:pt x="12813" y="4138"/>
                </a:lnTo>
                <a:lnTo>
                  <a:pt x="12822" y="4138"/>
                </a:lnTo>
                <a:lnTo>
                  <a:pt x="12831" y="4136"/>
                </a:lnTo>
                <a:lnTo>
                  <a:pt x="12840" y="4132"/>
                </a:lnTo>
                <a:lnTo>
                  <a:pt x="12849" y="4125"/>
                </a:lnTo>
                <a:lnTo>
                  <a:pt x="12856" y="4117"/>
                </a:lnTo>
                <a:lnTo>
                  <a:pt x="12863" y="4107"/>
                </a:lnTo>
                <a:lnTo>
                  <a:pt x="12869" y="4093"/>
                </a:lnTo>
                <a:lnTo>
                  <a:pt x="12874" y="4079"/>
                </a:lnTo>
                <a:lnTo>
                  <a:pt x="12868" y="4078"/>
                </a:lnTo>
                <a:lnTo>
                  <a:pt x="12863" y="4078"/>
                </a:lnTo>
                <a:lnTo>
                  <a:pt x="12858" y="4076"/>
                </a:lnTo>
                <a:lnTo>
                  <a:pt x="12854" y="4075"/>
                </a:lnTo>
                <a:lnTo>
                  <a:pt x="12850" y="4073"/>
                </a:lnTo>
                <a:lnTo>
                  <a:pt x="12847" y="4070"/>
                </a:lnTo>
                <a:lnTo>
                  <a:pt x="12844" y="4067"/>
                </a:lnTo>
                <a:lnTo>
                  <a:pt x="12842" y="4064"/>
                </a:lnTo>
                <a:lnTo>
                  <a:pt x="12838" y="4057"/>
                </a:lnTo>
                <a:lnTo>
                  <a:pt x="12836" y="4049"/>
                </a:lnTo>
                <a:lnTo>
                  <a:pt x="12835" y="4040"/>
                </a:lnTo>
                <a:lnTo>
                  <a:pt x="12835" y="4032"/>
                </a:lnTo>
                <a:lnTo>
                  <a:pt x="12836" y="4023"/>
                </a:lnTo>
                <a:lnTo>
                  <a:pt x="12837" y="4014"/>
                </a:lnTo>
                <a:lnTo>
                  <a:pt x="12839" y="4006"/>
                </a:lnTo>
                <a:lnTo>
                  <a:pt x="12842" y="3999"/>
                </a:lnTo>
                <a:lnTo>
                  <a:pt x="12845" y="3993"/>
                </a:lnTo>
                <a:lnTo>
                  <a:pt x="12848" y="3988"/>
                </a:lnTo>
                <a:lnTo>
                  <a:pt x="12850" y="3985"/>
                </a:lnTo>
                <a:lnTo>
                  <a:pt x="12853" y="3984"/>
                </a:lnTo>
                <a:lnTo>
                  <a:pt x="12857" y="3978"/>
                </a:lnTo>
                <a:lnTo>
                  <a:pt x="12861" y="3972"/>
                </a:lnTo>
                <a:lnTo>
                  <a:pt x="12866" y="3965"/>
                </a:lnTo>
                <a:lnTo>
                  <a:pt x="12871" y="3961"/>
                </a:lnTo>
                <a:lnTo>
                  <a:pt x="12876" y="3957"/>
                </a:lnTo>
                <a:lnTo>
                  <a:pt x="12881" y="3954"/>
                </a:lnTo>
                <a:lnTo>
                  <a:pt x="12886" y="3951"/>
                </a:lnTo>
                <a:lnTo>
                  <a:pt x="12892" y="3949"/>
                </a:lnTo>
                <a:lnTo>
                  <a:pt x="12903" y="3946"/>
                </a:lnTo>
                <a:lnTo>
                  <a:pt x="12916" y="3944"/>
                </a:lnTo>
                <a:lnTo>
                  <a:pt x="12928" y="3943"/>
                </a:lnTo>
                <a:lnTo>
                  <a:pt x="12940" y="3942"/>
                </a:lnTo>
                <a:lnTo>
                  <a:pt x="12952" y="3942"/>
                </a:lnTo>
                <a:lnTo>
                  <a:pt x="12964" y="3940"/>
                </a:lnTo>
                <a:lnTo>
                  <a:pt x="12975" y="3938"/>
                </a:lnTo>
                <a:lnTo>
                  <a:pt x="12986" y="3934"/>
                </a:lnTo>
                <a:lnTo>
                  <a:pt x="12992" y="3931"/>
                </a:lnTo>
                <a:lnTo>
                  <a:pt x="12997" y="3928"/>
                </a:lnTo>
                <a:lnTo>
                  <a:pt x="13002" y="3924"/>
                </a:lnTo>
                <a:lnTo>
                  <a:pt x="13007" y="3919"/>
                </a:lnTo>
                <a:lnTo>
                  <a:pt x="13012" y="3914"/>
                </a:lnTo>
                <a:lnTo>
                  <a:pt x="13016" y="3908"/>
                </a:lnTo>
                <a:lnTo>
                  <a:pt x="13020" y="3901"/>
                </a:lnTo>
                <a:lnTo>
                  <a:pt x="13024" y="3894"/>
                </a:lnTo>
                <a:lnTo>
                  <a:pt x="13103" y="3988"/>
                </a:lnTo>
                <a:lnTo>
                  <a:pt x="13179" y="4083"/>
                </a:lnTo>
                <a:lnTo>
                  <a:pt x="13253" y="4181"/>
                </a:lnTo>
                <a:lnTo>
                  <a:pt x="13326" y="4280"/>
                </a:lnTo>
                <a:lnTo>
                  <a:pt x="13396" y="4380"/>
                </a:lnTo>
                <a:lnTo>
                  <a:pt x="13465" y="4482"/>
                </a:lnTo>
                <a:lnTo>
                  <a:pt x="13532" y="4584"/>
                </a:lnTo>
                <a:lnTo>
                  <a:pt x="13598" y="4688"/>
                </a:lnTo>
                <a:lnTo>
                  <a:pt x="13660" y="4794"/>
                </a:lnTo>
                <a:lnTo>
                  <a:pt x="13722" y="4901"/>
                </a:lnTo>
                <a:lnTo>
                  <a:pt x="13781" y="5009"/>
                </a:lnTo>
                <a:lnTo>
                  <a:pt x="13839" y="5118"/>
                </a:lnTo>
                <a:lnTo>
                  <a:pt x="13893" y="5227"/>
                </a:lnTo>
                <a:lnTo>
                  <a:pt x="13947" y="5339"/>
                </a:lnTo>
                <a:lnTo>
                  <a:pt x="13998" y="5452"/>
                </a:lnTo>
                <a:lnTo>
                  <a:pt x="14046" y="5566"/>
                </a:lnTo>
                <a:lnTo>
                  <a:pt x="14094" y="5681"/>
                </a:lnTo>
                <a:lnTo>
                  <a:pt x="14138" y="5797"/>
                </a:lnTo>
                <a:lnTo>
                  <a:pt x="14181" y="5914"/>
                </a:lnTo>
                <a:lnTo>
                  <a:pt x="14221" y="6033"/>
                </a:lnTo>
                <a:lnTo>
                  <a:pt x="14259" y="6152"/>
                </a:lnTo>
                <a:lnTo>
                  <a:pt x="14295" y="6272"/>
                </a:lnTo>
                <a:lnTo>
                  <a:pt x="14329" y="6393"/>
                </a:lnTo>
                <a:lnTo>
                  <a:pt x="14360" y="6515"/>
                </a:lnTo>
                <a:lnTo>
                  <a:pt x="14389" y="6638"/>
                </a:lnTo>
                <a:lnTo>
                  <a:pt x="14415" y="6762"/>
                </a:lnTo>
                <a:lnTo>
                  <a:pt x="14440" y="6886"/>
                </a:lnTo>
                <a:lnTo>
                  <a:pt x="14462" y="7012"/>
                </a:lnTo>
                <a:lnTo>
                  <a:pt x="14481" y="7138"/>
                </a:lnTo>
                <a:lnTo>
                  <a:pt x="14498" y="7265"/>
                </a:lnTo>
                <a:lnTo>
                  <a:pt x="14512" y="7393"/>
                </a:lnTo>
                <a:lnTo>
                  <a:pt x="14524" y="7522"/>
                </a:lnTo>
                <a:close/>
                <a:moveTo>
                  <a:pt x="3650" y="3319"/>
                </a:moveTo>
                <a:lnTo>
                  <a:pt x="3656" y="3318"/>
                </a:lnTo>
                <a:lnTo>
                  <a:pt x="3663" y="3316"/>
                </a:lnTo>
                <a:lnTo>
                  <a:pt x="3671" y="3313"/>
                </a:lnTo>
                <a:lnTo>
                  <a:pt x="3679" y="3309"/>
                </a:lnTo>
                <a:lnTo>
                  <a:pt x="3697" y="3301"/>
                </a:lnTo>
                <a:lnTo>
                  <a:pt x="3715" y="3292"/>
                </a:lnTo>
                <a:lnTo>
                  <a:pt x="3749" y="3274"/>
                </a:lnTo>
                <a:lnTo>
                  <a:pt x="3769" y="3264"/>
                </a:lnTo>
                <a:lnTo>
                  <a:pt x="3767" y="3304"/>
                </a:lnTo>
                <a:lnTo>
                  <a:pt x="3765" y="3333"/>
                </a:lnTo>
                <a:lnTo>
                  <a:pt x="3765" y="3349"/>
                </a:lnTo>
                <a:lnTo>
                  <a:pt x="3767" y="3366"/>
                </a:lnTo>
                <a:lnTo>
                  <a:pt x="3772" y="3386"/>
                </a:lnTo>
                <a:lnTo>
                  <a:pt x="3780" y="3412"/>
                </a:lnTo>
                <a:lnTo>
                  <a:pt x="3783" y="3413"/>
                </a:lnTo>
                <a:lnTo>
                  <a:pt x="3787" y="3417"/>
                </a:lnTo>
                <a:lnTo>
                  <a:pt x="3791" y="3422"/>
                </a:lnTo>
                <a:lnTo>
                  <a:pt x="3797" y="3429"/>
                </a:lnTo>
                <a:lnTo>
                  <a:pt x="3809" y="3447"/>
                </a:lnTo>
                <a:lnTo>
                  <a:pt x="3822" y="3470"/>
                </a:lnTo>
                <a:lnTo>
                  <a:pt x="3834" y="3494"/>
                </a:lnTo>
                <a:lnTo>
                  <a:pt x="3845" y="3518"/>
                </a:lnTo>
                <a:lnTo>
                  <a:pt x="3849" y="3530"/>
                </a:lnTo>
                <a:lnTo>
                  <a:pt x="3852" y="3541"/>
                </a:lnTo>
                <a:lnTo>
                  <a:pt x="3854" y="3551"/>
                </a:lnTo>
                <a:lnTo>
                  <a:pt x="3854" y="3560"/>
                </a:lnTo>
                <a:lnTo>
                  <a:pt x="3877" y="3557"/>
                </a:lnTo>
                <a:lnTo>
                  <a:pt x="3900" y="3553"/>
                </a:lnTo>
                <a:lnTo>
                  <a:pt x="3924" y="3549"/>
                </a:lnTo>
                <a:lnTo>
                  <a:pt x="3948" y="3547"/>
                </a:lnTo>
                <a:lnTo>
                  <a:pt x="3959" y="3547"/>
                </a:lnTo>
                <a:lnTo>
                  <a:pt x="3970" y="3549"/>
                </a:lnTo>
                <a:lnTo>
                  <a:pt x="3980" y="3551"/>
                </a:lnTo>
                <a:lnTo>
                  <a:pt x="3988" y="3556"/>
                </a:lnTo>
                <a:lnTo>
                  <a:pt x="3993" y="3558"/>
                </a:lnTo>
                <a:lnTo>
                  <a:pt x="3996" y="3561"/>
                </a:lnTo>
                <a:lnTo>
                  <a:pt x="4000" y="3565"/>
                </a:lnTo>
                <a:lnTo>
                  <a:pt x="4003" y="3569"/>
                </a:lnTo>
                <a:lnTo>
                  <a:pt x="4006" y="3574"/>
                </a:lnTo>
                <a:lnTo>
                  <a:pt x="4009" y="3579"/>
                </a:lnTo>
                <a:lnTo>
                  <a:pt x="4011" y="3585"/>
                </a:lnTo>
                <a:lnTo>
                  <a:pt x="4013" y="3593"/>
                </a:lnTo>
                <a:lnTo>
                  <a:pt x="3992" y="3592"/>
                </a:lnTo>
                <a:lnTo>
                  <a:pt x="3971" y="3589"/>
                </a:lnTo>
                <a:lnTo>
                  <a:pt x="3949" y="3586"/>
                </a:lnTo>
                <a:lnTo>
                  <a:pt x="3928" y="3581"/>
                </a:lnTo>
                <a:lnTo>
                  <a:pt x="3930" y="3596"/>
                </a:lnTo>
                <a:lnTo>
                  <a:pt x="3930" y="3610"/>
                </a:lnTo>
                <a:lnTo>
                  <a:pt x="3931" y="3621"/>
                </a:lnTo>
                <a:lnTo>
                  <a:pt x="3931" y="3631"/>
                </a:lnTo>
                <a:lnTo>
                  <a:pt x="3930" y="3640"/>
                </a:lnTo>
                <a:lnTo>
                  <a:pt x="3928" y="3648"/>
                </a:lnTo>
                <a:lnTo>
                  <a:pt x="3927" y="3655"/>
                </a:lnTo>
                <a:lnTo>
                  <a:pt x="3924" y="3661"/>
                </a:lnTo>
                <a:lnTo>
                  <a:pt x="3921" y="3665"/>
                </a:lnTo>
                <a:lnTo>
                  <a:pt x="3918" y="3669"/>
                </a:lnTo>
                <a:lnTo>
                  <a:pt x="3914" y="3672"/>
                </a:lnTo>
                <a:lnTo>
                  <a:pt x="3910" y="3674"/>
                </a:lnTo>
                <a:lnTo>
                  <a:pt x="3906" y="3675"/>
                </a:lnTo>
                <a:lnTo>
                  <a:pt x="3901" y="3675"/>
                </a:lnTo>
                <a:lnTo>
                  <a:pt x="3896" y="3675"/>
                </a:lnTo>
                <a:lnTo>
                  <a:pt x="3891" y="3675"/>
                </a:lnTo>
                <a:lnTo>
                  <a:pt x="3879" y="3672"/>
                </a:lnTo>
                <a:lnTo>
                  <a:pt x="3866" y="3668"/>
                </a:lnTo>
                <a:lnTo>
                  <a:pt x="3853" y="3663"/>
                </a:lnTo>
                <a:lnTo>
                  <a:pt x="3838" y="3658"/>
                </a:lnTo>
                <a:lnTo>
                  <a:pt x="3824" y="3653"/>
                </a:lnTo>
                <a:lnTo>
                  <a:pt x="3809" y="3649"/>
                </a:lnTo>
                <a:lnTo>
                  <a:pt x="3794" y="3646"/>
                </a:lnTo>
                <a:lnTo>
                  <a:pt x="3780" y="3645"/>
                </a:lnTo>
                <a:lnTo>
                  <a:pt x="3777" y="3642"/>
                </a:lnTo>
                <a:lnTo>
                  <a:pt x="3770" y="3638"/>
                </a:lnTo>
                <a:lnTo>
                  <a:pt x="3759" y="3633"/>
                </a:lnTo>
                <a:lnTo>
                  <a:pt x="3745" y="3627"/>
                </a:lnTo>
                <a:lnTo>
                  <a:pt x="3729" y="3621"/>
                </a:lnTo>
                <a:lnTo>
                  <a:pt x="3711" y="3616"/>
                </a:lnTo>
                <a:lnTo>
                  <a:pt x="3693" y="3612"/>
                </a:lnTo>
                <a:lnTo>
                  <a:pt x="3676" y="3609"/>
                </a:lnTo>
                <a:lnTo>
                  <a:pt x="3667" y="3609"/>
                </a:lnTo>
                <a:lnTo>
                  <a:pt x="3659" y="3608"/>
                </a:lnTo>
                <a:lnTo>
                  <a:pt x="3651" y="3609"/>
                </a:lnTo>
                <a:lnTo>
                  <a:pt x="3644" y="3610"/>
                </a:lnTo>
                <a:lnTo>
                  <a:pt x="3638" y="3612"/>
                </a:lnTo>
                <a:lnTo>
                  <a:pt x="3633" y="3615"/>
                </a:lnTo>
                <a:lnTo>
                  <a:pt x="3628" y="3618"/>
                </a:lnTo>
                <a:lnTo>
                  <a:pt x="3624" y="3623"/>
                </a:lnTo>
                <a:lnTo>
                  <a:pt x="3622" y="3628"/>
                </a:lnTo>
                <a:lnTo>
                  <a:pt x="3620" y="3634"/>
                </a:lnTo>
                <a:lnTo>
                  <a:pt x="3620" y="3642"/>
                </a:lnTo>
                <a:lnTo>
                  <a:pt x="3621" y="3651"/>
                </a:lnTo>
                <a:lnTo>
                  <a:pt x="3624" y="3660"/>
                </a:lnTo>
                <a:lnTo>
                  <a:pt x="3628" y="3672"/>
                </a:lnTo>
                <a:lnTo>
                  <a:pt x="3634" y="3684"/>
                </a:lnTo>
                <a:lnTo>
                  <a:pt x="3642" y="3698"/>
                </a:lnTo>
                <a:lnTo>
                  <a:pt x="3646" y="3698"/>
                </a:lnTo>
                <a:lnTo>
                  <a:pt x="3650" y="3700"/>
                </a:lnTo>
                <a:lnTo>
                  <a:pt x="3653" y="3702"/>
                </a:lnTo>
                <a:lnTo>
                  <a:pt x="3656" y="3704"/>
                </a:lnTo>
                <a:lnTo>
                  <a:pt x="3660" y="3711"/>
                </a:lnTo>
                <a:lnTo>
                  <a:pt x="3666" y="3721"/>
                </a:lnTo>
                <a:lnTo>
                  <a:pt x="3670" y="3726"/>
                </a:lnTo>
                <a:lnTo>
                  <a:pt x="3674" y="3731"/>
                </a:lnTo>
                <a:lnTo>
                  <a:pt x="3679" y="3736"/>
                </a:lnTo>
                <a:lnTo>
                  <a:pt x="3685" y="3741"/>
                </a:lnTo>
                <a:lnTo>
                  <a:pt x="3692" y="3746"/>
                </a:lnTo>
                <a:lnTo>
                  <a:pt x="3701" y="3751"/>
                </a:lnTo>
                <a:lnTo>
                  <a:pt x="3712" y="3756"/>
                </a:lnTo>
                <a:lnTo>
                  <a:pt x="3725" y="3760"/>
                </a:lnTo>
                <a:lnTo>
                  <a:pt x="3755" y="3770"/>
                </a:lnTo>
                <a:lnTo>
                  <a:pt x="3787" y="3779"/>
                </a:lnTo>
                <a:lnTo>
                  <a:pt x="3818" y="3786"/>
                </a:lnTo>
                <a:lnTo>
                  <a:pt x="3852" y="3793"/>
                </a:lnTo>
                <a:lnTo>
                  <a:pt x="3884" y="3800"/>
                </a:lnTo>
                <a:lnTo>
                  <a:pt x="3916" y="3806"/>
                </a:lnTo>
                <a:lnTo>
                  <a:pt x="3948" y="3811"/>
                </a:lnTo>
                <a:lnTo>
                  <a:pt x="3981" y="3816"/>
                </a:lnTo>
                <a:lnTo>
                  <a:pt x="3994" y="3818"/>
                </a:lnTo>
                <a:lnTo>
                  <a:pt x="4006" y="3819"/>
                </a:lnTo>
                <a:lnTo>
                  <a:pt x="4017" y="3819"/>
                </a:lnTo>
                <a:lnTo>
                  <a:pt x="4028" y="3819"/>
                </a:lnTo>
                <a:lnTo>
                  <a:pt x="4049" y="3817"/>
                </a:lnTo>
                <a:lnTo>
                  <a:pt x="4069" y="3814"/>
                </a:lnTo>
                <a:lnTo>
                  <a:pt x="4088" y="3811"/>
                </a:lnTo>
                <a:lnTo>
                  <a:pt x="4109" y="3807"/>
                </a:lnTo>
                <a:lnTo>
                  <a:pt x="4129" y="3805"/>
                </a:lnTo>
                <a:lnTo>
                  <a:pt x="4150" y="3804"/>
                </a:lnTo>
                <a:lnTo>
                  <a:pt x="4152" y="3801"/>
                </a:lnTo>
                <a:lnTo>
                  <a:pt x="4156" y="3798"/>
                </a:lnTo>
                <a:lnTo>
                  <a:pt x="4163" y="3794"/>
                </a:lnTo>
                <a:lnTo>
                  <a:pt x="4171" y="3788"/>
                </a:lnTo>
                <a:lnTo>
                  <a:pt x="4190" y="3777"/>
                </a:lnTo>
                <a:lnTo>
                  <a:pt x="4210" y="3764"/>
                </a:lnTo>
                <a:lnTo>
                  <a:pt x="4218" y="3757"/>
                </a:lnTo>
                <a:lnTo>
                  <a:pt x="4225" y="3751"/>
                </a:lnTo>
                <a:lnTo>
                  <a:pt x="4227" y="3748"/>
                </a:lnTo>
                <a:lnTo>
                  <a:pt x="4229" y="3746"/>
                </a:lnTo>
                <a:lnTo>
                  <a:pt x="4230" y="3743"/>
                </a:lnTo>
                <a:lnTo>
                  <a:pt x="4230" y="3741"/>
                </a:lnTo>
                <a:lnTo>
                  <a:pt x="4229" y="3738"/>
                </a:lnTo>
                <a:lnTo>
                  <a:pt x="4227" y="3736"/>
                </a:lnTo>
                <a:lnTo>
                  <a:pt x="4225" y="3735"/>
                </a:lnTo>
                <a:lnTo>
                  <a:pt x="4220" y="3733"/>
                </a:lnTo>
                <a:lnTo>
                  <a:pt x="4209" y="3731"/>
                </a:lnTo>
                <a:lnTo>
                  <a:pt x="4193" y="3730"/>
                </a:lnTo>
                <a:lnTo>
                  <a:pt x="4195" y="3720"/>
                </a:lnTo>
                <a:lnTo>
                  <a:pt x="4196" y="3710"/>
                </a:lnTo>
                <a:lnTo>
                  <a:pt x="4196" y="3701"/>
                </a:lnTo>
                <a:lnTo>
                  <a:pt x="4196" y="3694"/>
                </a:lnTo>
                <a:lnTo>
                  <a:pt x="4194" y="3687"/>
                </a:lnTo>
                <a:lnTo>
                  <a:pt x="4192" y="3681"/>
                </a:lnTo>
                <a:lnTo>
                  <a:pt x="4188" y="3676"/>
                </a:lnTo>
                <a:lnTo>
                  <a:pt x="4184" y="3671"/>
                </a:lnTo>
                <a:lnTo>
                  <a:pt x="4179" y="3668"/>
                </a:lnTo>
                <a:lnTo>
                  <a:pt x="4173" y="3664"/>
                </a:lnTo>
                <a:lnTo>
                  <a:pt x="4166" y="3662"/>
                </a:lnTo>
                <a:lnTo>
                  <a:pt x="4158" y="3660"/>
                </a:lnTo>
                <a:lnTo>
                  <a:pt x="4140" y="3657"/>
                </a:lnTo>
                <a:lnTo>
                  <a:pt x="4119" y="3656"/>
                </a:lnTo>
                <a:lnTo>
                  <a:pt x="4120" y="3651"/>
                </a:lnTo>
                <a:lnTo>
                  <a:pt x="4121" y="3646"/>
                </a:lnTo>
                <a:lnTo>
                  <a:pt x="4124" y="3641"/>
                </a:lnTo>
                <a:lnTo>
                  <a:pt x="4127" y="3637"/>
                </a:lnTo>
                <a:lnTo>
                  <a:pt x="4131" y="3634"/>
                </a:lnTo>
                <a:lnTo>
                  <a:pt x="4135" y="3631"/>
                </a:lnTo>
                <a:lnTo>
                  <a:pt x="4140" y="3629"/>
                </a:lnTo>
                <a:lnTo>
                  <a:pt x="4146" y="3627"/>
                </a:lnTo>
                <a:lnTo>
                  <a:pt x="4158" y="3624"/>
                </a:lnTo>
                <a:lnTo>
                  <a:pt x="4172" y="3622"/>
                </a:lnTo>
                <a:lnTo>
                  <a:pt x="4187" y="3622"/>
                </a:lnTo>
                <a:lnTo>
                  <a:pt x="4204" y="3622"/>
                </a:lnTo>
                <a:lnTo>
                  <a:pt x="4239" y="3625"/>
                </a:lnTo>
                <a:lnTo>
                  <a:pt x="4273" y="3629"/>
                </a:lnTo>
                <a:lnTo>
                  <a:pt x="4304" y="3633"/>
                </a:lnTo>
                <a:lnTo>
                  <a:pt x="4330" y="3635"/>
                </a:lnTo>
                <a:lnTo>
                  <a:pt x="4337" y="3621"/>
                </a:lnTo>
                <a:lnTo>
                  <a:pt x="4343" y="3610"/>
                </a:lnTo>
                <a:lnTo>
                  <a:pt x="4348" y="3600"/>
                </a:lnTo>
                <a:lnTo>
                  <a:pt x="4351" y="3590"/>
                </a:lnTo>
                <a:lnTo>
                  <a:pt x="4352" y="3582"/>
                </a:lnTo>
                <a:lnTo>
                  <a:pt x="4353" y="3575"/>
                </a:lnTo>
                <a:lnTo>
                  <a:pt x="4354" y="3569"/>
                </a:lnTo>
                <a:lnTo>
                  <a:pt x="4354" y="3562"/>
                </a:lnTo>
                <a:lnTo>
                  <a:pt x="4354" y="3550"/>
                </a:lnTo>
                <a:lnTo>
                  <a:pt x="4355" y="3536"/>
                </a:lnTo>
                <a:lnTo>
                  <a:pt x="4358" y="3528"/>
                </a:lnTo>
                <a:lnTo>
                  <a:pt x="4361" y="3519"/>
                </a:lnTo>
                <a:lnTo>
                  <a:pt x="4366" y="3508"/>
                </a:lnTo>
                <a:lnTo>
                  <a:pt x="4372" y="3496"/>
                </a:lnTo>
                <a:lnTo>
                  <a:pt x="4377" y="3489"/>
                </a:lnTo>
                <a:lnTo>
                  <a:pt x="4381" y="3482"/>
                </a:lnTo>
                <a:lnTo>
                  <a:pt x="4386" y="3476"/>
                </a:lnTo>
                <a:lnTo>
                  <a:pt x="4391" y="3471"/>
                </a:lnTo>
                <a:lnTo>
                  <a:pt x="4400" y="3462"/>
                </a:lnTo>
                <a:lnTo>
                  <a:pt x="4410" y="3456"/>
                </a:lnTo>
                <a:lnTo>
                  <a:pt x="4419" y="3452"/>
                </a:lnTo>
                <a:lnTo>
                  <a:pt x="4428" y="3450"/>
                </a:lnTo>
                <a:lnTo>
                  <a:pt x="4438" y="3448"/>
                </a:lnTo>
                <a:lnTo>
                  <a:pt x="4447" y="3447"/>
                </a:lnTo>
                <a:lnTo>
                  <a:pt x="4456" y="3446"/>
                </a:lnTo>
                <a:lnTo>
                  <a:pt x="4465" y="3445"/>
                </a:lnTo>
                <a:lnTo>
                  <a:pt x="4474" y="3443"/>
                </a:lnTo>
                <a:lnTo>
                  <a:pt x="4482" y="3439"/>
                </a:lnTo>
                <a:lnTo>
                  <a:pt x="4490" y="3434"/>
                </a:lnTo>
                <a:lnTo>
                  <a:pt x="4497" y="3426"/>
                </a:lnTo>
                <a:lnTo>
                  <a:pt x="4504" y="3416"/>
                </a:lnTo>
                <a:lnTo>
                  <a:pt x="4510" y="3402"/>
                </a:lnTo>
                <a:lnTo>
                  <a:pt x="4528" y="3409"/>
                </a:lnTo>
                <a:lnTo>
                  <a:pt x="4544" y="3418"/>
                </a:lnTo>
                <a:lnTo>
                  <a:pt x="4553" y="3422"/>
                </a:lnTo>
                <a:lnTo>
                  <a:pt x="4560" y="3427"/>
                </a:lnTo>
                <a:lnTo>
                  <a:pt x="4568" y="3433"/>
                </a:lnTo>
                <a:lnTo>
                  <a:pt x="4575" y="3438"/>
                </a:lnTo>
                <a:lnTo>
                  <a:pt x="4582" y="3445"/>
                </a:lnTo>
                <a:lnTo>
                  <a:pt x="4588" y="3452"/>
                </a:lnTo>
                <a:lnTo>
                  <a:pt x="4594" y="3459"/>
                </a:lnTo>
                <a:lnTo>
                  <a:pt x="4600" y="3468"/>
                </a:lnTo>
                <a:lnTo>
                  <a:pt x="4605" y="3477"/>
                </a:lnTo>
                <a:lnTo>
                  <a:pt x="4609" y="3486"/>
                </a:lnTo>
                <a:lnTo>
                  <a:pt x="4613" y="3497"/>
                </a:lnTo>
                <a:lnTo>
                  <a:pt x="4616" y="3508"/>
                </a:lnTo>
                <a:lnTo>
                  <a:pt x="4625" y="3516"/>
                </a:lnTo>
                <a:lnTo>
                  <a:pt x="4637" y="3530"/>
                </a:lnTo>
                <a:lnTo>
                  <a:pt x="4652" y="3547"/>
                </a:lnTo>
                <a:lnTo>
                  <a:pt x="4668" y="3567"/>
                </a:lnTo>
                <a:lnTo>
                  <a:pt x="4687" y="3589"/>
                </a:lnTo>
                <a:lnTo>
                  <a:pt x="4706" y="3612"/>
                </a:lnTo>
                <a:lnTo>
                  <a:pt x="4727" y="3634"/>
                </a:lnTo>
                <a:lnTo>
                  <a:pt x="4747" y="3654"/>
                </a:lnTo>
                <a:lnTo>
                  <a:pt x="4757" y="3663"/>
                </a:lnTo>
                <a:lnTo>
                  <a:pt x="4766" y="3671"/>
                </a:lnTo>
                <a:lnTo>
                  <a:pt x="4776" y="3678"/>
                </a:lnTo>
                <a:lnTo>
                  <a:pt x="4785" y="3685"/>
                </a:lnTo>
                <a:lnTo>
                  <a:pt x="4794" y="3690"/>
                </a:lnTo>
                <a:lnTo>
                  <a:pt x="4802" y="3693"/>
                </a:lnTo>
                <a:lnTo>
                  <a:pt x="4810" y="3695"/>
                </a:lnTo>
                <a:lnTo>
                  <a:pt x="4817" y="3696"/>
                </a:lnTo>
                <a:lnTo>
                  <a:pt x="4824" y="3694"/>
                </a:lnTo>
                <a:lnTo>
                  <a:pt x="4830" y="3691"/>
                </a:lnTo>
                <a:lnTo>
                  <a:pt x="4835" y="3686"/>
                </a:lnTo>
                <a:lnTo>
                  <a:pt x="4840" y="3678"/>
                </a:lnTo>
                <a:lnTo>
                  <a:pt x="4843" y="3669"/>
                </a:lnTo>
                <a:lnTo>
                  <a:pt x="4846" y="3656"/>
                </a:lnTo>
                <a:lnTo>
                  <a:pt x="4848" y="3642"/>
                </a:lnTo>
                <a:lnTo>
                  <a:pt x="4848" y="3624"/>
                </a:lnTo>
                <a:lnTo>
                  <a:pt x="4856" y="3627"/>
                </a:lnTo>
                <a:lnTo>
                  <a:pt x="4862" y="3630"/>
                </a:lnTo>
                <a:lnTo>
                  <a:pt x="4868" y="3633"/>
                </a:lnTo>
                <a:lnTo>
                  <a:pt x="4873" y="3637"/>
                </a:lnTo>
                <a:lnTo>
                  <a:pt x="4884" y="3647"/>
                </a:lnTo>
                <a:lnTo>
                  <a:pt x="4895" y="3659"/>
                </a:lnTo>
                <a:lnTo>
                  <a:pt x="4904" y="3672"/>
                </a:lnTo>
                <a:lnTo>
                  <a:pt x="4912" y="3686"/>
                </a:lnTo>
                <a:lnTo>
                  <a:pt x="4920" y="3702"/>
                </a:lnTo>
                <a:lnTo>
                  <a:pt x="4927" y="3719"/>
                </a:lnTo>
                <a:lnTo>
                  <a:pt x="4933" y="3735"/>
                </a:lnTo>
                <a:lnTo>
                  <a:pt x="4939" y="3752"/>
                </a:lnTo>
                <a:lnTo>
                  <a:pt x="4943" y="3769"/>
                </a:lnTo>
                <a:lnTo>
                  <a:pt x="4947" y="3786"/>
                </a:lnTo>
                <a:lnTo>
                  <a:pt x="4950" y="3802"/>
                </a:lnTo>
                <a:lnTo>
                  <a:pt x="4952" y="3818"/>
                </a:lnTo>
                <a:lnTo>
                  <a:pt x="4953" y="3833"/>
                </a:lnTo>
                <a:lnTo>
                  <a:pt x="4954" y="3847"/>
                </a:lnTo>
                <a:lnTo>
                  <a:pt x="4966" y="3845"/>
                </a:lnTo>
                <a:lnTo>
                  <a:pt x="4976" y="3842"/>
                </a:lnTo>
                <a:lnTo>
                  <a:pt x="4987" y="3839"/>
                </a:lnTo>
                <a:lnTo>
                  <a:pt x="4997" y="3836"/>
                </a:lnTo>
                <a:lnTo>
                  <a:pt x="5006" y="3832"/>
                </a:lnTo>
                <a:lnTo>
                  <a:pt x="5014" y="3828"/>
                </a:lnTo>
                <a:lnTo>
                  <a:pt x="5022" y="3824"/>
                </a:lnTo>
                <a:lnTo>
                  <a:pt x="5029" y="3819"/>
                </a:lnTo>
                <a:lnTo>
                  <a:pt x="5036" y="3814"/>
                </a:lnTo>
                <a:lnTo>
                  <a:pt x="5042" y="3809"/>
                </a:lnTo>
                <a:lnTo>
                  <a:pt x="5048" y="3803"/>
                </a:lnTo>
                <a:lnTo>
                  <a:pt x="5054" y="3797"/>
                </a:lnTo>
                <a:lnTo>
                  <a:pt x="5063" y="3784"/>
                </a:lnTo>
                <a:lnTo>
                  <a:pt x="5070" y="3771"/>
                </a:lnTo>
                <a:lnTo>
                  <a:pt x="5077" y="3756"/>
                </a:lnTo>
                <a:lnTo>
                  <a:pt x="5082" y="3740"/>
                </a:lnTo>
                <a:lnTo>
                  <a:pt x="5085" y="3724"/>
                </a:lnTo>
                <a:lnTo>
                  <a:pt x="5088" y="3706"/>
                </a:lnTo>
                <a:lnTo>
                  <a:pt x="5090" y="3689"/>
                </a:lnTo>
                <a:lnTo>
                  <a:pt x="5091" y="3671"/>
                </a:lnTo>
                <a:lnTo>
                  <a:pt x="5092" y="3653"/>
                </a:lnTo>
                <a:lnTo>
                  <a:pt x="5092" y="3635"/>
                </a:lnTo>
                <a:lnTo>
                  <a:pt x="5096" y="3634"/>
                </a:lnTo>
                <a:lnTo>
                  <a:pt x="5100" y="3633"/>
                </a:lnTo>
                <a:lnTo>
                  <a:pt x="5102" y="3630"/>
                </a:lnTo>
                <a:lnTo>
                  <a:pt x="5102" y="3627"/>
                </a:lnTo>
                <a:lnTo>
                  <a:pt x="5102" y="3623"/>
                </a:lnTo>
                <a:lnTo>
                  <a:pt x="5101" y="3619"/>
                </a:lnTo>
                <a:lnTo>
                  <a:pt x="5099" y="3614"/>
                </a:lnTo>
                <a:lnTo>
                  <a:pt x="5097" y="3609"/>
                </a:lnTo>
                <a:lnTo>
                  <a:pt x="5092" y="3599"/>
                </a:lnTo>
                <a:lnTo>
                  <a:pt x="5087" y="3587"/>
                </a:lnTo>
                <a:lnTo>
                  <a:pt x="5083" y="3578"/>
                </a:lnTo>
                <a:lnTo>
                  <a:pt x="5081" y="3571"/>
                </a:lnTo>
                <a:lnTo>
                  <a:pt x="5090" y="3568"/>
                </a:lnTo>
                <a:lnTo>
                  <a:pt x="5099" y="3567"/>
                </a:lnTo>
                <a:lnTo>
                  <a:pt x="5109" y="3568"/>
                </a:lnTo>
                <a:lnTo>
                  <a:pt x="5118" y="3569"/>
                </a:lnTo>
                <a:lnTo>
                  <a:pt x="5136" y="3574"/>
                </a:lnTo>
                <a:lnTo>
                  <a:pt x="5152" y="3578"/>
                </a:lnTo>
                <a:lnTo>
                  <a:pt x="5159" y="3580"/>
                </a:lnTo>
                <a:lnTo>
                  <a:pt x="5166" y="3580"/>
                </a:lnTo>
                <a:lnTo>
                  <a:pt x="5172" y="3580"/>
                </a:lnTo>
                <a:lnTo>
                  <a:pt x="5177" y="3578"/>
                </a:lnTo>
                <a:lnTo>
                  <a:pt x="5179" y="3577"/>
                </a:lnTo>
                <a:lnTo>
                  <a:pt x="5181" y="3574"/>
                </a:lnTo>
                <a:lnTo>
                  <a:pt x="5183" y="3572"/>
                </a:lnTo>
                <a:lnTo>
                  <a:pt x="5185" y="3569"/>
                </a:lnTo>
                <a:lnTo>
                  <a:pt x="5186" y="3561"/>
                </a:lnTo>
                <a:lnTo>
                  <a:pt x="5187" y="3550"/>
                </a:lnTo>
                <a:lnTo>
                  <a:pt x="5191" y="3550"/>
                </a:lnTo>
                <a:lnTo>
                  <a:pt x="5194" y="3551"/>
                </a:lnTo>
                <a:lnTo>
                  <a:pt x="5197" y="3552"/>
                </a:lnTo>
                <a:lnTo>
                  <a:pt x="5199" y="3553"/>
                </a:lnTo>
                <a:lnTo>
                  <a:pt x="5203" y="3557"/>
                </a:lnTo>
                <a:lnTo>
                  <a:pt x="5205" y="3563"/>
                </a:lnTo>
                <a:lnTo>
                  <a:pt x="5207" y="3569"/>
                </a:lnTo>
                <a:lnTo>
                  <a:pt x="5208" y="3576"/>
                </a:lnTo>
                <a:lnTo>
                  <a:pt x="5208" y="3584"/>
                </a:lnTo>
                <a:lnTo>
                  <a:pt x="5208" y="3593"/>
                </a:lnTo>
                <a:lnTo>
                  <a:pt x="5220" y="3595"/>
                </a:lnTo>
                <a:lnTo>
                  <a:pt x="5233" y="3596"/>
                </a:lnTo>
                <a:lnTo>
                  <a:pt x="5244" y="3597"/>
                </a:lnTo>
                <a:lnTo>
                  <a:pt x="5254" y="3597"/>
                </a:lnTo>
                <a:lnTo>
                  <a:pt x="5274" y="3597"/>
                </a:lnTo>
                <a:lnTo>
                  <a:pt x="5292" y="3596"/>
                </a:lnTo>
                <a:lnTo>
                  <a:pt x="5309" y="3594"/>
                </a:lnTo>
                <a:lnTo>
                  <a:pt x="5326" y="3594"/>
                </a:lnTo>
                <a:lnTo>
                  <a:pt x="5333" y="3595"/>
                </a:lnTo>
                <a:lnTo>
                  <a:pt x="5341" y="3596"/>
                </a:lnTo>
                <a:lnTo>
                  <a:pt x="5349" y="3597"/>
                </a:lnTo>
                <a:lnTo>
                  <a:pt x="5357" y="3599"/>
                </a:lnTo>
                <a:lnTo>
                  <a:pt x="5360" y="3601"/>
                </a:lnTo>
                <a:lnTo>
                  <a:pt x="5362" y="3603"/>
                </a:lnTo>
                <a:lnTo>
                  <a:pt x="5364" y="3605"/>
                </a:lnTo>
                <a:lnTo>
                  <a:pt x="5366" y="3609"/>
                </a:lnTo>
                <a:lnTo>
                  <a:pt x="5369" y="3618"/>
                </a:lnTo>
                <a:lnTo>
                  <a:pt x="5371" y="3628"/>
                </a:lnTo>
                <a:lnTo>
                  <a:pt x="5372" y="3641"/>
                </a:lnTo>
                <a:lnTo>
                  <a:pt x="5373" y="3655"/>
                </a:lnTo>
                <a:lnTo>
                  <a:pt x="5373" y="3670"/>
                </a:lnTo>
                <a:lnTo>
                  <a:pt x="5373" y="3686"/>
                </a:lnTo>
                <a:lnTo>
                  <a:pt x="5371" y="3720"/>
                </a:lnTo>
                <a:lnTo>
                  <a:pt x="5367" y="3752"/>
                </a:lnTo>
                <a:lnTo>
                  <a:pt x="5363" y="3781"/>
                </a:lnTo>
                <a:lnTo>
                  <a:pt x="5358" y="3804"/>
                </a:lnTo>
                <a:lnTo>
                  <a:pt x="5356" y="3810"/>
                </a:lnTo>
                <a:lnTo>
                  <a:pt x="5353" y="3815"/>
                </a:lnTo>
                <a:lnTo>
                  <a:pt x="5350" y="3820"/>
                </a:lnTo>
                <a:lnTo>
                  <a:pt x="5347" y="3825"/>
                </a:lnTo>
                <a:lnTo>
                  <a:pt x="5339" y="3834"/>
                </a:lnTo>
                <a:lnTo>
                  <a:pt x="5329" y="3841"/>
                </a:lnTo>
                <a:lnTo>
                  <a:pt x="5318" y="3849"/>
                </a:lnTo>
                <a:lnTo>
                  <a:pt x="5307" y="3855"/>
                </a:lnTo>
                <a:lnTo>
                  <a:pt x="5295" y="3860"/>
                </a:lnTo>
                <a:lnTo>
                  <a:pt x="5282" y="3865"/>
                </a:lnTo>
                <a:lnTo>
                  <a:pt x="5259" y="3873"/>
                </a:lnTo>
                <a:lnTo>
                  <a:pt x="5239" y="3881"/>
                </a:lnTo>
                <a:lnTo>
                  <a:pt x="5231" y="3885"/>
                </a:lnTo>
                <a:lnTo>
                  <a:pt x="5224" y="3889"/>
                </a:lnTo>
                <a:lnTo>
                  <a:pt x="5222" y="3892"/>
                </a:lnTo>
                <a:lnTo>
                  <a:pt x="5220" y="3894"/>
                </a:lnTo>
                <a:lnTo>
                  <a:pt x="5219" y="3897"/>
                </a:lnTo>
                <a:lnTo>
                  <a:pt x="5219" y="3899"/>
                </a:lnTo>
                <a:lnTo>
                  <a:pt x="5207" y="3909"/>
                </a:lnTo>
                <a:lnTo>
                  <a:pt x="5198" y="3918"/>
                </a:lnTo>
                <a:lnTo>
                  <a:pt x="5191" y="3927"/>
                </a:lnTo>
                <a:lnTo>
                  <a:pt x="5186" y="3936"/>
                </a:lnTo>
                <a:lnTo>
                  <a:pt x="5183" y="3944"/>
                </a:lnTo>
                <a:lnTo>
                  <a:pt x="5183" y="3953"/>
                </a:lnTo>
                <a:lnTo>
                  <a:pt x="5184" y="3961"/>
                </a:lnTo>
                <a:lnTo>
                  <a:pt x="5186" y="3968"/>
                </a:lnTo>
                <a:lnTo>
                  <a:pt x="5191" y="3977"/>
                </a:lnTo>
                <a:lnTo>
                  <a:pt x="5196" y="3985"/>
                </a:lnTo>
                <a:lnTo>
                  <a:pt x="5204" y="3992"/>
                </a:lnTo>
                <a:lnTo>
                  <a:pt x="5212" y="3999"/>
                </a:lnTo>
                <a:lnTo>
                  <a:pt x="5221" y="4006"/>
                </a:lnTo>
                <a:lnTo>
                  <a:pt x="5232" y="4013"/>
                </a:lnTo>
                <a:lnTo>
                  <a:pt x="5243" y="4019"/>
                </a:lnTo>
                <a:lnTo>
                  <a:pt x="5255" y="4026"/>
                </a:lnTo>
                <a:lnTo>
                  <a:pt x="5306" y="4050"/>
                </a:lnTo>
                <a:lnTo>
                  <a:pt x="5358" y="4074"/>
                </a:lnTo>
                <a:lnTo>
                  <a:pt x="5382" y="4086"/>
                </a:lnTo>
                <a:lnTo>
                  <a:pt x="5402" y="4098"/>
                </a:lnTo>
                <a:lnTo>
                  <a:pt x="5411" y="4104"/>
                </a:lnTo>
                <a:lnTo>
                  <a:pt x="5419" y="4110"/>
                </a:lnTo>
                <a:lnTo>
                  <a:pt x="5425" y="4116"/>
                </a:lnTo>
                <a:lnTo>
                  <a:pt x="5431" y="4122"/>
                </a:lnTo>
                <a:lnTo>
                  <a:pt x="5417" y="4121"/>
                </a:lnTo>
                <a:lnTo>
                  <a:pt x="5397" y="4119"/>
                </a:lnTo>
                <a:lnTo>
                  <a:pt x="5375" y="4117"/>
                </a:lnTo>
                <a:lnTo>
                  <a:pt x="5351" y="4114"/>
                </a:lnTo>
                <a:lnTo>
                  <a:pt x="5329" y="4110"/>
                </a:lnTo>
                <a:lnTo>
                  <a:pt x="5310" y="4107"/>
                </a:lnTo>
                <a:lnTo>
                  <a:pt x="5303" y="4105"/>
                </a:lnTo>
                <a:lnTo>
                  <a:pt x="5298" y="4104"/>
                </a:lnTo>
                <a:lnTo>
                  <a:pt x="5294" y="4102"/>
                </a:lnTo>
                <a:lnTo>
                  <a:pt x="5293" y="4101"/>
                </a:lnTo>
                <a:lnTo>
                  <a:pt x="5279" y="4102"/>
                </a:lnTo>
                <a:lnTo>
                  <a:pt x="5263" y="4104"/>
                </a:lnTo>
                <a:lnTo>
                  <a:pt x="5246" y="4107"/>
                </a:lnTo>
                <a:lnTo>
                  <a:pt x="5226" y="4111"/>
                </a:lnTo>
                <a:lnTo>
                  <a:pt x="5185" y="4121"/>
                </a:lnTo>
                <a:lnTo>
                  <a:pt x="5142" y="4131"/>
                </a:lnTo>
                <a:lnTo>
                  <a:pt x="5121" y="4135"/>
                </a:lnTo>
                <a:lnTo>
                  <a:pt x="5099" y="4138"/>
                </a:lnTo>
                <a:lnTo>
                  <a:pt x="5079" y="4140"/>
                </a:lnTo>
                <a:lnTo>
                  <a:pt x="5059" y="4140"/>
                </a:lnTo>
                <a:lnTo>
                  <a:pt x="5050" y="4140"/>
                </a:lnTo>
                <a:lnTo>
                  <a:pt x="5041" y="4139"/>
                </a:lnTo>
                <a:lnTo>
                  <a:pt x="5033" y="4137"/>
                </a:lnTo>
                <a:lnTo>
                  <a:pt x="5025" y="4136"/>
                </a:lnTo>
                <a:lnTo>
                  <a:pt x="5017" y="4133"/>
                </a:lnTo>
                <a:lnTo>
                  <a:pt x="5010" y="4130"/>
                </a:lnTo>
                <a:lnTo>
                  <a:pt x="5003" y="4126"/>
                </a:lnTo>
                <a:lnTo>
                  <a:pt x="4997" y="4122"/>
                </a:lnTo>
                <a:lnTo>
                  <a:pt x="5005" y="4121"/>
                </a:lnTo>
                <a:lnTo>
                  <a:pt x="5013" y="4120"/>
                </a:lnTo>
                <a:lnTo>
                  <a:pt x="5020" y="4119"/>
                </a:lnTo>
                <a:lnTo>
                  <a:pt x="5027" y="4117"/>
                </a:lnTo>
                <a:lnTo>
                  <a:pt x="5033" y="4114"/>
                </a:lnTo>
                <a:lnTo>
                  <a:pt x="5039" y="4111"/>
                </a:lnTo>
                <a:lnTo>
                  <a:pt x="5045" y="4108"/>
                </a:lnTo>
                <a:lnTo>
                  <a:pt x="5051" y="4104"/>
                </a:lnTo>
                <a:lnTo>
                  <a:pt x="5062" y="4094"/>
                </a:lnTo>
                <a:lnTo>
                  <a:pt x="5071" y="4083"/>
                </a:lnTo>
                <a:lnTo>
                  <a:pt x="5080" y="4071"/>
                </a:lnTo>
                <a:lnTo>
                  <a:pt x="5087" y="4057"/>
                </a:lnTo>
                <a:lnTo>
                  <a:pt x="5094" y="4043"/>
                </a:lnTo>
                <a:lnTo>
                  <a:pt x="5100" y="4027"/>
                </a:lnTo>
                <a:lnTo>
                  <a:pt x="5106" y="4011"/>
                </a:lnTo>
                <a:lnTo>
                  <a:pt x="5111" y="3993"/>
                </a:lnTo>
                <a:lnTo>
                  <a:pt x="5115" y="3976"/>
                </a:lnTo>
                <a:lnTo>
                  <a:pt x="5119" y="3957"/>
                </a:lnTo>
                <a:lnTo>
                  <a:pt x="5122" y="3939"/>
                </a:lnTo>
                <a:lnTo>
                  <a:pt x="5124" y="3920"/>
                </a:lnTo>
                <a:lnTo>
                  <a:pt x="5109" y="3916"/>
                </a:lnTo>
                <a:lnTo>
                  <a:pt x="5093" y="3913"/>
                </a:lnTo>
                <a:lnTo>
                  <a:pt x="5078" y="3912"/>
                </a:lnTo>
                <a:lnTo>
                  <a:pt x="5063" y="3912"/>
                </a:lnTo>
                <a:lnTo>
                  <a:pt x="5048" y="3914"/>
                </a:lnTo>
                <a:lnTo>
                  <a:pt x="5034" y="3918"/>
                </a:lnTo>
                <a:lnTo>
                  <a:pt x="5020" y="3922"/>
                </a:lnTo>
                <a:lnTo>
                  <a:pt x="5006" y="3929"/>
                </a:lnTo>
                <a:lnTo>
                  <a:pt x="4993" y="3936"/>
                </a:lnTo>
                <a:lnTo>
                  <a:pt x="4981" y="3945"/>
                </a:lnTo>
                <a:lnTo>
                  <a:pt x="4969" y="3954"/>
                </a:lnTo>
                <a:lnTo>
                  <a:pt x="4958" y="3965"/>
                </a:lnTo>
                <a:lnTo>
                  <a:pt x="4949" y="3978"/>
                </a:lnTo>
                <a:lnTo>
                  <a:pt x="4941" y="3990"/>
                </a:lnTo>
                <a:lnTo>
                  <a:pt x="4935" y="4004"/>
                </a:lnTo>
                <a:lnTo>
                  <a:pt x="4930" y="4018"/>
                </a:lnTo>
                <a:lnTo>
                  <a:pt x="4926" y="4029"/>
                </a:lnTo>
                <a:lnTo>
                  <a:pt x="4922" y="4039"/>
                </a:lnTo>
                <a:lnTo>
                  <a:pt x="4918" y="4048"/>
                </a:lnTo>
                <a:lnTo>
                  <a:pt x="4914" y="4055"/>
                </a:lnTo>
                <a:lnTo>
                  <a:pt x="4909" y="4061"/>
                </a:lnTo>
                <a:lnTo>
                  <a:pt x="4905" y="4066"/>
                </a:lnTo>
                <a:lnTo>
                  <a:pt x="4900" y="4070"/>
                </a:lnTo>
                <a:lnTo>
                  <a:pt x="4895" y="4073"/>
                </a:lnTo>
                <a:lnTo>
                  <a:pt x="4889" y="4075"/>
                </a:lnTo>
                <a:lnTo>
                  <a:pt x="4884" y="4077"/>
                </a:lnTo>
                <a:lnTo>
                  <a:pt x="4879" y="4077"/>
                </a:lnTo>
                <a:lnTo>
                  <a:pt x="4873" y="4078"/>
                </a:lnTo>
                <a:lnTo>
                  <a:pt x="4862" y="4077"/>
                </a:lnTo>
                <a:lnTo>
                  <a:pt x="4849" y="4075"/>
                </a:lnTo>
                <a:lnTo>
                  <a:pt x="4837" y="4072"/>
                </a:lnTo>
                <a:lnTo>
                  <a:pt x="4825" y="4070"/>
                </a:lnTo>
                <a:lnTo>
                  <a:pt x="4814" y="4068"/>
                </a:lnTo>
                <a:lnTo>
                  <a:pt x="4803" y="4069"/>
                </a:lnTo>
                <a:lnTo>
                  <a:pt x="4797" y="4069"/>
                </a:lnTo>
                <a:lnTo>
                  <a:pt x="4792" y="4071"/>
                </a:lnTo>
                <a:lnTo>
                  <a:pt x="4787" y="4073"/>
                </a:lnTo>
                <a:lnTo>
                  <a:pt x="4782" y="4077"/>
                </a:lnTo>
                <a:lnTo>
                  <a:pt x="4777" y="4081"/>
                </a:lnTo>
                <a:lnTo>
                  <a:pt x="4773" y="4086"/>
                </a:lnTo>
                <a:lnTo>
                  <a:pt x="4768" y="4092"/>
                </a:lnTo>
                <a:lnTo>
                  <a:pt x="4764" y="4101"/>
                </a:lnTo>
                <a:lnTo>
                  <a:pt x="4752" y="4106"/>
                </a:lnTo>
                <a:lnTo>
                  <a:pt x="4731" y="4115"/>
                </a:lnTo>
                <a:lnTo>
                  <a:pt x="4703" y="4126"/>
                </a:lnTo>
                <a:lnTo>
                  <a:pt x="4673" y="4138"/>
                </a:lnTo>
                <a:lnTo>
                  <a:pt x="4644" y="4148"/>
                </a:lnTo>
                <a:lnTo>
                  <a:pt x="4619" y="4156"/>
                </a:lnTo>
                <a:lnTo>
                  <a:pt x="4609" y="4157"/>
                </a:lnTo>
                <a:lnTo>
                  <a:pt x="4602" y="4158"/>
                </a:lnTo>
                <a:lnTo>
                  <a:pt x="4598" y="4157"/>
                </a:lnTo>
                <a:lnTo>
                  <a:pt x="4596" y="4156"/>
                </a:lnTo>
                <a:lnTo>
                  <a:pt x="4595" y="4155"/>
                </a:lnTo>
                <a:lnTo>
                  <a:pt x="4594" y="4153"/>
                </a:lnTo>
                <a:lnTo>
                  <a:pt x="4579" y="4156"/>
                </a:lnTo>
                <a:lnTo>
                  <a:pt x="4565" y="4159"/>
                </a:lnTo>
                <a:lnTo>
                  <a:pt x="4552" y="4163"/>
                </a:lnTo>
                <a:lnTo>
                  <a:pt x="4540" y="4168"/>
                </a:lnTo>
                <a:lnTo>
                  <a:pt x="4529" y="4173"/>
                </a:lnTo>
                <a:lnTo>
                  <a:pt x="4519" y="4179"/>
                </a:lnTo>
                <a:lnTo>
                  <a:pt x="4511" y="4185"/>
                </a:lnTo>
                <a:lnTo>
                  <a:pt x="4503" y="4192"/>
                </a:lnTo>
                <a:lnTo>
                  <a:pt x="4496" y="4200"/>
                </a:lnTo>
                <a:lnTo>
                  <a:pt x="4490" y="4208"/>
                </a:lnTo>
                <a:lnTo>
                  <a:pt x="4484" y="4216"/>
                </a:lnTo>
                <a:lnTo>
                  <a:pt x="4480" y="4227"/>
                </a:lnTo>
                <a:lnTo>
                  <a:pt x="4476" y="4236"/>
                </a:lnTo>
                <a:lnTo>
                  <a:pt x="4471" y="4246"/>
                </a:lnTo>
                <a:lnTo>
                  <a:pt x="4469" y="4256"/>
                </a:lnTo>
                <a:lnTo>
                  <a:pt x="4466" y="4267"/>
                </a:lnTo>
                <a:lnTo>
                  <a:pt x="4464" y="4290"/>
                </a:lnTo>
                <a:lnTo>
                  <a:pt x="4462" y="4314"/>
                </a:lnTo>
                <a:lnTo>
                  <a:pt x="4462" y="4340"/>
                </a:lnTo>
                <a:lnTo>
                  <a:pt x="4463" y="4367"/>
                </a:lnTo>
                <a:lnTo>
                  <a:pt x="4466" y="4423"/>
                </a:lnTo>
                <a:lnTo>
                  <a:pt x="4467" y="4482"/>
                </a:lnTo>
                <a:lnTo>
                  <a:pt x="4482" y="4490"/>
                </a:lnTo>
                <a:lnTo>
                  <a:pt x="4497" y="4500"/>
                </a:lnTo>
                <a:lnTo>
                  <a:pt x="4512" y="4512"/>
                </a:lnTo>
                <a:lnTo>
                  <a:pt x="4529" y="4524"/>
                </a:lnTo>
                <a:lnTo>
                  <a:pt x="4546" y="4538"/>
                </a:lnTo>
                <a:lnTo>
                  <a:pt x="4563" y="4552"/>
                </a:lnTo>
                <a:lnTo>
                  <a:pt x="4580" y="4568"/>
                </a:lnTo>
                <a:lnTo>
                  <a:pt x="4596" y="4583"/>
                </a:lnTo>
                <a:lnTo>
                  <a:pt x="4612" y="4600"/>
                </a:lnTo>
                <a:lnTo>
                  <a:pt x="4626" y="4616"/>
                </a:lnTo>
                <a:lnTo>
                  <a:pt x="4639" y="4632"/>
                </a:lnTo>
                <a:lnTo>
                  <a:pt x="4650" y="4647"/>
                </a:lnTo>
                <a:lnTo>
                  <a:pt x="4658" y="4663"/>
                </a:lnTo>
                <a:lnTo>
                  <a:pt x="4665" y="4677"/>
                </a:lnTo>
                <a:lnTo>
                  <a:pt x="4667" y="4684"/>
                </a:lnTo>
                <a:lnTo>
                  <a:pt x="4668" y="4691"/>
                </a:lnTo>
                <a:lnTo>
                  <a:pt x="4669" y="4697"/>
                </a:lnTo>
                <a:lnTo>
                  <a:pt x="4669" y="4703"/>
                </a:lnTo>
                <a:lnTo>
                  <a:pt x="4722" y="4713"/>
                </a:lnTo>
                <a:lnTo>
                  <a:pt x="4769" y="4722"/>
                </a:lnTo>
                <a:lnTo>
                  <a:pt x="4810" y="4731"/>
                </a:lnTo>
                <a:lnTo>
                  <a:pt x="4849" y="4738"/>
                </a:lnTo>
                <a:lnTo>
                  <a:pt x="4887" y="4746"/>
                </a:lnTo>
                <a:lnTo>
                  <a:pt x="4926" y="4753"/>
                </a:lnTo>
                <a:lnTo>
                  <a:pt x="4969" y="4760"/>
                </a:lnTo>
                <a:lnTo>
                  <a:pt x="5018" y="4767"/>
                </a:lnTo>
                <a:lnTo>
                  <a:pt x="5021" y="4771"/>
                </a:lnTo>
                <a:lnTo>
                  <a:pt x="5024" y="4776"/>
                </a:lnTo>
                <a:lnTo>
                  <a:pt x="5028" y="4780"/>
                </a:lnTo>
                <a:lnTo>
                  <a:pt x="5032" y="4784"/>
                </a:lnTo>
                <a:lnTo>
                  <a:pt x="5043" y="4791"/>
                </a:lnTo>
                <a:lnTo>
                  <a:pt x="5054" y="4798"/>
                </a:lnTo>
                <a:lnTo>
                  <a:pt x="5067" y="4805"/>
                </a:lnTo>
                <a:lnTo>
                  <a:pt x="5079" y="4811"/>
                </a:lnTo>
                <a:lnTo>
                  <a:pt x="5091" y="4815"/>
                </a:lnTo>
                <a:lnTo>
                  <a:pt x="5102" y="4819"/>
                </a:lnTo>
                <a:lnTo>
                  <a:pt x="5104" y="4827"/>
                </a:lnTo>
                <a:lnTo>
                  <a:pt x="5104" y="4835"/>
                </a:lnTo>
                <a:lnTo>
                  <a:pt x="5105" y="4842"/>
                </a:lnTo>
                <a:lnTo>
                  <a:pt x="5107" y="4848"/>
                </a:lnTo>
                <a:lnTo>
                  <a:pt x="5109" y="4855"/>
                </a:lnTo>
                <a:lnTo>
                  <a:pt x="5111" y="4861"/>
                </a:lnTo>
                <a:lnTo>
                  <a:pt x="5114" y="4865"/>
                </a:lnTo>
                <a:lnTo>
                  <a:pt x="5117" y="4870"/>
                </a:lnTo>
                <a:lnTo>
                  <a:pt x="5121" y="4874"/>
                </a:lnTo>
                <a:lnTo>
                  <a:pt x="5125" y="4877"/>
                </a:lnTo>
                <a:lnTo>
                  <a:pt x="5129" y="4880"/>
                </a:lnTo>
                <a:lnTo>
                  <a:pt x="5133" y="4883"/>
                </a:lnTo>
                <a:lnTo>
                  <a:pt x="5143" y="4888"/>
                </a:lnTo>
                <a:lnTo>
                  <a:pt x="5154" y="4891"/>
                </a:lnTo>
                <a:lnTo>
                  <a:pt x="5165" y="4893"/>
                </a:lnTo>
                <a:lnTo>
                  <a:pt x="5178" y="4895"/>
                </a:lnTo>
                <a:lnTo>
                  <a:pt x="5191" y="4895"/>
                </a:lnTo>
                <a:lnTo>
                  <a:pt x="5204" y="4895"/>
                </a:lnTo>
                <a:lnTo>
                  <a:pt x="5233" y="4895"/>
                </a:lnTo>
                <a:lnTo>
                  <a:pt x="5262" y="4894"/>
                </a:lnTo>
                <a:lnTo>
                  <a:pt x="5262" y="4884"/>
                </a:lnTo>
                <a:lnTo>
                  <a:pt x="5263" y="4876"/>
                </a:lnTo>
                <a:lnTo>
                  <a:pt x="5265" y="4870"/>
                </a:lnTo>
                <a:lnTo>
                  <a:pt x="5267" y="4865"/>
                </a:lnTo>
                <a:lnTo>
                  <a:pt x="5270" y="4862"/>
                </a:lnTo>
                <a:lnTo>
                  <a:pt x="5274" y="4861"/>
                </a:lnTo>
                <a:lnTo>
                  <a:pt x="5278" y="4860"/>
                </a:lnTo>
                <a:lnTo>
                  <a:pt x="5283" y="4861"/>
                </a:lnTo>
                <a:lnTo>
                  <a:pt x="5288" y="4863"/>
                </a:lnTo>
                <a:lnTo>
                  <a:pt x="5293" y="4867"/>
                </a:lnTo>
                <a:lnTo>
                  <a:pt x="5299" y="4871"/>
                </a:lnTo>
                <a:lnTo>
                  <a:pt x="5305" y="4876"/>
                </a:lnTo>
                <a:lnTo>
                  <a:pt x="5317" y="4889"/>
                </a:lnTo>
                <a:lnTo>
                  <a:pt x="5330" y="4904"/>
                </a:lnTo>
                <a:lnTo>
                  <a:pt x="5343" y="4921"/>
                </a:lnTo>
                <a:lnTo>
                  <a:pt x="5357" y="4939"/>
                </a:lnTo>
                <a:lnTo>
                  <a:pt x="5370" y="4958"/>
                </a:lnTo>
                <a:lnTo>
                  <a:pt x="5381" y="4976"/>
                </a:lnTo>
                <a:lnTo>
                  <a:pt x="5391" y="4994"/>
                </a:lnTo>
                <a:lnTo>
                  <a:pt x="5399" y="5009"/>
                </a:lnTo>
                <a:lnTo>
                  <a:pt x="5406" y="5022"/>
                </a:lnTo>
                <a:lnTo>
                  <a:pt x="5410" y="5032"/>
                </a:lnTo>
                <a:lnTo>
                  <a:pt x="5408" y="5032"/>
                </a:lnTo>
                <a:lnTo>
                  <a:pt x="5407" y="5033"/>
                </a:lnTo>
                <a:lnTo>
                  <a:pt x="5406" y="5034"/>
                </a:lnTo>
                <a:lnTo>
                  <a:pt x="5406" y="5037"/>
                </a:lnTo>
                <a:lnTo>
                  <a:pt x="5406" y="5043"/>
                </a:lnTo>
                <a:lnTo>
                  <a:pt x="5407" y="5051"/>
                </a:lnTo>
                <a:lnTo>
                  <a:pt x="5412" y="5071"/>
                </a:lnTo>
                <a:lnTo>
                  <a:pt x="5420" y="5095"/>
                </a:lnTo>
                <a:lnTo>
                  <a:pt x="5429" y="5123"/>
                </a:lnTo>
                <a:lnTo>
                  <a:pt x="5438" y="5149"/>
                </a:lnTo>
                <a:lnTo>
                  <a:pt x="5446" y="5172"/>
                </a:lnTo>
                <a:lnTo>
                  <a:pt x="5451" y="5190"/>
                </a:lnTo>
                <a:lnTo>
                  <a:pt x="5444" y="5188"/>
                </a:lnTo>
                <a:lnTo>
                  <a:pt x="5438" y="5188"/>
                </a:lnTo>
                <a:lnTo>
                  <a:pt x="5434" y="5188"/>
                </a:lnTo>
                <a:lnTo>
                  <a:pt x="5431" y="5190"/>
                </a:lnTo>
                <a:lnTo>
                  <a:pt x="5429" y="5194"/>
                </a:lnTo>
                <a:lnTo>
                  <a:pt x="5428" y="5198"/>
                </a:lnTo>
                <a:lnTo>
                  <a:pt x="5429" y="5204"/>
                </a:lnTo>
                <a:lnTo>
                  <a:pt x="5431" y="5211"/>
                </a:lnTo>
                <a:lnTo>
                  <a:pt x="5443" y="5216"/>
                </a:lnTo>
                <a:lnTo>
                  <a:pt x="5457" y="5219"/>
                </a:lnTo>
                <a:lnTo>
                  <a:pt x="5471" y="5222"/>
                </a:lnTo>
                <a:lnTo>
                  <a:pt x="5487" y="5223"/>
                </a:lnTo>
                <a:lnTo>
                  <a:pt x="5501" y="5224"/>
                </a:lnTo>
                <a:lnTo>
                  <a:pt x="5516" y="5224"/>
                </a:lnTo>
                <a:lnTo>
                  <a:pt x="5530" y="5223"/>
                </a:lnTo>
                <a:lnTo>
                  <a:pt x="5544" y="5221"/>
                </a:lnTo>
                <a:lnTo>
                  <a:pt x="5558" y="5217"/>
                </a:lnTo>
                <a:lnTo>
                  <a:pt x="5571" y="5213"/>
                </a:lnTo>
                <a:lnTo>
                  <a:pt x="5582" y="5207"/>
                </a:lnTo>
                <a:lnTo>
                  <a:pt x="5593" y="5200"/>
                </a:lnTo>
                <a:lnTo>
                  <a:pt x="5598" y="5196"/>
                </a:lnTo>
                <a:lnTo>
                  <a:pt x="5602" y="5192"/>
                </a:lnTo>
                <a:lnTo>
                  <a:pt x="5608" y="5187"/>
                </a:lnTo>
                <a:lnTo>
                  <a:pt x="5611" y="5182"/>
                </a:lnTo>
                <a:lnTo>
                  <a:pt x="5615" y="5177"/>
                </a:lnTo>
                <a:lnTo>
                  <a:pt x="5617" y="5171"/>
                </a:lnTo>
                <a:lnTo>
                  <a:pt x="5620" y="5165"/>
                </a:lnTo>
                <a:lnTo>
                  <a:pt x="5622" y="5159"/>
                </a:lnTo>
                <a:lnTo>
                  <a:pt x="5611" y="5158"/>
                </a:lnTo>
                <a:lnTo>
                  <a:pt x="5600" y="5155"/>
                </a:lnTo>
                <a:lnTo>
                  <a:pt x="5593" y="5152"/>
                </a:lnTo>
                <a:lnTo>
                  <a:pt x="5587" y="5147"/>
                </a:lnTo>
                <a:lnTo>
                  <a:pt x="5583" y="5140"/>
                </a:lnTo>
                <a:lnTo>
                  <a:pt x="5579" y="5133"/>
                </a:lnTo>
                <a:lnTo>
                  <a:pt x="5577" y="5125"/>
                </a:lnTo>
                <a:lnTo>
                  <a:pt x="5576" y="5117"/>
                </a:lnTo>
                <a:lnTo>
                  <a:pt x="5576" y="5078"/>
                </a:lnTo>
                <a:lnTo>
                  <a:pt x="5579" y="5042"/>
                </a:lnTo>
                <a:lnTo>
                  <a:pt x="5567" y="5033"/>
                </a:lnTo>
                <a:lnTo>
                  <a:pt x="5557" y="5024"/>
                </a:lnTo>
                <a:lnTo>
                  <a:pt x="5549" y="5014"/>
                </a:lnTo>
                <a:lnTo>
                  <a:pt x="5543" y="5003"/>
                </a:lnTo>
                <a:lnTo>
                  <a:pt x="5539" y="4992"/>
                </a:lnTo>
                <a:lnTo>
                  <a:pt x="5536" y="4981"/>
                </a:lnTo>
                <a:lnTo>
                  <a:pt x="5534" y="4969"/>
                </a:lnTo>
                <a:lnTo>
                  <a:pt x="5534" y="4958"/>
                </a:lnTo>
                <a:lnTo>
                  <a:pt x="5536" y="4947"/>
                </a:lnTo>
                <a:lnTo>
                  <a:pt x="5539" y="4937"/>
                </a:lnTo>
                <a:lnTo>
                  <a:pt x="5544" y="4928"/>
                </a:lnTo>
                <a:lnTo>
                  <a:pt x="5550" y="4919"/>
                </a:lnTo>
                <a:lnTo>
                  <a:pt x="5558" y="4911"/>
                </a:lnTo>
                <a:lnTo>
                  <a:pt x="5567" y="4904"/>
                </a:lnTo>
                <a:lnTo>
                  <a:pt x="5577" y="4899"/>
                </a:lnTo>
                <a:lnTo>
                  <a:pt x="5589" y="4894"/>
                </a:lnTo>
                <a:lnTo>
                  <a:pt x="5590" y="4899"/>
                </a:lnTo>
                <a:lnTo>
                  <a:pt x="5592" y="4904"/>
                </a:lnTo>
                <a:lnTo>
                  <a:pt x="5594" y="4907"/>
                </a:lnTo>
                <a:lnTo>
                  <a:pt x="5598" y="4910"/>
                </a:lnTo>
                <a:lnTo>
                  <a:pt x="5603" y="4912"/>
                </a:lnTo>
                <a:lnTo>
                  <a:pt x="5609" y="4913"/>
                </a:lnTo>
                <a:lnTo>
                  <a:pt x="5615" y="4913"/>
                </a:lnTo>
                <a:lnTo>
                  <a:pt x="5622" y="4913"/>
                </a:lnTo>
                <a:lnTo>
                  <a:pt x="5637" y="4911"/>
                </a:lnTo>
                <a:lnTo>
                  <a:pt x="5652" y="4906"/>
                </a:lnTo>
                <a:lnTo>
                  <a:pt x="5668" y="4900"/>
                </a:lnTo>
                <a:lnTo>
                  <a:pt x="5683" y="4892"/>
                </a:lnTo>
                <a:lnTo>
                  <a:pt x="5690" y="4888"/>
                </a:lnTo>
                <a:lnTo>
                  <a:pt x="5697" y="4883"/>
                </a:lnTo>
                <a:lnTo>
                  <a:pt x="5703" y="4878"/>
                </a:lnTo>
                <a:lnTo>
                  <a:pt x="5708" y="4873"/>
                </a:lnTo>
                <a:lnTo>
                  <a:pt x="5713" y="4868"/>
                </a:lnTo>
                <a:lnTo>
                  <a:pt x="5717" y="4862"/>
                </a:lnTo>
                <a:lnTo>
                  <a:pt x="5719" y="4857"/>
                </a:lnTo>
                <a:lnTo>
                  <a:pt x="5721" y="4852"/>
                </a:lnTo>
                <a:lnTo>
                  <a:pt x="5722" y="4845"/>
                </a:lnTo>
                <a:lnTo>
                  <a:pt x="5721" y="4839"/>
                </a:lnTo>
                <a:lnTo>
                  <a:pt x="5719" y="4834"/>
                </a:lnTo>
                <a:lnTo>
                  <a:pt x="5715" y="4829"/>
                </a:lnTo>
                <a:lnTo>
                  <a:pt x="5710" y="4824"/>
                </a:lnTo>
                <a:lnTo>
                  <a:pt x="5704" y="4819"/>
                </a:lnTo>
                <a:lnTo>
                  <a:pt x="5695" y="4814"/>
                </a:lnTo>
                <a:lnTo>
                  <a:pt x="5685" y="4809"/>
                </a:lnTo>
                <a:lnTo>
                  <a:pt x="5690" y="4796"/>
                </a:lnTo>
                <a:lnTo>
                  <a:pt x="5695" y="4783"/>
                </a:lnTo>
                <a:lnTo>
                  <a:pt x="5700" y="4768"/>
                </a:lnTo>
                <a:lnTo>
                  <a:pt x="5704" y="4754"/>
                </a:lnTo>
                <a:lnTo>
                  <a:pt x="5708" y="4738"/>
                </a:lnTo>
                <a:lnTo>
                  <a:pt x="5711" y="4722"/>
                </a:lnTo>
                <a:lnTo>
                  <a:pt x="5713" y="4707"/>
                </a:lnTo>
                <a:lnTo>
                  <a:pt x="5715" y="4691"/>
                </a:lnTo>
                <a:lnTo>
                  <a:pt x="5715" y="4675"/>
                </a:lnTo>
                <a:lnTo>
                  <a:pt x="5715" y="4660"/>
                </a:lnTo>
                <a:lnTo>
                  <a:pt x="5713" y="4645"/>
                </a:lnTo>
                <a:lnTo>
                  <a:pt x="5710" y="4631"/>
                </a:lnTo>
                <a:lnTo>
                  <a:pt x="5706" y="4617"/>
                </a:lnTo>
                <a:lnTo>
                  <a:pt x="5701" y="4604"/>
                </a:lnTo>
                <a:lnTo>
                  <a:pt x="5694" y="4591"/>
                </a:lnTo>
                <a:lnTo>
                  <a:pt x="5686" y="4579"/>
                </a:lnTo>
                <a:lnTo>
                  <a:pt x="5680" y="4573"/>
                </a:lnTo>
                <a:lnTo>
                  <a:pt x="5674" y="4569"/>
                </a:lnTo>
                <a:lnTo>
                  <a:pt x="5668" y="4565"/>
                </a:lnTo>
                <a:lnTo>
                  <a:pt x="5662" y="4563"/>
                </a:lnTo>
                <a:lnTo>
                  <a:pt x="5650" y="4560"/>
                </a:lnTo>
                <a:lnTo>
                  <a:pt x="5638" y="4558"/>
                </a:lnTo>
                <a:lnTo>
                  <a:pt x="5632" y="4557"/>
                </a:lnTo>
                <a:lnTo>
                  <a:pt x="5626" y="4556"/>
                </a:lnTo>
                <a:lnTo>
                  <a:pt x="5621" y="4554"/>
                </a:lnTo>
                <a:lnTo>
                  <a:pt x="5616" y="4551"/>
                </a:lnTo>
                <a:lnTo>
                  <a:pt x="5612" y="4546"/>
                </a:lnTo>
                <a:lnTo>
                  <a:pt x="5608" y="4541"/>
                </a:lnTo>
                <a:lnTo>
                  <a:pt x="5603" y="4533"/>
                </a:lnTo>
                <a:lnTo>
                  <a:pt x="5600" y="4524"/>
                </a:lnTo>
                <a:lnTo>
                  <a:pt x="5608" y="4522"/>
                </a:lnTo>
                <a:lnTo>
                  <a:pt x="5615" y="4518"/>
                </a:lnTo>
                <a:lnTo>
                  <a:pt x="5620" y="4515"/>
                </a:lnTo>
                <a:lnTo>
                  <a:pt x="5625" y="4510"/>
                </a:lnTo>
                <a:lnTo>
                  <a:pt x="5630" y="4505"/>
                </a:lnTo>
                <a:lnTo>
                  <a:pt x="5633" y="4499"/>
                </a:lnTo>
                <a:lnTo>
                  <a:pt x="5636" y="4493"/>
                </a:lnTo>
                <a:lnTo>
                  <a:pt x="5639" y="4486"/>
                </a:lnTo>
                <a:lnTo>
                  <a:pt x="5641" y="4479"/>
                </a:lnTo>
                <a:lnTo>
                  <a:pt x="5642" y="4470"/>
                </a:lnTo>
                <a:lnTo>
                  <a:pt x="5643" y="4462"/>
                </a:lnTo>
                <a:lnTo>
                  <a:pt x="5644" y="4453"/>
                </a:lnTo>
                <a:lnTo>
                  <a:pt x="5644" y="4436"/>
                </a:lnTo>
                <a:lnTo>
                  <a:pt x="5643" y="4417"/>
                </a:lnTo>
                <a:lnTo>
                  <a:pt x="5637" y="4378"/>
                </a:lnTo>
                <a:lnTo>
                  <a:pt x="5630" y="4337"/>
                </a:lnTo>
                <a:lnTo>
                  <a:pt x="5627" y="4319"/>
                </a:lnTo>
                <a:lnTo>
                  <a:pt x="5624" y="4301"/>
                </a:lnTo>
                <a:lnTo>
                  <a:pt x="5622" y="4285"/>
                </a:lnTo>
                <a:lnTo>
                  <a:pt x="5622" y="4270"/>
                </a:lnTo>
                <a:lnTo>
                  <a:pt x="5627" y="4268"/>
                </a:lnTo>
                <a:lnTo>
                  <a:pt x="5633" y="4268"/>
                </a:lnTo>
                <a:lnTo>
                  <a:pt x="5640" y="4268"/>
                </a:lnTo>
                <a:lnTo>
                  <a:pt x="5647" y="4268"/>
                </a:lnTo>
                <a:lnTo>
                  <a:pt x="5663" y="4270"/>
                </a:lnTo>
                <a:lnTo>
                  <a:pt x="5679" y="4272"/>
                </a:lnTo>
                <a:lnTo>
                  <a:pt x="5693" y="4275"/>
                </a:lnTo>
                <a:lnTo>
                  <a:pt x="5705" y="4276"/>
                </a:lnTo>
                <a:lnTo>
                  <a:pt x="5710" y="4275"/>
                </a:lnTo>
                <a:lnTo>
                  <a:pt x="5713" y="4274"/>
                </a:lnTo>
                <a:lnTo>
                  <a:pt x="5716" y="4273"/>
                </a:lnTo>
                <a:lnTo>
                  <a:pt x="5716" y="4270"/>
                </a:lnTo>
                <a:lnTo>
                  <a:pt x="5732" y="4271"/>
                </a:lnTo>
                <a:lnTo>
                  <a:pt x="5750" y="4274"/>
                </a:lnTo>
                <a:lnTo>
                  <a:pt x="5767" y="4279"/>
                </a:lnTo>
                <a:lnTo>
                  <a:pt x="5786" y="4284"/>
                </a:lnTo>
                <a:lnTo>
                  <a:pt x="5823" y="4296"/>
                </a:lnTo>
                <a:lnTo>
                  <a:pt x="5862" y="4306"/>
                </a:lnTo>
                <a:lnTo>
                  <a:pt x="5880" y="4309"/>
                </a:lnTo>
                <a:lnTo>
                  <a:pt x="5898" y="4310"/>
                </a:lnTo>
                <a:lnTo>
                  <a:pt x="5907" y="4309"/>
                </a:lnTo>
                <a:lnTo>
                  <a:pt x="5915" y="4308"/>
                </a:lnTo>
                <a:lnTo>
                  <a:pt x="5923" y="4307"/>
                </a:lnTo>
                <a:lnTo>
                  <a:pt x="5931" y="4304"/>
                </a:lnTo>
                <a:lnTo>
                  <a:pt x="5939" y="4301"/>
                </a:lnTo>
                <a:lnTo>
                  <a:pt x="5946" y="4296"/>
                </a:lnTo>
                <a:lnTo>
                  <a:pt x="5953" y="4291"/>
                </a:lnTo>
                <a:lnTo>
                  <a:pt x="5959" y="4285"/>
                </a:lnTo>
                <a:lnTo>
                  <a:pt x="5965" y="4278"/>
                </a:lnTo>
                <a:lnTo>
                  <a:pt x="5971" y="4269"/>
                </a:lnTo>
                <a:lnTo>
                  <a:pt x="5976" y="4259"/>
                </a:lnTo>
                <a:lnTo>
                  <a:pt x="5981" y="4248"/>
                </a:lnTo>
                <a:lnTo>
                  <a:pt x="5994" y="4254"/>
                </a:lnTo>
                <a:lnTo>
                  <a:pt x="6004" y="4260"/>
                </a:lnTo>
                <a:lnTo>
                  <a:pt x="6014" y="4266"/>
                </a:lnTo>
                <a:lnTo>
                  <a:pt x="6022" y="4271"/>
                </a:lnTo>
                <a:lnTo>
                  <a:pt x="6035" y="4282"/>
                </a:lnTo>
                <a:lnTo>
                  <a:pt x="6045" y="4293"/>
                </a:lnTo>
                <a:lnTo>
                  <a:pt x="6052" y="4302"/>
                </a:lnTo>
                <a:lnTo>
                  <a:pt x="6057" y="4311"/>
                </a:lnTo>
                <a:lnTo>
                  <a:pt x="6061" y="4319"/>
                </a:lnTo>
                <a:lnTo>
                  <a:pt x="6064" y="4326"/>
                </a:lnTo>
                <a:lnTo>
                  <a:pt x="6067" y="4332"/>
                </a:lnTo>
                <a:lnTo>
                  <a:pt x="6070" y="4336"/>
                </a:lnTo>
                <a:lnTo>
                  <a:pt x="6073" y="4337"/>
                </a:lnTo>
                <a:lnTo>
                  <a:pt x="6076" y="4338"/>
                </a:lnTo>
                <a:lnTo>
                  <a:pt x="6079" y="4339"/>
                </a:lnTo>
                <a:lnTo>
                  <a:pt x="6083" y="4339"/>
                </a:lnTo>
                <a:lnTo>
                  <a:pt x="6094" y="4338"/>
                </a:lnTo>
                <a:lnTo>
                  <a:pt x="6108" y="4335"/>
                </a:lnTo>
                <a:lnTo>
                  <a:pt x="6127" y="4330"/>
                </a:lnTo>
                <a:lnTo>
                  <a:pt x="6151" y="4322"/>
                </a:lnTo>
                <a:lnTo>
                  <a:pt x="6151" y="4326"/>
                </a:lnTo>
                <a:lnTo>
                  <a:pt x="6152" y="4330"/>
                </a:lnTo>
                <a:lnTo>
                  <a:pt x="6154" y="4335"/>
                </a:lnTo>
                <a:lnTo>
                  <a:pt x="6157" y="4340"/>
                </a:lnTo>
                <a:lnTo>
                  <a:pt x="6165" y="4353"/>
                </a:lnTo>
                <a:lnTo>
                  <a:pt x="6176" y="4367"/>
                </a:lnTo>
                <a:lnTo>
                  <a:pt x="6188" y="4382"/>
                </a:lnTo>
                <a:lnTo>
                  <a:pt x="6202" y="4398"/>
                </a:lnTo>
                <a:lnTo>
                  <a:pt x="6217" y="4414"/>
                </a:lnTo>
                <a:lnTo>
                  <a:pt x="6232" y="4430"/>
                </a:lnTo>
                <a:lnTo>
                  <a:pt x="6265" y="4461"/>
                </a:lnTo>
                <a:lnTo>
                  <a:pt x="6294" y="4488"/>
                </a:lnTo>
                <a:lnTo>
                  <a:pt x="6306" y="4499"/>
                </a:lnTo>
                <a:lnTo>
                  <a:pt x="6317" y="4507"/>
                </a:lnTo>
                <a:lnTo>
                  <a:pt x="6325" y="4511"/>
                </a:lnTo>
                <a:lnTo>
                  <a:pt x="6330" y="4513"/>
                </a:lnTo>
                <a:lnTo>
                  <a:pt x="6330" y="4518"/>
                </a:lnTo>
                <a:lnTo>
                  <a:pt x="6330" y="4525"/>
                </a:lnTo>
                <a:lnTo>
                  <a:pt x="6331" y="4533"/>
                </a:lnTo>
                <a:lnTo>
                  <a:pt x="6333" y="4542"/>
                </a:lnTo>
                <a:lnTo>
                  <a:pt x="6334" y="4547"/>
                </a:lnTo>
                <a:lnTo>
                  <a:pt x="6336" y="4551"/>
                </a:lnTo>
                <a:lnTo>
                  <a:pt x="6339" y="4555"/>
                </a:lnTo>
                <a:lnTo>
                  <a:pt x="6342" y="4558"/>
                </a:lnTo>
                <a:lnTo>
                  <a:pt x="6346" y="4561"/>
                </a:lnTo>
                <a:lnTo>
                  <a:pt x="6350" y="4564"/>
                </a:lnTo>
                <a:lnTo>
                  <a:pt x="6355" y="4565"/>
                </a:lnTo>
                <a:lnTo>
                  <a:pt x="6361" y="4566"/>
                </a:lnTo>
                <a:lnTo>
                  <a:pt x="6361" y="4571"/>
                </a:lnTo>
                <a:lnTo>
                  <a:pt x="6361" y="4574"/>
                </a:lnTo>
                <a:lnTo>
                  <a:pt x="6360" y="4577"/>
                </a:lnTo>
                <a:lnTo>
                  <a:pt x="6358" y="4578"/>
                </a:lnTo>
                <a:lnTo>
                  <a:pt x="6355" y="4577"/>
                </a:lnTo>
                <a:lnTo>
                  <a:pt x="6351" y="4576"/>
                </a:lnTo>
                <a:lnTo>
                  <a:pt x="6349" y="4576"/>
                </a:lnTo>
                <a:lnTo>
                  <a:pt x="6347" y="4576"/>
                </a:lnTo>
                <a:lnTo>
                  <a:pt x="6345" y="4577"/>
                </a:lnTo>
                <a:lnTo>
                  <a:pt x="6344" y="4580"/>
                </a:lnTo>
                <a:lnTo>
                  <a:pt x="6343" y="4584"/>
                </a:lnTo>
                <a:lnTo>
                  <a:pt x="6341" y="4589"/>
                </a:lnTo>
                <a:lnTo>
                  <a:pt x="6341" y="4597"/>
                </a:lnTo>
                <a:lnTo>
                  <a:pt x="6341" y="4608"/>
                </a:lnTo>
                <a:lnTo>
                  <a:pt x="6352" y="4610"/>
                </a:lnTo>
                <a:lnTo>
                  <a:pt x="6370" y="4612"/>
                </a:lnTo>
                <a:lnTo>
                  <a:pt x="6390" y="4614"/>
                </a:lnTo>
                <a:lnTo>
                  <a:pt x="6412" y="4615"/>
                </a:lnTo>
                <a:lnTo>
                  <a:pt x="6423" y="4614"/>
                </a:lnTo>
                <a:lnTo>
                  <a:pt x="6433" y="4613"/>
                </a:lnTo>
                <a:lnTo>
                  <a:pt x="6442" y="4612"/>
                </a:lnTo>
                <a:lnTo>
                  <a:pt x="6451" y="4609"/>
                </a:lnTo>
                <a:lnTo>
                  <a:pt x="6458" y="4605"/>
                </a:lnTo>
                <a:lnTo>
                  <a:pt x="6463" y="4601"/>
                </a:lnTo>
                <a:lnTo>
                  <a:pt x="6465" y="4597"/>
                </a:lnTo>
                <a:lnTo>
                  <a:pt x="6467" y="4594"/>
                </a:lnTo>
                <a:lnTo>
                  <a:pt x="6467" y="4590"/>
                </a:lnTo>
                <a:lnTo>
                  <a:pt x="6468" y="4587"/>
                </a:lnTo>
                <a:lnTo>
                  <a:pt x="6480" y="4586"/>
                </a:lnTo>
                <a:lnTo>
                  <a:pt x="6493" y="4583"/>
                </a:lnTo>
                <a:lnTo>
                  <a:pt x="6504" y="4578"/>
                </a:lnTo>
                <a:lnTo>
                  <a:pt x="6515" y="4573"/>
                </a:lnTo>
                <a:lnTo>
                  <a:pt x="6525" y="4565"/>
                </a:lnTo>
                <a:lnTo>
                  <a:pt x="6535" y="4557"/>
                </a:lnTo>
                <a:lnTo>
                  <a:pt x="6544" y="4547"/>
                </a:lnTo>
                <a:lnTo>
                  <a:pt x="6552" y="4537"/>
                </a:lnTo>
                <a:lnTo>
                  <a:pt x="6559" y="4526"/>
                </a:lnTo>
                <a:lnTo>
                  <a:pt x="6565" y="4514"/>
                </a:lnTo>
                <a:lnTo>
                  <a:pt x="6571" y="4502"/>
                </a:lnTo>
                <a:lnTo>
                  <a:pt x="6576" y="4489"/>
                </a:lnTo>
                <a:lnTo>
                  <a:pt x="6579" y="4477"/>
                </a:lnTo>
                <a:lnTo>
                  <a:pt x="6582" y="4463"/>
                </a:lnTo>
                <a:lnTo>
                  <a:pt x="6584" y="4451"/>
                </a:lnTo>
                <a:lnTo>
                  <a:pt x="6584" y="4439"/>
                </a:lnTo>
                <a:lnTo>
                  <a:pt x="6588" y="4437"/>
                </a:lnTo>
                <a:lnTo>
                  <a:pt x="6592" y="4437"/>
                </a:lnTo>
                <a:lnTo>
                  <a:pt x="6597" y="4438"/>
                </a:lnTo>
                <a:lnTo>
                  <a:pt x="6602" y="4441"/>
                </a:lnTo>
                <a:lnTo>
                  <a:pt x="6606" y="4445"/>
                </a:lnTo>
                <a:lnTo>
                  <a:pt x="6611" y="4450"/>
                </a:lnTo>
                <a:lnTo>
                  <a:pt x="6617" y="4456"/>
                </a:lnTo>
                <a:lnTo>
                  <a:pt x="6622" y="4463"/>
                </a:lnTo>
                <a:lnTo>
                  <a:pt x="6633" y="4481"/>
                </a:lnTo>
                <a:lnTo>
                  <a:pt x="6643" y="4501"/>
                </a:lnTo>
                <a:lnTo>
                  <a:pt x="6655" y="4522"/>
                </a:lnTo>
                <a:lnTo>
                  <a:pt x="6666" y="4545"/>
                </a:lnTo>
                <a:lnTo>
                  <a:pt x="6677" y="4568"/>
                </a:lnTo>
                <a:lnTo>
                  <a:pt x="6689" y="4590"/>
                </a:lnTo>
                <a:lnTo>
                  <a:pt x="6700" y="4612"/>
                </a:lnTo>
                <a:lnTo>
                  <a:pt x="6711" y="4632"/>
                </a:lnTo>
                <a:lnTo>
                  <a:pt x="6722" y="4648"/>
                </a:lnTo>
                <a:lnTo>
                  <a:pt x="6733" y="4661"/>
                </a:lnTo>
                <a:lnTo>
                  <a:pt x="6738" y="4665"/>
                </a:lnTo>
                <a:lnTo>
                  <a:pt x="6744" y="4669"/>
                </a:lnTo>
                <a:lnTo>
                  <a:pt x="6749" y="4671"/>
                </a:lnTo>
                <a:lnTo>
                  <a:pt x="6754" y="4672"/>
                </a:lnTo>
                <a:lnTo>
                  <a:pt x="6762" y="4683"/>
                </a:lnTo>
                <a:lnTo>
                  <a:pt x="6771" y="4695"/>
                </a:lnTo>
                <a:lnTo>
                  <a:pt x="6782" y="4707"/>
                </a:lnTo>
                <a:lnTo>
                  <a:pt x="6794" y="4720"/>
                </a:lnTo>
                <a:lnTo>
                  <a:pt x="6820" y="4747"/>
                </a:lnTo>
                <a:lnTo>
                  <a:pt x="6847" y="4774"/>
                </a:lnTo>
                <a:lnTo>
                  <a:pt x="6860" y="4787"/>
                </a:lnTo>
                <a:lnTo>
                  <a:pt x="6873" y="4800"/>
                </a:lnTo>
                <a:lnTo>
                  <a:pt x="6884" y="4813"/>
                </a:lnTo>
                <a:lnTo>
                  <a:pt x="6893" y="4826"/>
                </a:lnTo>
                <a:lnTo>
                  <a:pt x="6901" y="4838"/>
                </a:lnTo>
                <a:lnTo>
                  <a:pt x="6907" y="4850"/>
                </a:lnTo>
                <a:lnTo>
                  <a:pt x="6910" y="4857"/>
                </a:lnTo>
                <a:lnTo>
                  <a:pt x="6911" y="4862"/>
                </a:lnTo>
                <a:lnTo>
                  <a:pt x="6912" y="4868"/>
                </a:lnTo>
                <a:lnTo>
                  <a:pt x="6913" y="4873"/>
                </a:lnTo>
                <a:lnTo>
                  <a:pt x="6931" y="4888"/>
                </a:lnTo>
                <a:lnTo>
                  <a:pt x="6948" y="4902"/>
                </a:lnTo>
                <a:lnTo>
                  <a:pt x="6952" y="4906"/>
                </a:lnTo>
                <a:lnTo>
                  <a:pt x="6955" y="4911"/>
                </a:lnTo>
                <a:lnTo>
                  <a:pt x="6958" y="4917"/>
                </a:lnTo>
                <a:lnTo>
                  <a:pt x="6960" y="4925"/>
                </a:lnTo>
                <a:lnTo>
                  <a:pt x="6962" y="4933"/>
                </a:lnTo>
                <a:lnTo>
                  <a:pt x="6964" y="4943"/>
                </a:lnTo>
                <a:lnTo>
                  <a:pt x="6965" y="4954"/>
                </a:lnTo>
                <a:lnTo>
                  <a:pt x="6965" y="4968"/>
                </a:lnTo>
                <a:lnTo>
                  <a:pt x="6968" y="4967"/>
                </a:lnTo>
                <a:lnTo>
                  <a:pt x="6971" y="4966"/>
                </a:lnTo>
                <a:lnTo>
                  <a:pt x="6975" y="4965"/>
                </a:lnTo>
                <a:lnTo>
                  <a:pt x="6978" y="4962"/>
                </a:lnTo>
                <a:lnTo>
                  <a:pt x="6986" y="4957"/>
                </a:lnTo>
                <a:lnTo>
                  <a:pt x="6994" y="4950"/>
                </a:lnTo>
                <a:lnTo>
                  <a:pt x="7010" y="4934"/>
                </a:lnTo>
                <a:lnTo>
                  <a:pt x="7025" y="4919"/>
                </a:lnTo>
                <a:lnTo>
                  <a:pt x="7033" y="4913"/>
                </a:lnTo>
                <a:lnTo>
                  <a:pt x="7039" y="4910"/>
                </a:lnTo>
                <a:lnTo>
                  <a:pt x="7042" y="4909"/>
                </a:lnTo>
                <a:lnTo>
                  <a:pt x="7045" y="4908"/>
                </a:lnTo>
                <a:lnTo>
                  <a:pt x="7048" y="4909"/>
                </a:lnTo>
                <a:lnTo>
                  <a:pt x="7050" y="4910"/>
                </a:lnTo>
                <a:lnTo>
                  <a:pt x="7053" y="4912"/>
                </a:lnTo>
                <a:lnTo>
                  <a:pt x="7055" y="4915"/>
                </a:lnTo>
                <a:lnTo>
                  <a:pt x="7057" y="4919"/>
                </a:lnTo>
                <a:lnTo>
                  <a:pt x="7058" y="4925"/>
                </a:lnTo>
                <a:lnTo>
                  <a:pt x="7060" y="4938"/>
                </a:lnTo>
                <a:lnTo>
                  <a:pt x="7061" y="4957"/>
                </a:lnTo>
                <a:lnTo>
                  <a:pt x="7067" y="4958"/>
                </a:lnTo>
                <a:lnTo>
                  <a:pt x="7074" y="4960"/>
                </a:lnTo>
                <a:lnTo>
                  <a:pt x="7083" y="4963"/>
                </a:lnTo>
                <a:lnTo>
                  <a:pt x="7092" y="4968"/>
                </a:lnTo>
                <a:lnTo>
                  <a:pt x="7101" y="4974"/>
                </a:lnTo>
                <a:lnTo>
                  <a:pt x="7111" y="4981"/>
                </a:lnTo>
                <a:lnTo>
                  <a:pt x="7122" y="4988"/>
                </a:lnTo>
                <a:lnTo>
                  <a:pt x="7132" y="4997"/>
                </a:lnTo>
                <a:lnTo>
                  <a:pt x="7142" y="5005"/>
                </a:lnTo>
                <a:lnTo>
                  <a:pt x="7151" y="5014"/>
                </a:lnTo>
                <a:lnTo>
                  <a:pt x="7160" y="5024"/>
                </a:lnTo>
                <a:lnTo>
                  <a:pt x="7168" y="5034"/>
                </a:lnTo>
                <a:lnTo>
                  <a:pt x="7175" y="5044"/>
                </a:lnTo>
                <a:lnTo>
                  <a:pt x="7180" y="5054"/>
                </a:lnTo>
                <a:lnTo>
                  <a:pt x="7185" y="5064"/>
                </a:lnTo>
                <a:lnTo>
                  <a:pt x="7188" y="5073"/>
                </a:lnTo>
                <a:lnTo>
                  <a:pt x="7175" y="5074"/>
                </a:lnTo>
                <a:lnTo>
                  <a:pt x="7166" y="5077"/>
                </a:lnTo>
                <a:lnTo>
                  <a:pt x="7162" y="5078"/>
                </a:lnTo>
                <a:lnTo>
                  <a:pt x="7159" y="5080"/>
                </a:lnTo>
                <a:lnTo>
                  <a:pt x="7157" y="5082"/>
                </a:lnTo>
                <a:lnTo>
                  <a:pt x="7155" y="5085"/>
                </a:lnTo>
                <a:lnTo>
                  <a:pt x="7152" y="5091"/>
                </a:lnTo>
                <a:lnTo>
                  <a:pt x="7151" y="5097"/>
                </a:lnTo>
                <a:lnTo>
                  <a:pt x="7152" y="5104"/>
                </a:lnTo>
                <a:lnTo>
                  <a:pt x="7153" y="5111"/>
                </a:lnTo>
                <a:lnTo>
                  <a:pt x="7156" y="5125"/>
                </a:lnTo>
                <a:lnTo>
                  <a:pt x="7158" y="5137"/>
                </a:lnTo>
                <a:lnTo>
                  <a:pt x="7157" y="5141"/>
                </a:lnTo>
                <a:lnTo>
                  <a:pt x="7155" y="5145"/>
                </a:lnTo>
                <a:lnTo>
                  <a:pt x="7154" y="5146"/>
                </a:lnTo>
                <a:lnTo>
                  <a:pt x="7151" y="5147"/>
                </a:lnTo>
                <a:lnTo>
                  <a:pt x="7149" y="5148"/>
                </a:lnTo>
                <a:lnTo>
                  <a:pt x="7145" y="5148"/>
                </a:lnTo>
                <a:lnTo>
                  <a:pt x="7145" y="5155"/>
                </a:lnTo>
                <a:lnTo>
                  <a:pt x="7144" y="5160"/>
                </a:lnTo>
                <a:lnTo>
                  <a:pt x="7141" y="5165"/>
                </a:lnTo>
                <a:lnTo>
                  <a:pt x="7138" y="5170"/>
                </a:lnTo>
                <a:lnTo>
                  <a:pt x="7135" y="5173"/>
                </a:lnTo>
                <a:lnTo>
                  <a:pt x="7130" y="5176"/>
                </a:lnTo>
                <a:lnTo>
                  <a:pt x="7125" y="5179"/>
                </a:lnTo>
                <a:lnTo>
                  <a:pt x="7118" y="5181"/>
                </a:lnTo>
                <a:lnTo>
                  <a:pt x="7106" y="5184"/>
                </a:lnTo>
                <a:lnTo>
                  <a:pt x="7091" y="5185"/>
                </a:lnTo>
                <a:lnTo>
                  <a:pt x="7075" y="5184"/>
                </a:lnTo>
                <a:lnTo>
                  <a:pt x="7059" y="5182"/>
                </a:lnTo>
                <a:lnTo>
                  <a:pt x="7025" y="5176"/>
                </a:lnTo>
                <a:lnTo>
                  <a:pt x="6991" y="5169"/>
                </a:lnTo>
                <a:lnTo>
                  <a:pt x="6963" y="5162"/>
                </a:lnTo>
                <a:lnTo>
                  <a:pt x="6944" y="5159"/>
                </a:lnTo>
                <a:lnTo>
                  <a:pt x="6939" y="5179"/>
                </a:lnTo>
                <a:lnTo>
                  <a:pt x="6932" y="5197"/>
                </a:lnTo>
                <a:lnTo>
                  <a:pt x="6924" y="5212"/>
                </a:lnTo>
                <a:lnTo>
                  <a:pt x="6914" y="5226"/>
                </a:lnTo>
                <a:lnTo>
                  <a:pt x="6904" y="5239"/>
                </a:lnTo>
                <a:lnTo>
                  <a:pt x="6892" y="5250"/>
                </a:lnTo>
                <a:lnTo>
                  <a:pt x="6879" y="5259"/>
                </a:lnTo>
                <a:lnTo>
                  <a:pt x="6864" y="5266"/>
                </a:lnTo>
                <a:lnTo>
                  <a:pt x="6849" y="5272"/>
                </a:lnTo>
                <a:lnTo>
                  <a:pt x="6834" y="5276"/>
                </a:lnTo>
                <a:lnTo>
                  <a:pt x="6817" y="5280"/>
                </a:lnTo>
                <a:lnTo>
                  <a:pt x="6800" y="5282"/>
                </a:lnTo>
                <a:lnTo>
                  <a:pt x="6782" y="5284"/>
                </a:lnTo>
                <a:lnTo>
                  <a:pt x="6763" y="5284"/>
                </a:lnTo>
                <a:lnTo>
                  <a:pt x="6744" y="5284"/>
                </a:lnTo>
                <a:lnTo>
                  <a:pt x="6724" y="5283"/>
                </a:lnTo>
                <a:lnTo>
                  <a:pt x="6643" y="5277"/>
                </a:lnTo>
                <a:lnTo>
                  <a:pt x="6559" y="5270"/>
                </a:lnTo>
                <a:lnTo>
                  <a:pt x="6538" y="5269"/>
                </a:lnTo>
                <a:lnTo>
                  <a:pt x="6518" y="5268"/>
                </a:lnTo>
                <a:lnTo>
                  <a:pt x="6498" y="5268"/>
                </a:lnTo>
                <a:lnTo>
                  <a:pt x="6477" y="5269"/>
                </a:lnTo>
                <a:lnTo>
                  <a:pt x="6458" y="5271"/>
                </a:lnTo>
                <a:lnTo>
                  <a:pt x="6440" y="5273"/>
                </a:lnTo>
                <a:lnTo>
                  <a:pt x="6421" y="5277"/>
                </a:lnTo>
                <a:lnTo>
                  <a:pt x="6404" y="5282"/>
                </a:lnTo>
                <a:lnTo>
                  <a:pt x="6395" y="5285"/>
                </a:lnTo>
                <a:lnTo>
                  <a:pt x="6385" y="5289"/>
                </a:lnTo>
                <a:lnTo>
                  <a:pt x="6375" y="5295"/>
                </a:lnTo>
                <a:lnTo>
                  <a:pt x="6364" y="5301"/>
                </a:lnTo>
                <a:lnTo>
                  <a:pt x="6341" y="5316"/>
                </a:lnTo>
                <a:lnTo>
                  <a:pt x="6318" y="5335"/>
                </a:lnTo>
                <a:lnTo>
                  <a:pt x="6294" y="5356"/>
                </a:lnTo>
                <a:lnTo>
                  <a:pt x="6270" y="5379"/>
                </a:lnTo>
                <a:lnTo>
                  <a:pt x="6247" y="5404"/>
                </a:lnTo>
                <a:lnTo>
                  <a:pt x="6223" y="5430"/>
                </a:lnTo>
                <a:lnTo>
                  <a:pt x="6201" y="5456"/>
                </a:lnTo>
                <a:lnTo>
                  <a:pt x="6180" y="5485"/>
                </a:lnTo>
                <a:lnTo>
                  <a:pt x="6162" y="5512"/>
                </a:lnTo>
                <a:lnTo>
                  <a:pt x="6145" y="5539"/>
                </a:lnTo>
                <a:lnTo>
                  <a:pt x="6138" y="5552"/>
                </a:lnTo>
                <a:lnTo>
                  <a:pt x="6131" y="5565"/>
                </a:lnTo>
                <a:lnTo>
                  <a:pt x="6125" y="5578"/>
                </a:lnTo>
                <a:lnTo>
                  <a:pt x="6120" y="5590"/>
                </a:lnTo>
                <a:lnTo>
                  <a:pt x="6116" y="5602"/>
                </a:lnTo>
                <a:lnTo>
                  <a:pt x="6112" y="5614"/>
                </a:lnTo>
                <a:lnTo>
                  <a:pt x="6109" y="5625"/>
                </a:lnTo>
                <a:lnTo>
                  <a:pt x="6107" y="5635"/>
                </a:lnTo>
                <a:lnTo>
                  <a:pt x="6119" y="5635"/>
                </a:lnTo>
                <a:lnTo>
                  <a:pt x="6130" y="5634"/>
                </a:lnTo>
                <a:lnTo>
                  <a:pt x="6140" y="5633"/>
                </a:lnTo>
                <a:lnTo>
                  <a:pt x="6150" y="5631"/>
                </a:lnTo>
                <a:lnTo>
                  <a:pt x="6168" y="5626"/>
                </a:lnTo>
                <a:lnTo>
                  <a:pt x="6186" y="5619"/>
                </a:lnTo>
                <a:lnTo>
                  <a:pt x="6203" y="5611"/>
                </a:lnTo>
                <a:lnTo>
                  <a:pt x="6219" y="5601"/>
                </a:lnTo>
                <a:lnTo>
                  <a:pt x="6234" y="5590"/>
                </a:lnTo>
                <a:lnTo>
                  <a:pt x="6251" y="5579"/>
                </a:lnTo>
                <a:lnTo>
                  <a:pt x="6281" y="5556"/>
                </a:lnTo>
                <a:lnTo>
                  <a:pt x="6312" y="5534"/>
                </a:lnTo>
                <a:lnTo>
                  <a:pt x="6329" y="5523"/>
                </a:lnTo>
                <a:lnTo>
                  <a:pt x="6346" y="5513"/>
                </a:lnTo>
                <a:lnTo>
                  <a:pt x="6365" y="5505"/>
                </a:lnTo>
                <a:lnTo>
                  <a:pt x="6383" y="5497"/>
                </a:lnTo>
                <a:lnTo>
                  <a:pt x="6399" y="5497"/>
                </a:lnTo>
                <a:lnTo>
                  <a:pt x="6412" y="5495"/>
                </a:lnTo>
                <a:lnTo>
                  <a:pt x="6425" y="5492"/>
                </a:lnTo>
                <a:lnTo>
                  <a:pt x="6437" y="5489"/>
                </a:lnTo>
                <a:lnTo>
                  <a:pt x="6447" y="5485"/>
                </a:lnTo>
                <a:lnTo>
                  <a:pt x="6457" y="5479"/>
                </a:lnTo>
                <a:lnTo>
                  <a:pt x="6467" y="5473"/>
                </a:lnTo>
                <a:lnTo>
                  <a:pt x="6476" y="5468"/>
                </a:lnTo>
                <a:lnTo>
                  <a:pt x="6495" y="5456"/>
                </a:lnTo>
                <a:lnTo>
                  <a:pt x="6515" y="5444"/>
                </a:lnTo>
                <a:lnTo>
                  <a:pt x="6526" y="5438"/>
                </a:lnTo>
                <a:lnTo>
                  <a:pt x="6537" y="5432"/>
                </a:lnTo>
                <a:lnTo>
                  <a:pt x="6550" y="5427"/>
                </a:lnTo>
                <a:lnTo>
                  <a:pt x="6563" y="5423"/>
                </a:lnTo>
                <a:lnTo>
                  <a:pt x="6564" y="5427"/>
                </a:lnTo>
                <a:lnTo>
                  <a:pt x="6564" y="5430"/>
                </a:lnTo>
                <a:lnTo>
                  <a:pt x="6565" y="5432"/>
                </a:lnTo>
                <a:lnTo>
                  <a:pt x="6567" y="5434"/>
                </a:lnTo>
                <a:lnTo>
                  <a:pt x="6570" y="5437"/>
                </a:lnTo>
                <a:lnTo>
                  <a:pt x="6574" y="5439"/>
                </a:lnTo>
                <a:lnTo>
                  <a:pt x="6578" y="5441"/>
                </a:lnTo>
                <a:lnTo>
                  <a:pt x="6581" y="5444"/>
                </a:lnTo>
                <a:lnTo>
                  <a:pt x="6582" y="5446"/>
                </a:lnTo>
                <a:lnTo>
                  <a:pt x="6583" y="5448"/>
                </a:lnTo>
                <a:lnTo>
                  <a:pt x="6584" y="5451"/>
                </a:lnTo>
                <a:lnTo>
                  <a:pt x="6584" y="5455"/>
                </a:lnTo>
                <a:lnTo>
                  <a:pt x="6571" y="5455"/>
                </a:lnTo>
                <a:lnTo>
                  <a:pt x="6559" y="5456"/>
                </a:lnTo>
                <a:lnTo>
                  <a:pt x="6548" y="5457"/>
                </a:lnTo>
                <a:lnTo>
                  <a:pt x="6539" y="5459"/>
                </a:lnTo>
                <a:lnTo>
                  <a:pt x="6531" y="5461"/>
                </a:lnTo>
                <a:lnTo>
                  <a:pt x="6524" y="5464"/>
                </a:lnTo>
                <a:lnTo>
                  <a:pt x="6518" y="5467"/>
                </a:lnTo>
                <a:lnTo>
                  <a:pt x="6513" y="5471"/>
                </a:lnTo>
                <a:lnTo>
                  <a:pt x="6509" y="5475"/>
                </a:lnTo>
                <a:lnTo>
                  <a:pt x="6506" y="5479"/>
                </a:lnTo>
                <a:lnTo>
                  <a:pt x="6503" y="5485"/>
                </a:lnTo>
                <a:lnTo>
                  <a:pt x="6502" y="5490"/>
                </a:lnTo>
                <a:lnTo>
                  <a:pt x="6502" y="5495"/>
                </a:lnTo>
                <a:lnTo>
                  <a:pt x="6502" y="5501"/>
                </a:lnTo>
                <a:lnTo>
                  <a:pt x="6503" y="5507"/>
                </a:lnTo>
                <a:lnTo>
                  <a:pt x="6504" y="5513"/>
                </a:lnTo>
                <a:lnTo>
                  <a:pt x="6509" y="5526"/>
                </a:lnTo>
                <a:lnTo>
                  <a:pt x="6515" y="5539"/>
                </a:lnTo>
                <a:lnTo>
                  <a:pt x="6523" y="5553"/>
                </a:lnTo>
                <a:lnTo>
                  <a:pt x="6532" y="5567"/>
                </a:lnTo>
                <a:lnTo>
                  <a:pt x="6551" y="5596"/>
                </a:lnTo>
                <a:lnTo>
                  <a:pt x="6569" y="5624"/>
                </a:lnTo>
                <a:lnTo>
                  <a:pt x="6577" y="5636"/>
                </a:lnTo>
                <a:lnTo>
                  <a:pt x="6585" y="5647"/>
                </a:lnTo>
                <a:lnTo>
                  <a:pt x="6593" y="5658"/>
                </a:lnTo>
                <a:lnTo>
                  <a:pt x="6602" y="5667"/>
                </a:lnTo>
                <a:lnTo>
                  <a:pt x="6610" y="5675"/>
                </a:lnTo>
                <a:lnTo>
                  <a:pt x="6620" y="5683"/>
                </a:lnTo>
                <a:lnTo>
                  <a:pt x="6629" y="5690"/>
                </a:lnTo>
                <a:lnTo>
                  <a:pt x="6638" y="5696"/>
                </a:lnTo>
                <a:lnTo>
                  <a:pt x="6648" y="5701"/>
                </a:lnTo>
                <a:lnTo>
                  <a:pt x="6658" y="5705"/>
                </a:lnTo>
                <a:lnTo>
                  <a:pt x="6668" y="5709"/>
                </a:lnTo>
                <a:lnTo>
                  <a:pt x="6678" y="5712"/>
                </a:lnTo>
                <a:lnTo>
                  <a:pt x="6688" y="5715"/>
                </a:lnTo>
                <a:lnTo>
                  <a:pt x="6699" y="5717"/>
                </a:lnTo>
                <a:lnTo>
                  <a:pt x="6710" y="5718"/>
                </a:lnTo>
                <a:lnTo>
                  <a:pt x="6722" y="5719"/>
                </a:lnTo>
                <a:lnTo>
                  <a:pt x="6718" y="5727"/>
                </a:lnTo>
                <a:lnTo>
                  <a:pt x="6713" y="5734"/>
                </a:lnTo>
                <a:lnTo>
                  <a:pt x="6707" y="5739"/>
                </a:lnTo>
                <a:lnTo>
                  <a:pt x="6700" y="5742"/>
                </a:lnTo>
                <a:lnTo>
                  <a:pt x="6685" y="5747"/>
                </a:lnTo>
                <a:lnTo>
                  <a:pt x="6669" y="5749"/>
                </a:lnTo>
                <a:lnTo>
                  <a:pt x="6661" y="5750"/>
                </a:lnTo>
                <a:lnTo>
                  <a:pt x="6653" y="5752"/>
                </a:lnTo>
                <a:lnTo>
                  <a:pt x="6646" y="5754"/>
                </a:lnTo>
                <a:lnTo>
                  <a:pt x="6640" y="5757"/>
                </a:lnTo>
                <a:lnTo>
                  <a:pt x="6635" y="5761"/>
                </a:lnTo>
                <a:lnTo>
                  <a:pt x="6631" y="5767"/>
                </a:lnTo>
                <a:lnTo>
                  <a:pt x="6628" y="5774"/>
                </a:lnTo>
                <a:lnTo>
                  <a:pt x="6627" y="5783"/>
                </a:lnTo>
                <a:lnTo>
                  <a:pt x="6601" y="5792"/>
                </a:lnTo>
                <a:lnTo>
                  <a:pt x="6572" y="5805"/>
                </a:lnTo>
                <a:lnTo>
                  <a:pt x="6559" y="5812"/>
                </a:lnTo>
                <a:lnTo>
                  <a:pt x="6547" y="5819"/>
                </a:lnTo>
                <a:lnTo>
                  <a:pt x="6542" y="5823"/>
                </a:lnTo>
                <a:lnTo>
                  <a:pt x="6537" y="5827"/>
                </a:lnTo>
                <a:lnTo>
                  <a:pt x="6534" y="5831"/>
                </a:lnTo>
                <a:lnTo>
                  <a:pt x="6531" y="5836"/>
                </a:lnTo>
                <a:lnTo>
                  <a:pt x="6478" y="5841"/>
                </a:lnTo>
                <a:lnTo>
                  <a:pt x="6446" y="5844"/>
                </a:lnTo>
                <a:lnTo>
                  <a:pt x="6436" y="5844"/>
                </a:lnTo>
                <a:lnTo>
                  <a:pt x="6430" y="5844"/>
                </a:lnTo>
                <a:lnTo>
                  <a:pt x="6428" y="5844"/>
                </a:lnTo>
                <a:lnTo>
                  <a:pt x="6426" y="5843"/>
                </a:lnTo>
                <a:lnTo>
                  <a:pt x="6426" y="5842"/>
                </a:lnTo>
                <a:lnTo>
                  <a:pt x="6426" y="5841"/>
                </a:lnTo>
                <a:lnTo>
                  <a:pt x="6430" y="5836"/>
                </a:lnTo>
                <a:lnTo>
                  <a:pt x="6439" y="5827"/>
                </a:lnTo>
                <a:lnTo>
                  <a:pt x="6444" y="5822"/>
                </a:lnTo>
                <a:lnTo>
                  <a:pt x="6449" y="5816"/>
                </a:lnTo>
                <a:lnTo>
                  <a:pt x="6453" y="5809"/>
                </a:lnTo>
                <a:lnTo>
                  <a:pt x="6456" y="5802"/>
                </a:lnTo>
                <a:lnTo>
                  <a:pt x="6458" y="5805"/>
                </a:lnTo>
                <a:lnTo>
                  <a:pt x="6461" y="5806"/>
                </a:lnTo>
                <a:lnTo>
                  <a:pt x="6465" y="5808"/>
                </a:lnTo>
                <a:lnTo>
                  <a:pt x="6469" y="5809"/>
                </a:lnTo>
                <a:lnTo>
                  <a:pt x="6480" y="5809"/>
                </a:lnTo>
                <a:lnTo>
                  <a:pt x="6492" y="5808"/>
                </a:lnTo>
                <a:lnTo>
                  <a:pt x="6513" y="5806"/>
                </a:lnTo>
                <a:lnTo>
                  <a:pt x="6521" y="5804"/>
                </a:lnTo>
                <a:lnTo>
                  <a:pt x="6517" y="5788"/>
                </a:lnTo>
                <a:lnTo>
                  <a:pt x="6513" y="5775"/>
                </a:lnTo>
                <a:lnTo>
                  <a:pt x="6509" y="5766"/>
                </a:lnTo>
                <a:lnTo>
                  <a:pt x="6507" y="5759"/>
                </a:lnTo>
                <a:lnTo>
                  <a:pt x="6505" y="5753"/>
                </a:lnTo>
                <a:lnTo>
                  <a:pt x="6505" y="5747"/>
                </a:lnTo>
                <a:lnTo>
                  <a:pt x="6507" y="5740"/>
                </a:lnTo>
                <a:lnTo>
                  <a:pt x="6511" y="5730"/>
                </a:lnTo>
                <a:lnTo>
                  <a:pt x="6494" y="5730"/>
                </a:lnTo>
                <a:lnTo>
                  <a:pt x="6477" y="5731"/>
                </a:lnTo>
                <a:lnTo>
                  <a:pt x="6463" y="5734"/>
                </a:lnTo>
                <a:lnTo>
                  <a:pt x="6449" y="5737"/>
                </a:lnTo>
                <a:lnTo>
                  <a:pt x="6422" y="5744"/>
                </a:lnTo>
                <a:lnTo>
                  <a:pt x="6398" y="5752"/>
                </a:lnTo>
                <a:lnTo>
                  <a:pt x="6374" y="5759"/>
                </a:lnTo>
                <a:lnTo>
                  <a:pt x="6350" y="5766"/>
                </a:lnTo>
                <a:lnTo>
                  <a:pt x="6338" y="5769"/>
                </a:lnTo>
                <a:lnTo>
                  <a:pt x="6325" y="5771"/>
                </a:lnTo>
                <a:lnTo>
                  <a:pt x="6312" y="5772"/>
                </a:lnTo>
                <a:lnTo>
                  <a:pt x="6299" y="5773"/>
                </a:lnTo>
                <a:lnTo>
                  <a:pt x="6292" y="5783"/>
                </a:lnTo>
                <a:lnTo>
                  <a:pt x="6281" y="5796"/>
                </a:lnTo>
                <a:lnTo>
                  <a:pt x="6267" y="5810"/>
                </a:lnTo>
                <a:lnTo>
                  <a:pt x="6252" y="5824"/>
                </a:lnTo>
                <a:lnTo>
                  <a:pt x="6235" y="5837"/>
                </a:lnTo>
                <a:lnTo>
                  <a:pt x="6219" y="5847"/>
                </a:lnTo>
                <a:lnTo>
                  <a:pt x="6212" y="5851"/>
                </a:lnTo>
                <a:lnTo>
                  <a:pt x="6205" y="5854"/>
                </a:lnTo>
                <a:lnTo>
                  <a:pt x="6198" y="5856"/>
                </a:lnTo>
                <a:lnTo>
                  <a:pt x="6193" y="5857"/>
                </a:lnTo>
                <a:lnTo>
                  <a:pt x="6183" y="5884"/>
                </a:lnTo>
                <a:lnTo>
                  <a:pt x="6172" y="5914"/>
                </a:lnTo>
                <a:lnTo>
                  <a:pt x="6158" y="5946"/>
                </a:lnTo>
                <a:lnTo>
                  <a:pt x="6143" y="5978"/>
                </a:lnTo>
                <a:lnTo>
                  <a:pt x="6134" y="5995"/>
                </a:lnTo>
                <a:lnTo>
                  <a:pt x="6126" y="6010"/>
                </a:lnTo>
                <a:lnTo>
                  <a:pt x="6116" y="6024"/>
                </a:lnTo>
                <a:lnTo>
                  <a:pt x="6106" y="6038"/>
                </a:lnTo>
                <a:lnTo>
                  <a:pt x="6096" y="6050"/>
                </a:lnTo>
                <a:lnTo>
                  <a:pt x="6086" y="6062"/>
                </a:lnTo>
                <a:lnTo>
                  <a:pt x="6076" y="6071"/>
                </a:lnTo>
                <a:lnTo>
                  <a:pt x="6066" y="6079"/>
                </a:lnTo>
                <a:lnTo>
                  <a:pt x="6065" y="6078"/>
                </a:lnTo>
                <a:lnTo>
                  <a:pt x="6064" y="6077"/>
                </a:lnTo>
                <a:lnTo>
                  <a:pt x="6062" y="6078"/>
                </a:lnTo>
                <a:lnTo>
                  <a:pt x="6059" y="6078"/>
                </a:lnTo>
                <a:lnTo>
                  <a:pt x="6052" y="6081"/>
                </a:lnTo>
                <a:lnTo>
                  <a:pt x="6042" y="6087"/>
                </a:lnTo>
                <a:lnTo>
                  <a:pt x="6019" y="6102"/>
                </a:lnTo>
                <a:lnTo>
                  <a:pt x="5993" y="6121"/>
                </a:lnTo>
                <a:lnTo>
                  <a:pt x="5966" y="6140"/>
                </a:lnTo>
                <a:lnTo>
                  <a:pt x="5944" y="6157"/>
                </a:lnTo>
                <a:lnTo>
                  <a:pt x="5936" y="6164"/>
                </a:lnTo>
                <a:lnTo>
                  <a:pt x="5930" y="6170"/>
                </a:lnTo>
                <a:lnTo>
                  <a:pt x="5929" y="6172"/>
                </a:lnTo>
                <a:lnTo>
                  <a:pt x="5928" y="6173"/>
                </a:lnTo>
                <a:lnTo>
                  <a:pt x="5927" y="6174"/>
                </a:lnTo>
                <a:lnTo>
                  <a:pt x="5928" y="6174"/>
                </a:lnTo>
                <a:lnTo>
                  <a:pt x="5922" y="6184"/>
                </a:lnTo>
                <a:lnTo>
                  <a:pt x="5915" y="6192"/>
                </a:lnTo>
                <a:lnTo>
                  <a:pt x="5909" y="6200"/>
                </a:lnTo>
                <a:lnTo>
                  <a:pt x="5903" y="6207"/>
                </a:lnTo>
                <a:lnTo>
                  <a:pt x="5891" y="6219"/>
                </a:lnTo>
                <a:lnTo>
                  <a:pt x="5879" y="6231"/>
                </a:lnTo>
                <a:lnTo>
                  <a:pt x="5873" y="6239"/>
                </a:lnTo>
                <a:lnTo>
                  <a:pt x="5868" y="6246"/>
                </a:lnTo>
                <a:lnTo>
                  <a:pt x="5863" y="6254"/>
                </a:lnTo>
                <a:lnTo>
                  <a:pt x="5857" y="6263"/>
                </a:lnTo>
                <a:lnTo>
                  <a:pt x="5853" y="6273"/>
                </a:lnTo>
                <a:lnTo>
                  <a:pt x="5849" y="6284"/>
                </a:lnTo>
                <a:lnTo>
                  <a:pt x="5846" y="6297"/>
                </a:lnTo>
                <a:lnTo>
                  <a:pt x="5843" y="6312"/>
                </a:lnTo>
                <a:lnTo>
                  <a:pt x="5841" y="6314"/>
                </a:lnTo>
                <a:lnTo>
                  <a:pt x="5838" y="6320"/>
                </a:lnTo>
                <a:lnTo>
                  <a:pt x="5834" y="6327"/>
                </a:lnTo>
                <a:lnTo>
                  <a:pt x="5830" y="6337"/>
                </a:lnTo>
                <a:lnTo>
                  <a:pt x="5822" y="6362"/>
                </a:lnTo>
                <a:lnTo>
                  <a:pt x="5813" y="6391"/>
                </a:lnTo>
                <a:lnTo>
                  <a:pt x="5804" y="6419"/>
                </a:lnTo>
                <a:lnTo>
                  <a:pt x="5797" y="6446"/>
                </a:lnTo>
                <a:lnTo>
                  <a:pt x="5792" y="6467"/>
                </a:lnTo>
                <a:lnTo>
                  <a:pt x="5791" y="6481"/>
                </a:lnTo>
                <a:lnTo>
                  <a:pt x="5785" y="6485"/>
                </a:lnTo>
                <a:lnTo>
                  <a:pt x="5779" y="6491"/>
                </a:lnTo>
                <a:lnTo>
                  <a:pt x="5773" y="6497"/>
                </a:lnTo>
                <a:lnTo>
                  <a:pt x="5768" y="6504"/>
                </a:lnTo>
                <a:lnTo>
                  <a:pt x="5757" y="6518"/>
                </a:lnTo>
                <a:lnTo>
                  <a:pt x="5748" y="6535"/>
                </a:lnTo>
                <a:lnTo>
                  <a:pt x="5727" y="6571"/>
                </a:lnTo>
                <a:lnTo>
                  <a:pt x="5707" y="6608"/>
                </a:lnTo>
                <a:lnTo>
                  <a:pt x="5696" y="6628"/>
                </a:lnTo>
                <a:lnTo>
                  <a:pt x="5685" y="6645"/>
                </a:lnTo>
                <a:lnTo>
                  <a:pt x="5678" y="6653"/>
                </a:lnTo>
                <a:lnTo>
                  <a:pt x="5672" y="6661"/>
                </a:lnTo>
                <a:lnTo>
                  <a:pt x="5666" y="6668"/>
                </a:lnTo>
                <a:lnTo>
                  <a:pt x="5659" y="6675"/>
                </a:lnTo>
                <a:lnTo>
                  <a:pt x="5651" y="6681"/>
                </a:lnTo>
                <a:lnTo>
                  <a:pt x="5644" y="6687"/>
                </a:lnTo>
                <a:lnTo>
                  <a:pt x="5636" y="6692"/>
                </a:lnTo>
                <a:lnTo>
                  <a:pt x="5628" y="6696"/>
                </a:lnTo>
                <a:lnTo>
                  <a:pt x="5619" y="6699"/>
                </a:lnTo>
                <a:lnTo>
                  <a:pt x="5610" y="6701"/>
                </a:lnTo>
                <a:lnTo>
                  <a:pt x="5599" y="6703"/>
                </a:lnTo>
                <a:lnTo>
                  <a:pt x="5589" y="6703"/>
                </a:lnTo>
                <a:lnTo>
                  <a:pt x="5583" y="6716"/>
                </a:lnTo>
                <a:lnTo>
                  <a:pt x="5576" y="6727"/>
                </a:lnTo>
                <a:lnTo>
                  <a:pt x="5569" y="6738"/>
                </a:lnTo>
                <a:lnTo>
                  <a:pt x="5562" y="6749"/>
                </a:lnTo>
                <a:lnTo>
                  <a:pt x="5547" y="6766"/>
                </a:lnTo>
                <a:lnTo>
                  <a:pt x="5531" y="6782"/>
                </a:lnTo>
                <a:lnTo>
                  <a:pt x="5500" y="6810"/>
                </a:lnTo>
                <a:lnTo>
                  <a:pt x="5468" y="6836"/>
                </a:lnTo>
                <a:lnTo>
                  <a:pt x="5454" y="6849"/>
                </a:lnTo>
                <a:lnTo>
                  <a:pt x="5441" y="6863"/>
                </a:lnTo>
                <a:lnTo>
                  <a:pt x="5435" y="6872"/>
                </a:lnTo>
                <a:lnTo>
                  <a:pt x="5429" y="6880"/>
                </a:lnTo>
                <a:lnTo>
                  <a:pt x="5424" y="6889"/>
                </a:lnTo>
                <a:lnTo>
                  <a:pt x="5419" y="6898"/>
                </a:lnTo>
                <a:lnTo>
                  <a:pt x="5415" y="6908"/>
                </a:lnTo>
                <a:lnTo>
                  <a:pt x="5411" y="6918"/>
                </a:lnTo>
                <a:lnTo>
                  <a:pt x="5407" y="6929"/>
                </a:lnTo>
                <a:lnTo>
                  <a:pt x="5405" y="6941"/>
                </a:lnTo>
                <a:lnTo>
                  <a:pt x="5402" y="6955"/>
                </a:lnTo>
                <a:lnTo>
                  <a:pt x="5401" y="6968"/>
                </a:lnTo>
                <a:lnTo>
                  <a:pt x="5400" y="6983"/>
                </a:lnTo>
                <a:lnTo>
                  <a:pt x="5399" y="7000"/>
                </a:lnTo>
                <a:lnTo>
                  <a:pt x="5403" y="7005"/>
                </a:lnTo>
                <a:lnTo>
                  <a:pt x="5407" y="7010"/>
                </a:lnTo>
                <a:lnTo>
                  <a:pt x="5410" y="7016"/>
                </a:lnTo>
                <a:lnTo>
                  <a:pt x="5413" y="7023"/>
                </a:lnTo>
                <a:lnTo>
                  <a:pt x="5420" y="7038"/>
                </a:lnTo>
                <a:lnTo>
                  <a:pt x="5426" y="7055"/>
                </a:lnTo>
                <a:lnTo>
                  <a:pt x="5431" y="7074"/>
                </a:lnTo>
                <a:lnTo>
                  <a:pt x="5436" y="7094"/>
                </a:lnTo>
                <a:lnTo>
                  <a:pt x="5441" y="7116"/>
                </a:lnTo>
                <a:lnTo>
                  <a:pt x="5445" y="7139"/>
                </a:lnTo>
                <a:lnTo>
                  <a:pt x="5452" y="7183"/>
                </a:lnTo>
                <a:lnTo>
                  <a:pt x="5458" y="7225"/>
                </a:lnTo>
                <a:lnTo>
                  <a:pt x="5464" y="7263"/>
                </a:lnTo>
                <a:lnTo>
                  <a:pt x="5469" y="7291"/>
                </a:lnTo>
                <a:lnTo>
                  <a:pt x="5475" y="7318"/>
                </a:lnTo>
                <a:lnTo>
                  <a:pt x="5480" y="7346"/>
                </a:lnTo>
                <a:lnTo>
                  <a:pt x="5483" y="7359"/>
                </a:lnTo>
                <a:lnTo>
                  <a:pt x="5484" y="7372"/>
                </a:lnTo>
                <a:lnTo>
                  <a:pt x="5484" y="7384"/>
                </a:lnTo>
                <a:lnTo>
                  <a:pt x="5483" y="7395"/>
                </a:lnTo>
                <a:lnTo>
                  <a:pt x="5480" y="7406"/>
                </a:lnTo>
                <a:lnTo>
                  <a:pt x="5476" y="7415"/>
                </a:lnTo>
                <a:lnTo>
                  <a:pt x="5474" y="7419"/>
                </a:lnTo>
                <a:lnTo>
                  <a:pt x="5470" y="7423"/>
                </a:lnTo>
                <a:lnTo>
                  <a:pt x="5467" y="7427"/>
                </a:lnTo>
                <a:lnTo>
                  <a:pt x="5463" y="7430"/>
                </a:lnTo>
                <a:lnTo>
                  <a:pt x="5458" y="7433"/>
                </a:lnTo>
                <a:lnTo>
                  <a:pt x="5453" y="7436"/>
                </a:lnTo>
                <a:lnTo>
                  <a:pt x="5448" y="7438"/>
                </a:lnTo>
                <a:lnTo>
                  <a:pt x="5441" y="7440"/>
                </a:lnTo>
                <a:lnTo>
                  <a:pt x="5427" y="7443"/>
                </a:lnTo>
                <a:lnTo>
                  <a:pt x="5410" y="7444"/>
                </a:lnTo>
                <a:lnTo>
                  <a:pt x="5395" y="7422"/>
                </a:lnTo>
                <a:lnTo>
                  <a:pt x="5371" y="7383"/>
                </a:lnTo>
                <a:lnTo>
                  <a:pt x="5359" y="7362"/>
                </a:lnTo>
                <a:lnTo>
                  <a:pt x="5349" y="7344"/>
                </a:lnTo>
                <a:lnTo>
                  <a:pt x="5346" y="7338"/>
                </a:lnTo>
                <a:lnTo>
                  <a:pt x="5344" y="7333"/>
                </a:lnTo>
                <a:lnTo>
                  <a:pt x="5344" y="7331"/>
                </a:lnTo>
                <a:lnTo>
                  <a:pt x="5344" y="7329"/>
                </a:lnTo>
                <a:lnTo>
                  <a:pt x="5345" y="7328"/>
                </a:lnTo>
                <a:lnTo>
                  <a:pt x="5346" y="7328"/>
                </a:lnTo>
                <a:lnTo>
                  <a:pt x="5345" y="7319"/>
                </a:lnTo>
                <a:lnTo>
                  <a:pt x="5343" y="7308"/>
                </a:lnTo>
                <a:lnTo>
                  <a:pt x="5341" y="7295"/>
                </a:lnTo>
                <a:lnTo>
                  <a:pt x="5337" y="7281"/>
                </a:lnTo>
                <a:lnTo>
                  <a:pt x="5327" y="7249"/>
                </a:lnTo>
                <a:lnTo>
                  <a:pt x="5315" y="7214"/>
                </a:lnTo>
                <a:lnTo>
                  <a:pt x="5302" y="7181"/>
                </a:lnTo>
                <a:lnTo>
                  <a:pt x="5288" y="7149"/>
                </a:lnTo>
                <a:lnTo>
                  <a:pt x="5281" y="7135"/>
                </a:lnTo>
                <a:lnTo>
                  <a:pt x="5274" y="7122"/>
                </a:lnTo>
                <a:lnTo>
                  <a:pt x="5268" y="7110"/>
                </a:lnTo>
                <a:lnTo>
                  <a:pt x="5262" y="7101"/>
                </a:lnTo>
                <a:lnTo>
                  <a:pt x="5258" y="7095"/>
                </a:lnTo>
                <a:lnTo>
                  <a:pt x="5253" y="7091"/>
                </a:lnTo>
                <a:lnTo>
                  <a:pt x="5249" y="7087"/>
                </a:lnTo>
                <a:lnTo>
                  <a:pt x="5245" y="7084"/>
                </a:lnTo>
                <a:lnTo>
                  <a:pt x="5240" y="7082"/>
                </a:lnTo>
                <a:lnTo>
                  <a:pt x="5235" y="7080"/>
                </a:lnTo>
                <a:lnTo>
                  <a:pt x="5230" y="7078"/>
                </a:lnTo>
                <a:lnTo>
                  <a:pt x="5224" y="7077"/>
                </a:lnTo>
                <a:lnTo>
                  <a:pt x="5213" y="7076"/>
                </a:lnTo>
                <a:lnTo>
                  <a:pt x="5202" y="7077"/>
                </a:lnTo>
                <a:lnTo>
                  <a:pt x="5190" y="7078"/>
                </a:lnTo>
                <a:lnTo>
                  <a:pt x="5179" y="7080"/>
                </a:lnTo>
                <a:lnTo>
                  <a:pt x="5154" y="7085"/>
                </a:lnTo>
                <a:lnTo>
                  <a:pt x="5130" y="7089"/>
                </a:lnTo>
                <a:lnTo>
                  <a:pt x="5117" y="7090"/>
                </a:lnTo>
                <a:lnTo>
                  <a:pt x="5105" y="7090"/>
                </a:lnTo>
                <a:lnTo>
                  <a:pt x="5093" y="7088"/>
                </a:lnTo>
                <a:lnTo>
                  <a:pt x="5081" y="7084"/>
                </a:lnTo>
                <a:lnTo>
                  <a:pt x="5078" y="7080"/>
                </a:lnTo>
                <a:lnTo>
                  <a:pt x="5075" y="7075"/>
                </a:lnTo>
                <a:lnTo>
                  <a:pt x="5070" y="7071"/>
                </a:lnTo>
                <a:lnTo>
                  <a:pt x="5065" y="7067"/>
                </a:lnTo>
                <a:lnTo>
                  <a:pt x="5053" y="7059"/>
                </a:lnTo>
                <a:lnTo>
                  <a:pt x="5038" y="7053"/>
                </a:lnTo>
                <a:lnTo>
                  <a:pt x="5021" y="7047"/>
                </a:lnTo>
                <a:lnTo>
                  <a:pt x="5003" y="7042"/>
                </a:lnTo>
                <a:lnTo>
                  <a:pt x="4984" y="7037"/>
                </a:lnTo>
                <a:lnTo>
                  <a:pt x="4963" y="7034"/>
                </a:lnTo>
                <a:lnTo>
                  <a:pt x="4921" y="7028"/>
                </a:lnTo>
                <a:lnTo>
                  <a:pt x="4881" y="7024"/>
                </a:lnTo>
                <a:lnTo>
                  <a:pt x="4845" y="7022"/>
                </a:lnTo>
                <a:lnTo>
                  <a:pt x="4817" y="7021"/>
                </a:lnTo>
                <a:lnTo>
                  <a:pt x="4821" y="7035"/>
                </a:lnTo>
                <a:lnTo>
                  <a:pt x="4827" y="7046"/>
                </a:lnTo>
                <a:lnTo>
                  <a:pt x="4834" y="7057"/>
                </a:lnTo>
                <a:lnTo>
                  <a:pt x="4840" y="7067"/>
                </a:lnTo>
                <a:lnTo>
                  <a:pt x="4847" y="7077"/>
                </a:lnTo>
                <a:lnTo>
                  <a:pt x="4853" y="7088"/>
                </a:lnTo>
                <a:lnTo>
                  <a:pt x="4856" y="7094"/>
                </a:lnTo>
                <a:lnTo>
                  <a:pt x="4857" y="7101"/>
                </a:lnTo>
                <a:lnTo>
                  <a:pt x="4859" y="7108"/>
                </a:lnTo>
                <a:lnTo>
                  <a:pt x="4860" y="7116"/>
                </a:lnTo>
                <a:lnTo>
                  <a:pt x="4823" y="7133"/>
                </a:lnTo>
                <a:lnTo>
                  <a:pt x="4792" y="7146"/>
                </a:lnTo>
                <a:lnTo>
                  <a:pt x="4777" y="7151"/>
                </a:lnTo>
                <a:lnTo>
                  <a:pt x="4761" y="7154"/>
                </a:lnTo>
                <a:lnTo>
                  <a:pt x="4752" y="7155"/>
                </a:lnTo>
                <a:lnTo>
                  <a:pt x="4743" y="7156"/>
                </a:lnTo>
                <a:lnTo>
                  <a:pt x="4734" y="7155"/>
                </a:lnTo>
                <a:lnTo>
                  <a:pt x="4723" y="7154"/>
                </a:lnTo>
                <a:lnTo>
                  <a:pt x="4707" y="7151"/>
                </a:lnTo>
                <a:lnTo>
                  <a:pt x="4694" y="7147"/>
                </a:lnTo>
                <a:lnTo>
                  <a:pt x="4681" y="7142"/>
                </a:lnTo>
                <a:lnTo>
                  <a:pt x="4671" y="7136"/>
                </a:lnTo>
                <a:lnTo>
                  <a:pt x="4653" y="7122"/>
                </a:lnTo>
                <a:lnTo>
                  <a:pt x="4636" y="7108"/>
                </a:lnTo>
                <a:lnTo>
                  <a:pt x="4628" y="7101"/>
                </a:lnTo>
                <a:lnTo>
                  <a:pt x="4620" y="7095"/>
                </a:lnTo>
                <a:lnTo>
                  <a:pt x="4611" y="7089"/>
                </a:lnTo>
                <a:lnTo>
                  <a:pt x="4600" y="7085"/>
                </a:lnTo>
                <a:lnTo>
                  <a:pt x="4588" y="7081"/>
                </a:lnTo>
                <a:lnTo>
                  <a:pt x="4575" y="7079"/>
                </a:lnTo>
                <a:lnTo>
                  <a:pt x="4559" y="7078"/>
                </a:lnTo>
                <a:lnTo>
                  <a:pt x="4542" y="7079"/>
                </a:lnTo>
                <a:lnTo>
                  <a:pt x="4527" y="7081"/>
                </a:lnTo>
                <a:lnTo>
                  <a:pt x="4512" y="7083"/>
                </a:lnTo>
                <a:lnTo>
                  <a:pt x="4498" y="7087"/>
                </a:lnTo>
                <a:lnTo>
                  <a:pt x="4484" y="7091"/>
                </a:lnTo>
                <a:lnTo>
                  <a:pt x="4469" y="7095"/>
                </a:lnTo>
                <a:lnTo>
                  <a:pt x="4456" y="7100"/>
                </a:lnTo>
                <a:lnTo>
                  <a:pt x="4443" y="7106"/>
                </a:lnTo>
                <a:lnTo>
                  <a:pt x="4430" y="7112"/>
                </a:lnTo>
                <a:lnTo>
                  <a:pt x="4418" y="7120"/>
                </a:lnTo>
                <a:lnTo>
                  <a:pt x="4406" y="7127"/>
                </a:lnTo>
                <a:lnTo>
                  <a:pt x="4395" y="7135"/>
                </a:lnTo>
                <a:lnTo>
                  <a:pt x="4384" y="7143"/>
                </a:lnTo>
                <a:lnTo>
                  <a:pt x="4373" y="7152"/>
                </a:lnTo>
                <a:lnTo>
                  <a:pt x="4363" y="7161"/>
                </a:lnTo>
                <a:lnTo>
                  <a:pt x="4353" y="7171"/>
                </a:lnTo>
                <a:lnTo>
                  <a:pt x="4343" y="7181"/>
                </a:lnTo>
                <a:lnTo>
                  <a:pt x="4334" y="7192"/>
                </a:lnTo>
                <a:lnTo>
                  <a:pt x="4326" y="7203"/>
                </a:lnTo>
                <a:lnTo>
                  <a:pt x="4318" y="7214"/>
                </a:lnTo>
                <a:lnTo>
                  <a:pt x="4311" y="7226"/>
                </a:lnTo>
                <a:lnTo>
                  <a:pt x="4304" y="7238"/>
                </a:lnTo>
                <a:lnTo>
                  <a:pt x="4298" y="7251"/>
                </a:lnTo>
                <a:lnTo>
                  <a:pt x="4292" y="7264"/>
                </a:lnTo>
                <a:lnTo>
                  <a:pt x="4287" y="7277"/>
                </a:lnTo>
                <a:lnTo>
                  <a:pt x="4282" y="7291"/>
                </a:lnTo>
                <a:lnTo>
                  <a:pt x="4278" y="7304"/>
                </a:lnTo>
                <a:lnTo>
                  <a:pt x="4275" y="7318"/>
                </a:lnTo>
                <a:lnTo>
                  <a:pt x="4272" y="7332"/>
                </a:lnTo>
                <a:lnTo>
                  <a:pt x="4270" y="7347"/>
                </a:lnTo>
                <a:lnTo>
                  <a:pt x="4268" y="7361"/>
                </a:lnTo>
                <a:lnTo>
                  <a:pt x="4267" y="7377"/>
                </a:lnTo>
                <a:lnTo>
                  <a:pt x="4267" y="7392"/>
                </a:lnTo>
                <a:lnTo>
                  <a:pt x="4265" y="7393"/>
                </a:lnTo>
                <a:lnTo>
                  <a:pt x="4264" y="7395"/>
                </a:lnTo>
                <a:lnTo>
                  <a:pt x="4262" y="7400"/>
                </a:lnTo>
                <a:lnTo>
                  <a:pt x="4261" y="7405"/>
                </a:lnTo>
                <a:lnTo>
                  <a:pt x="4259" y="7421"/>
                </a:lnTo>
                <a:lnTo>
                  <a:pt x="4257" y="7441"/>
                </a:lnTo>
                <a:lnTo>
                  <a:pt x="4255" y="7491"/>
                </a:lnTo>
                <a:lnTo>
                  <a:pt x="4254" y="7550"/>
                </a:lnTo>
                <a:lnTo>
                  <a:pt x="4255" y="7608"/>
                </a:lnTo>
                <a:lnTo>
                  <a:pt x="4257" y="7659"/>
                </a:lnTo>
                <a:lnTo>
                  <a:pt x="4259" y="7680"/>
                </a:lnTo>
                <a:lnTo>
                  <a:pt x="4261" y="7695"/>
                </a:lnTo>
                <a:lnTo>
                  <a:pt x="4262" y="7701"/>
                </a:lnTo>
                <a:lnTo>
                  <a:pt x="4264" y="7705"/>
                </a:lnTo>
                <a:lnTo>
                  <a:pt x="4265" y="7708"/>
                </a:lnTo>
                <a:lnTo>
                  <a:pt x="4267" y="7709"/>
                </a:lnTo>
                <a:lnTo>
                  <a:pt x="4268" y="7725"/>
                </a:lnTo>
                <a:lnTo>
                  <a:pt x="4270" y="7741"/>
                </a:lnTo>
                <a:lnTo>
                  <a:pt x="4274" y="7757"/>
                </a:lnTo>
                <a:lnTo>
                  <a:pt x="4278" y="7772"/>
                </a:lnTo>
                <a:lnTo>
                  <a:pt x="4284" y="7787"/>
                </a:lnTo>
                <a:lnTo>
                  <a:pt x="4290" y="7801"/>
                </a:lnTo>
                <a:lnTo>
                  <a:pt x="4297" y="7815"/>
                </a:lnTo>
                <a:lnTo>
                  <a:pt x="4304" y="7828"/>
                </a:lnTo>
                <a:lnTo>
                  <a:pt x="4317" y="7854"/>
                </a:lnTo>
                <a:lnTo>
                  <a:pt x="4329" y="7881"/>
                </a:lnTo>
                <a:lnTo>
                  <a:pt x="4333" y="7894"/>
                </a:lnTo>
                <a:lnTo>
                  <a:pt x="4337" y="7906"/>
                </a:lnTo>
                <a:lnTo>
                  <a:pt x="4339" y="7919"/>
                </a:lnTo>
                <a:lnTo>
                  <a:pt x="4340" y="7931"/>
                </a:lnTo>
                <a:lnTo>
                  <a:pt x="4348" y="7932"/>
                </a:lnTo>
                <a:lnTo>
                  <a:pt x="4355" y="7933"/>
                </a:lnTo>
                <a:lnTo>
                  <a:pt x="4362" y="7935"/>
                </a:lnTo>
                <a:lnTo>
                  <a:pt x="4368" y="7938"/>
                </a:lnTo>
                <a:lnTo>
                  <a:pt x="4382" y="7946"/>
                </a:lnTo>
                <a:lnTo>
                  <a:pt x="4396" y="7956"/>
                </a:lnTo>
                <a:lnTo>
                  <a:pt x="4410" y="7968"/>
                </a:lnTo>
                <a:lnTo>
                  <a:pt x="4424" y="7981"/>
                </a:lnTo>
                <a:lnTo>
                  <a:pt x="4438" y="7995"/>
                </a:lnTo>
                <a:lnTo>
                  <a:pt x="4452" y="8011"/>
                </a:lnTo>
                <a:lnTo>
                  <a:pt x="4466" y="8026"/>
                </a:lnTo>
                <a:lnTo>
                  <a:pt x="4481" y="8040"/>
                </a:lnTo>
                <a:lnTo>
                  <a:pt x="4495" y="8053"/>
                </a:lnTo>
                <a:lnTo>
                  <a:pt x="4509" y="8065"/>
                </a:lnTo>
                <a:lnTo>
                  <a:pt x="4523" y="8075"/>
                </a:lnTo>
                <a:lnTo>
                  <a:pt x="4536" y="8083"/>
                </a:lnTo>
                <a:lnTo>
                  <a:pt x="4543" y="8086"/>
                </a:lnTo>
                <a:lnTo>
                  <a:pt x="4550" y="8088"/>
                </a:lnTo>
                <a:lnTo>
                  <a:pt x="4556" y="8089"/>
                </a:lnTo>
                <a:lnTo>
                  <a:pt x="4563" y="8090"/>
                </a:lnTo>
                <a:lnTo>
                  <a:pt x="4564" y="8100"/>
                </a:lnTo>
                <a:lnTo>
                  <a:pt x="4564" y="8108"/>
                </a:lnTo>
                <a:lnTo>
                  <a:pt x="4563" y="8116"/>
                </a:lnTo>
                <a:lnTo>
                  <a:pt x="4563" y="8123"/>
                </a:lnTo>
                <a:lnTo>
                  <a:pt x="4562" y="8130"/>
                </a:lnTo>
                <a:lnTo>
                  <a:pt x="4562" y="8135"/>
                </a:lnTo>
                <a:lnTo>
                  <a:pt x="4562" y="8140"/>
                </a:lnTo>
                <a:lnTo>
                  <a:pt x="4563" y="8144"/>
                </a:lnTo>
                <a:lnTo>
                  <a:pt x="4566" y="8147"/>
                </a:lnTo>
                <a:lnTo>
                  <a:pt x="4570" y="8149"/>
                </a:lnTo>
                <a:lnTo>
                  <a:pt x="4576" y="8151"/>
                </a:lnTo>
                <a:lnTo>
                  <a:pt x="4585" y="8152"/>
                </a:lnTo>
                <a:lnTo>
                  <a:pt x="4610" y="8154"/>
                </a:lnTo>
                <a:lnTo>
                  <a:pt x="4648" y="8154"/>
                </a:lnTo>
                <a:lnTo>
                  <a:pt x="4658" y="8144"/>
                </a:lnTo>
                <a:lnTo>
                  <a:pt x="4681" y="8125"/>
                </a:lnTo>
                <a:lnTo>
                  <a:pt x="4694" y="8113"/>
                </a:lnTo>
                <a:lnTo>
                  <a:pt x="4706" y="8099"/>
                </a:lnTo>
                <a:lnTo>
                  <a:pt x="4711" y="8092"/>
                </a:lnTo>
                <a:lnTo>
                  <a:pt x="4716" y="8084"/>
                </a:lnTo>
                <a:lnTo>
                  <a:pt x="4719" y="8077"/>
                </a:lnTo>
                <a:lnTo>
                  <a:pt x="4721" y="8069"/>
                </a:lnTo>
                <a:lnTo>
                  <a:pt x="4714" y="8066"/>
                </a:lnTo>
                <a:lnTo>
                  <a:pt x="4708" y="8064"/>
                </a:lnTo>
                <a:lnTo>
                  <a:pt x="4702" y="8061"/>
                </a:lnTo>
                <a:lnTo>
                  <a:pt x="4698" y="8057"/>
                </a:lnTo>
                <a:lnTo>
                  <a:pt x="4694" y="8054"/>
                </a:lnTo>
                <a:lnTo>
                  <a:pt x="4691" y="8049"/>
                </a:lnTo>
                <a:lnTo>
                  <a:pt x="4689" y="8045"/>
                </a:lnTo>
                <a:lnTo>
                  <a:pt x="4687" y="8040"/>
                </a:lnTo>
                <a:lnTo>
                  <a:pt x="4686" y="8035"/>
                </a:lnTo>
                <a:lnTo>
                  <a:pt x="4686" y="8030"/>
                </a:lnTo>
                <a:lnTo>
                  <a:pt x="4687" y="8024"/>
                </a:lnTo>
                <a:lnTo>
                  <a:pt x="4688" y="8019"/>
                </a:lnTo>
                <a:lnTo>
                  <a:pt x="4691" y="8007"/>
                </a:lnTo>
                <a:lnTo>
                  <a:pt x="4697" y="7994"/>
                </a:lnTo>
                <a:lnTo>
                  <a:pt x="4704" y="7983"/>
                </a:lnTo>
                <a:lnTo>
                  <a:pt x="4712" y="7971"/>
                </a:lnTo>
                <a:lnTo>
                  <a:pt x="4721" y="7960"/>
                </a:lnTo>
                <a:lnTo>
                  <a:pt x="4733" y="7950"/>
                </a:lnTo>
                <a:lnTo>
                  <a:pt x="4743" y="7940"/>
                </a:lnTo>
                <a:lnTo>
                  <a:pt x="4754" y="7932"/>
                </a:lnTo>
                <a:lnTo>
                  <a:pt x="4765" y="7926"/>
                </a:lnTo>
                <a:lnTo>
                  <a:pt x="4775" y="7921"/>
                </a:lnTo>
                <a:lnTo>
                  <a:pt x="4775" y="7927"/>
                </a:lnTo>
                <a:lnTo>
                  <a:pt x="4776" y="7933"/>
                </a:lnTo>
                <a:lnTo>
                  <a:pt x="4777" y="7937"/>
                </a:lnTo>
                <a:lnTo>
                  <a:pt x="4779" y="7941"/>
                </a:lnTo>
                <a:lnTo>
                  <a:pt x="4782" y="7944"/>
                </a:lnTo>
                <a:lnTo>
                  <a:pt x="4784" y="7946"/>
                </a:lnTo>
                <a:lnTo>
                  <a:pt x="4788" y="7948"/>
                </a:lnTo>
                <a:lnTo>
                  <a:pt x="4791" y="7948"/>
                </a:lnTo>
                <a:lnTo>
                  <a:pt x="4799" y="7948"/>
                </a:lnTo>
                <a:lnTo>
                  <a:pt x="4808" y="7945"/>
                </a:lnTo>
                <a:lnTo>
                  <a:pt x="4817" y="7941"/>
                </a:lnTo>
                <a:lnTo>
                  <a:pt x="4827" y="7936"/>
                </a:lnTo>
                <a:lnTo>
                  <a:pt x="4837" y="7929"/>
                </a:lnTo>
                <a:lnTo>
                  <a:pt x="4846" y="7922"/>
                </a:lnTo>
                <a:lnTo>
                  <a:pt x="4856" y="7914"/>
                </a:lnTo>
                <a:lnTo>
                  <a:pt x="4864" y="7907"/>
                </a:lnTo>
                <a:lnTo>
                  <a:pt x="4876" y="7896"/>
                </a:lnTo>
                <a:lnTo>
                  <a:pt x="4881" y="7889"/>
                </a:lnTo>
                <a:lnTo>
                  <a:pt x="4904" y="7881"/>
                </a:lnTo>
                <a:lnTo>
                  <a:pt x="4943" y="7865"/>
                </a:lnTo>
                <a:lnTo>
                  <a:pt x="4981" y="7852"/>
                </a:lnTo>
                <a:lnTo>
                  <a:pt x="4997" y="7846"/>
                </a:lnTo>
                <a:lnTo>
                  <a:pt x="4998" y="7839"/>
                </a:lnTo>
                <a:lnTo>
                  <a:pt x="4998" y="7832"/>
                </a:lnTo>
                <a:lnTo>
                  <a:pt x="4999" y="7827"/>
                </a:lnTo>
                <a:lnTo>
                  <a:pt x="5001" y="7822"/>
                </a:lnTo>
                <a:lnTo>
                  <a:pt x="5002" y="7819"/>
                </a:lnTo>
                <a:lnTo>
                  <a:pt x="5004" y="7816"/>
                </a:lnTo>
                <a:lnTo>
                  <a:pt x="5006" y="7814"/>
                </a:lnTo>
                <a:lnTo>
                  <a:pt x="5009" y="7812"/>
                </a:lnTo>
                <a:lnTo>
                  <a:pt x="5011" y="7812"/>
                </a:lnTo>
                <a:lnTo>
                  <a:pt x="5014" y="7812"/>
                </a:lnTo>
                <a:lnTo>
                  <a:pt x="5017" y="7812"/>
                </a:lnTo>
                <a:lnTo>
                  <a:pt x="5019" y="7813"/>
                </a:lnTo>
                <a:lnTo>
                  <a:pt x="5025" y="7817"/>
                </a:lnTo>
                <a:lnTo>
                  <a:pt x="5029" y="7823"/>
                </a:lnTo>
                <a:lnTo>
                  <a:pt x="5034" y="7830"/>
                </a:lnTo>
                <a:lnTo>
                  <a:pt x="5037" y="7838"/>
                </a:lnTo>
                <a:lnTo>
                  <a:pt x="5039" y="7847"/>
                </a:lnTo>
                <a:lnTo>
                  <a:pt x="5039" y="7856"/>
                </a:lnTo>
                <a:lnTo>
                  <a:pt x="5039" y="7860"/>
                </a:lnTo>
                <a:lnTo>
                  <a:pt x="5038" y="7865"/>
                </a:lnTo>
                <a:lnTo>
                  <a:pt x="5036" y="7869"/>
                </a:lnTo>
                <a:lnTo>
                  <a:pt x="5034" y="7873"/>
                </a:lnTo>
                <a:lnTo>
                  <a:pt x="5031" y="7878"/>
                </a:lnTo>
                <a:lnTo>
                  <a:pt x="5027" y="7882"/>
                </a:lnTo>
                <a:lnTo>
                  <a:pt x="5023" y="7886"/>
                </a:lnTo>
                <a:lnTo>
                  <a:pt x="5018" y="7889"/>
                </a:lnTo>
                <a:lnTo>
                  <a:pt x="5013" y="7889"/>
                </a:lnTo>
                <a:lnTo>
                  <a:pt x="5008" y="7890"/>
                </a:lnTo>
                <a:lnTo>
                  <a:pt x="5004" y="7892"/>
                </a:lnTo>
                <a:lnTo>
                  <a:pt x="4999" y="7893"/>
                </a:lnTo>
                <a:lnTo>
                  <a:pt x="4992" y="7898"/>
                </a:lnTo>
                <a:lnTo>
                  <a:pt x="4985" y="7904"/>
                </a:lnTo>
                <a:lnTo>
                  <a:pt x="4980" y="7911"/>
                </a:lnTo>
                <a:lnTo>
                  <a:pt x="4974" y="7919"/>
                </a:lnTo>
                <a:lnTo>
                  <a:pt x="4970" y="7928"/>
                </a:lnTo>
                <a:lnTo>
                  <a:pt x="4966" y="7937"/>
                </a:lnTo>
                <a:lnTo>
                  <a:pt x="4959" y="7954"/>
                </a:lnTo>
                <a:lnTo>
                  <a:pt x="4952" y="7969"/>
                </a:lnTo>
                <a:lnTo>
                  <a:pt x="4948" y="7975"/>
                </a:lnTo>
                <a:lnTo>
                  <a:pt x="4944" y="7980"/>
                </a:lnTo>
                <a:lnTo>
                  <a:pt x="4941" y="7982"/>
                </a:lnTo>
                <a:lnTo>
                  <a:pt x="4939" y="7983"/>
                </a:lnTo>
                <a:lnTo>
                  <a:pt x="4936" y="7984"/>
                </a:lnTo>
                <a:lnTo>
                  <a:pt x="4933" y="7984"/>
                </a:lnTo>
                <a:lnTo>
                  <a:pt x="4928" y="8010"/>
                </a:lnTo>
                <a:lnTo>
                  <a:pt x="4921" y="8034"/>
                </a:lnTo>
                <a:lnTo>
                  <a:pt x="4914" y="8058"/>
                </a:lnTo>
                <a:lnTo>
                  <a:pt x="4906" y="8082"/>
                </a:lnTo>
                <a:lnTo>
                  <a:pt x="4898" y="8105"/>
                </a:lnTo>
                <a:lnTo>
                  <a:pt x="4891" y="8130"/>
                </a:lnTo>
                <a:lnTo>
                  <a:pt x="4884" y="8153"/>
                </a:lnTo>
                <a:lnTo>
                  <a:pt x="4877" y="8178"/>
                </a:lnTo>
                <a:lnTo>
                  <a:pt x="4874" y="8192"/>
                </a:lnTo>
                <a:lnTo>
                  <a:pt x="4873" y="8205"/>
                </a:lnTo>
                <a:lnTo>
                  <a:pt x="4874" y="8216"/>
                </a:lnTo>
                <a:lnTo>
                  <a:pt x="4875" y="8227"/>
                </a:lnTo>
                <a:lnTo>
                  <a:pt x="4878" y="8236"/>
                </a:lnTo>
                <a:lnTo>
                  <a:pt x="4882" y="8245"/>
                </a:lnTo>
                <a:lnTo>
                  <a:pt x="4885" y="8255"/>
                </a:lnTo>
                <a:lnTo>
                  <a:pt x="4890" y="8263"/>
                </a:lnTo>
                <a:lnTo>
                  <a:pt x="4894" y="8271"/>
                </a:lnTo>
                <a:lnTo>
                  <a:pt x="4898" y="8279"/>
                </a:lnTo>
                <a:lnTo>
                  <a:pt x="4901" y="8288"/>
                </a:lnTo>
                <a:lnTo>
                  <a:pt x="4904" y="8297"/>
                </a:lnTo>
                <a:lnTo>
                  <a:pt x="4905" y="8307"/>
                </a:lnTo>
                <a:lnTo>
                  <a:pt x="4906" y="8318"/>
                </a:lnTo>
                <a:lnTo>
                  <a:pt x="4905" y="8330"/>
                </a:lnTo>
                <a:lnTo>
                  <a:pt x="4902" y="8344"/>
                </a:lnTo>
                <a:lnTo>
                  <a:pt x="4917" y="8346"/>
                </a:lnTo>
                <a:lnTo>
                  <a:pt x="4933" y="8348"/>
                </a:lnTo>
                <a:lnTo>
                  <a:pt x="4949" y="8349"/>
                </a:lnTo>
                <a:lnTo>
                  <a:pt x="4965" y="8350"/>
                </a:lnTo>
                <a:lnTo>
                  <a:pt x="4997" y="8351"/>
                </a:lnTo>
                <a:lnTo>
                  <a:pt x="5029" y="8350"/>
                </a:lnTo>
                <a:lnTo>
                  <a:pt x="5060" y="8348"/>
                </a:lnTo>
                <a:lnTo>
                  <a:pt x="5092" y="8346"/>
                </a:lnTo>
                <a:lnTo>
                  <a:pt x="5124" y="8345"/>
                </a:lnTo>
                <a:lnTo>
                  <a:pt x="5156" y="8344"/>
                </a:lnTo>
                <a:lnTo>
                  <a:pt x="5155" y="8333"/>
                </a:lnTo>
                <a:lnTo>
                  <a:pt x="5153" y="8322"/>
                </a:lnTo>
                <a:lnTo>
                  <a:pt x="5150" y="8312"/>
                </a:lnTo>
                <a:lnTo>
                  <a:pt x="5145" y="8302"/>
                </a:lnTo>
                <a:lnTo>
                  <a:pt x="5156" y="8303"/>
                </a:lnTo>
                <a:lnTo>
                  <a:pt x="5165" y="8304"/>
                </a:lnTo>
                <a:lnTo>
                  <a:pt x="5174" y="8308"/>
                </a:lnTo>
                <a:lnTo>
                  <a:pt x="5181" y="8312"/>
                </a:lnTo>
                <a:lnTo>
                  <a:pt x="5187" y="8317"/>
                </a:lnTo>
                <a:lnTo>
                  <a:pt x="5192" y="8323"/>
                </a:lnTo>
                <a:lnTo>
                  <a:pt x="5196" y="8330"/>
                </a:lnTo>
                <a:lnTo>
                  <a:pt x="5199" y="8338"/>
                </a:lnTo>
                <a:lnTo>
                  <a:pt x="5202" y="8346"/>
                </a:lnTo>
                <a:lnTo>
                  <a:pt x="5204" y="8355"/>
                </a:lnTo>
                <a:lnTo>
                  <a:pt x="5205" y="8365"/>
                </a:lnTo>
                <a:lnTo>
                  <a:pt x="5206" y="8375"/>
                </a:lnTo>
                <a:lnTo>
                  <a:pt x="5206" y="8397"/>
                </a:lnTo>
                <a:lnTo>
                  <a:pt x="5205" y="8418"/>
                </a:lnTo>
                <a:lnTo>
                  <a:pt x="5204" y="8440"/>
                </a:lnTo>
                <a:lnTo>
                  <a:pt x="5202" y="8461"/>
                </a:lnTo>
                <a:lnTo>
                  <a:pt x="5202" y="8480"/>
                </a:lnTo>
                <a:lnTo>
                  <a:pt x="5202" y="8497"/>
                </a:lnTo>
                <a:lnTo>
                  <a:pt x="5203" y="8506"/>
                </a:lnTo>
                <a:lnTo>
                  <a:pt x="5205" y="8513"/>
                </a:lnTo>
                <a:lnTo>
                  <a:pt x="5207" y="8519"/>
                </a:lnTo>
                <a:lnTo>
                  <a:pt x="5210" y="8525"/>
                </a:lnTo>
                <a:lnTo>
                  <a:pt x="5213" y="8529"/>
                </a:lnTo>
                <a:lnTo>
                  <a:pt x="5218" y="8532"/>
                </a:lnTo>
                <a:lnTo>
                  <a:pt x="5223" y="8534"/>
                </a:lnTo>
                <a:lnTo>
                  <a:pt x="5230" y="8535"/>
                </a:lnTo>
                <a:lnTo>
                  <a:pt x="5231" y="8551"/>
                </a:lnTo>
                <a:lnTo>
                  <a:pt x="5232" y="8566"/>
                </a:lnTo>
                <a:lnTo>
                  <a:pt x="5234" y="8582"/>
                </a:lnTo>
                <a:lnTo>
                  <a:pt x="5237" y="8597"/>
                </a:lnTo>
                <a:lnTo>
                  <a:pt x="5244" y="8625"/>
                </a:lnTo>
                <a:lnTo>
                  <a:pt x="5251" y="8653"/>
                </a:lnTo>
                <a:lnTo>
                  <a:pt x="5259" y="8678"/>
                </a:lnTo>
                <a:lnTo>
                  <a:pt x="5266" y="8702"/>
                </a:lnTo>
                <a:lnTo>
                  <a:pt x="5268" y="8714"/>
                </a:lnTo>
                <a:lnTo>
                  <a:pt x="5270" y="8725"/>
                </a:lnTo>
                <a:lnTo>
                  <a:pt x="5272" y="8735"/>
                </a:lnTo>
                <a:lnTo>
                  <a:pt x="5272" y="8746"/>
                </a:lnTo>
                <a:lnTo>
                  <a:pt x="5282" y="8753"/>
                </a:lnTo>
                <a:lnTo>
                  <a:pt x="5292" y="8762"/>
                </a:lnTo>
                <a:lnTo>
                  <a:pt x="5301" y="8769"/>
                </a:lnTo>
                <a:lnTo>
                  <a:pt x="5310" y="8778"/>
                </a:lnTo>
                <a:lnTo>
                  <a:pt x="5318" y="8786"/>
                </a:lnTo>
                <a:lnTo>
                  <a:pt x="5325" y="8795"/>
                </a:lnTo>
                <a:lnTo>
                  <a:pt x="5331" y="8804"/>
                </a:lnTo>
                <a:lnTo>
                  <a:pt x="5337" y="8814"/>
                </a:lnTo>
                <a:lnTo>
                  <a:pt x="5341" y="8824"/>
                </a:lnTo>
                <a:lnTo>
                  <a:pt x="5345" y="8834"/>
                </a:lnTo>
                <a:lnTo>
                  <a:pt x="5348" y="8845"/>
                </a:lnTo>
                <a:lnTo>
                  <a:pt x="5350" y="8856"/>
                </a:lnTo>
                <a:lnTo>
                  <a:pt x="5350" y="8867"/>
                </a:lnTo>
                <a:lnTo>
                  <a:pt x="5350" y="8879"/>
                </a:lnTo>
                <a:lnTo>
                  <a:pt x="5348" y="8892"/>
                </a:lnTo>
                <a:lnTo>
                  <a:pt x="5346" y="8905"/>
                </a:lnTo>
                <a:lnTo>
                  <a:pt x="5376" y="8909"/>
                </a:lnTo>
                <a:lnTo>
                  <a:pt x="5410" y="8912"/>
                </a:lnTo>
                <a:lnTo>
                  <a:pt x="5429" y="8913"/>
                </a:lnTo>
                <a:lnTo>
                  <a:pt x="5447" y="8913"/>
                </a:lnTo>
                <a:lnTo>
                  <a:pt x="5465" y="8913"/>
                </a:lnTo>
                <a:lnTo>
                  <a:pt x="5484" y="8911"/>
                </a:lnTo>
                <a:lnTo>
                  <a:pt x="5501" y="8909"/>
                </a:lnTo>
                <a:lnTo>
                  <a:pt x="5517" y="8904"/>
                </a:lnTo>
                <a:lnTo>
                  <a:pt x="5524" y="8902"/>
                </a:lnTo>
                <a:lnTo>
                  <a:pt x="5531" y="8899"/>
                </a:lnTo>
                <a:lnTo>
                  <a:pt x="5537" y="8895"/>
                </a:lnTo>
                <a:lnTo>
                  <a:pt x="5543" y="8892"/>
                </a:lnTo>
                <a:lnTo>
                  <a:pt x="5549" y="8887"/>
                </a:lnTo>
                <a:lnTo>
                  <a:pt x="5554" y="8881"/>
                </a:lnTo>
                <a:lnTo>
                  <a:pt x="5558" y="8876"/>
                </a:lnTo>
                <a:lnTo>
                  <a:pt x="5561" y="8870"/>
                </a:lnTo>
                <a:lnTo>
                  <a:pt x="5564" y="8864"/>
                </a:lnTo>
                <a:lnTo>
                  <a:pt x="5566" y="8857"/>
                </a:lnTo>
                <a:lnTo>
                  <a:pt x="5567" y="8849"/>
                </a:lnTo>
                <a:lnTo>
                  <a:pt x="5568" y="8841"/>
                </a:lnTo>
                <a:lnTo>
                  <a:pt x="5587" y="8842"/>
                </a:lnTo>
                <a:lnTo>
                  <a:pt x="5603" y="8844"/>
                </a:lnTo>
                <a:lnTo>
                  <a:pt x="5619" y="8848"/>
                </a:lnTo>
                <a:lnTo>
                  <a:pt x="5631" y="8854"/>
                </a:lnTo>
                <a:lnTo>
                  <a:pt x="5642" y="8860"/>
                </a:lnTo>
                <a:lnTo>
                  <a:pt x="5651" y="8868"/>
                </a:lnTo>
                <a:lnTo>
                  <a:pt x="5658" y="8877"/>
                </a:lnTo>
                <a:lnTo>
                  <a:pt x="5664" y="8888"/>
                </a:lnTo>
                <a:lnTo>
                  <a:pt x="5669" y="8899"/>
                </a:lnTo>
                <a:lnTo>
                  <a:pt x="5673" y="8910"/>
                </a:lnTo>
                <a:lnTo>
                  <a:pt x="5675" y="8922"/>
                </a:lnTo>
                <a:lnTo>
                  <a:pt x="5676" y="8935"/>
                </a:lnTo>
                <a:lnTo>
                  <a:pt x="5677" y="8948"/>
                </a:lnTo>
                <a:lnTo>
                  <a:pt x="5677" y="8962"/>
                </a:lnTo>
                <a:lnTo>
                  <a:pt x="5676" y="8975"/>
                </a:lnTo>
                <a:lnTo>
                  <a:pt x="5674" y="8989"/>
                </a:lnTo>
                <a:lnTo>
                  <a:pt x="5693" y="8988"/>
                </a:lnTo>
                <a:lnTo>
                  <a:pt x="5710" y="8987"/>
                </a:lnTo>
                <a:lnTo>
                  <a:pt x="5725" y="8984"/>
                </a:lnTo>
                <a:lnTo>
                  <a:pt x="5740" y="8980"/>
                </a:lnTo>
                <a:lnTo>
                  <a:pt x="5752" y="8975"/>
                </a:lnTo>
                <a:lnTo>
                  <a:pt x="5762" y="8970"/>
                </a:lnTo>
                <a:lnTo>
                  <a:pt x="5771" y="8963"/>
                </a:lnTo>
                <a:lnTo>
                  <a:pt x="5778" y="8956"/>
                </a:lnTo>
                <a:lnTo>
                  <a:pt x="5785" y="8949"/>
                </a:lnTo>
                <a:lnTo>
                  <a:pt x="5790" y="8940"/>
                </a:lnTo>
                <a:lnTo>
                  <a:pt x="5795" y="8932"/>
                </a:lnTo>
                <a:lnTo>
                  <a:pt x="5798" y="8923"/>
                </a:lnTo>
                <a:lnTo>
                  <a:pt x="5801" y="8913"/>
                </a:lnTo>
                <a:lnTo>
                  <a:pt x="5803" y="8904"/>
                </a:lnTo>
                <a:lnTo>
                  <a:pt x="5804" y="8894"/>
                </a:lnTo>
                <a:lnTo>
                  <a:pt x="5805" y="8884"/>
                </a:lnTo>
                <a:lnTo>
                  <a:pt x="5807" y="8844"/>
                </a:lnTo>
                <a:lnTo>
                  <a:pt x="5809" y="8811"/>
                </a:lnTo>
                <a:lnTo>
                  <a:pt x="5811" y="8804"/>
                </a:lnTo>
                <a:lnTo>
                  <a:pt x="5813" y="8797"/>
                </a:lnTo>
                <a:lnTo>
                  <a:pt x="5816" y="8792"/>
                </a:lnTo>
                <a:lnTo>
                  <a:pt x="5819" y="8787"/>
                </a:lnTo>
                <a:lnTo>
                  <a:pt x="5823" y="8783"/>
                </a:lnTo>
                <a:lnTo>
                  <a:pt x="5829" y="8780"/>
                </a:lnTo>
                <a:lnTo>
                  <a:pt x="5835" y="8779"/>
                </a:lnTo>
                <a:lnTo>
                  <a:pt x="5843" y="8778"/>
                </a:lnTo>
                <a:lnTo>
                  <a:pt x="5846" y="8766"/>
                </a:lnTo>
                <a:lnTo>
                  <a:pt x="5850" y="8758"/>
                </a:lnTo>
                <a:lnTo>
                  <a:pt x="5852" y="8753"/>
                </a:lnTo>
                <a:lnTo>
                  <a:pt x="5855" y="8750"/>
                </a:lnTo>
                <a:lnTo>
                  <a:pt x="5857" y="8748"/>
                </a:lnTo>
                <a:lnTo>
                  <a:pt x="5861" y="8747"/>
                </a:lnTo>
                <a:lnTo>
                  <a:pt x="5864" y="8746"/>
                </a:lnTo>
                <a:lnTo>
                  <a:pt x="5866" y="8746"/>
                </a:lnTo>
                <a:lnTo>
                  <a:pt x="5870" y="8746"/>
                </a:lnTo>
                <a:lnTo>
                  <a:pt x="5873" y="8747"/>
                </a:lnTo>
                <a:lnTo>
                  <a:pt x="5879" y="8752"/>
                </a:lnTo>
                <a:lnTo>
                  <a:pt x="5887" y="8760"/>
                </a:lnTo>
                <a:lnTo>
                  <a:pt x="5895" y="8763"/>
                </a:lnTo>
                <a:lnTo>
                  <a:pt x="5903" y="8765"/>
                </a:lnTo>
                <a:lnTo>
                  <a:pt x="5910" y="8764"/>
                </a:lnTo>
                <a:lnTo>
                  <a:pt x="5918" y="8763"/>
                </a:lnTo>
                <a:lnTo>
                  <a:pt x="5925" y="8760"/>
                </a:lnTo>
                <a:lnTo>
                  <a:pt x="5932" y="8754"/>
                </a:lnTo>
                <a:lnTo>
                  <a:pt x="5939" y="8749"/>
                </a:lnTo>
                <a:lnTo>
                  <a:pt x="5945" y="8743"/>
                </a:lnTo>
                <a:lnTo>
                  <a:pt x="5959" y="8730"/>
                </a:lnTo>
                <a:lnTo>
                  <a:pt x="5972" y="8717"/>
                </a:lnTo>
                <a:lnTo>
                  <a:pt x="5986" y="8704"/>
                </a:lnTo>
                <a:lnTo>
                  <a:pt x="5999" y="8694"/>
                </a:lnTo>
                <a:lnTo>
                  <a:pt x="6011" y="8687"/>
                </a:lnTo>
                <a:lnTo>
                  <a:pt x="6028" y="8677"/>
                </a:lnTo>
                <a:lnTo>
                  <a:pt x="6045" y="8668"/>
                </a:lnTo>
                <a:lnTo>
                  <a:pt x="6055" y="8665"/>
                </a:lnTo>
                <a:lnTo>
                  <a:pt x="6073" y="8674"/>
                </a:lnTo>
                <a:lnTo>
                  <a:pt x="6084" y="8680"/>
                </a:lnTo>
                <a:lnTo>
                  <a:pt x="6088" y="8683"/>
                </a:lnTo>
                <a:lnTo>
                  <a:pt x="6092" y="8686"/>
                </a:lnTo>
                <a:lnTo>
                  <a:pt x="6096" y="8691"/>
                </a:lnTo>
                <a:lnTo>
                  <a:pt x="6100" y="8697"/>
                </a:lnTo>
                <a:lnTo>
                  <a:pt x="6112" y="8697"/>
                </a:lnTo>
                <a:lnTo>
                  <a:pt x="6123" y="8696"/>
                </a:lnTo>
                <a:lnTo>
                  <a:pt x="6133" y="8694"/>
                </a:lnTo>
                <a:lnTo>
                  <a:pt x="6144" y="8691"/>
                </a:lnTo>
                <a:lnTo>
                  <a:pt x="6166" y="8685"/>
                </a:lnTo>
                <a:lnTo>
                  <a:pt x="6187" y="8676"/>
                </a:lnTo>
                <a:lnTo>
                  <a:pt x="6207" y="8666"/>
                </a:lnTo>
                <a:lnTo>
                  <a:pt x="6228" y="8655"/>
                </a:lnTo>
                <a:lnTo>
                  <a:pt x="6248" y="8643"/>
                </a:lnTo>
                <a:lnTo>
                  <a:pt x="6267" y="8629"/>
                </a:lnTo>
                <a:lnTo>
                  <a:pt x="6274" y="8630"/>
                </a:lnTo>
                <a:lnTo>
                  <a:pt x="6280" y="8633"/>
                </a:lnTo>
                <a:lnTo>
                  <a:pt x="6286" y="8636"/>
                </a:lnTo>
                <a:lnTo>
                  <a:pt x="6291" y="8640"/>
                </a:lnTo>
                <a:lnTo>
                  <a:pt x="6296" y="8645"/>
                </a:lnTo>
                <a:lnTo>
                  <a:pt x="6301" y="8649"/>
                </a:lnTo>
                <a:lnTo>
                  <a:pt x="6305" y="8655"/>
                </a:lnTo>
                <a:lnTo>
                  <a:pt x="6309" y="8661"/>
                </a:lnTo>
                <a:lnTo>
                  <a:pt x="6324" y="8689"/>
                </a:lnTo>
                <a:lnTo>
                  <a:pt x="6339" y="8721"/>
                </a:lnTo>
                <a:lnTo>
                  <a:pt x="6347" y="8737"/>
                </a:lnTo>
                <a:lnTo>
                  <a:pt x="6357" y="8753"/>
                </a:lnTo>
                <a:lnTo>
                  <a:pt x="6362" y="8761"/>
                </a:lnTo>
                <a:lnTo>
                  <a:pt x="6369" y="8768"/>
                </a:lnTo>
                <a:lnTo>
                  <a:pt x="6375" y="8775"/>
                </a:lnTo>
                <a:lnTo>
                  <a:pt x="6382" y="8782"/>
                </a:lnTo>
                <a:lnTo>
                  <a:pt x="6389" y="8788"/>
                </a:lnTo>
                <a:lnTo>
                  <a:pt x="6397" y="8793"/>
                </a:lnTo>
                <a:lnTo>
                  <a:pt x="6406" y="8798"/>
                </a:lnTo>
                <a:lnTo>
                  <a:pt x="6415" y="8803"/>
                </a:lnTo>
                <a:lnTo>
                  <a:pt x="6425" y="8807"/>
                </a:lnTo>
                <a:lnTo>
                  <a:pt x="6436" y="8810"/>
                </a:lnTo>
                <a:lnTo>
                  <a:pt x="6448" y="8812"/>
                </a:lnTo>
                <a:lnTo>
                  <a:pt x="6461" y="8813"/>
                </a:lnTo>
                <a:lnTo>
                  <a:pt x="6486" y="8815"/>
                </a:lnTo>
                <a:lnTo>
                  <a:pt x="6516" y="8818"/>
                </a:lnTo>
                <a:lnTo>
                  <a:pt x="6549" y="8820"/>
                </a:lnTo>
                <a:lnTo>
                  <a:pt x="6584" y="8820"/>
                </a:lnTo>
                <a:lnTo>
                  <a:pt x="6601" y="8820"/>
                </a:lnTo>
                <a:lnTo>
                  <a:pt x="6619" y="8820"/>
                </a:lnTo>
                <a:lnTo>
                  <a:pt x="6635" y="8818"/>
                </a:lnTo>
                <a:lnTo>
                  <a:pt x="6651" y="8816"/>
                </a:lnTo>
                <a:lnTo>
                  <a:pt x="6665" y="8814"/>
                </a:lnTo>
                <a:lnTo>
                  <a:pt x="6679" y="8810"/>
                </a:lnTo>
                <a:lnTo>
                  <a:pt x="6690" y="8805"/>
                </a:lnTo>
                <a:lnTo>
                  <a:pt x="6701" y="8799"/>
                </a:lnTo>
                <a:lnTo>
                  <a:pt x="6703" y="8798"/>
                </a:lnTo>
                <a:lnTo>
                  <a:pt x="6707" y="8798"/>
                </a:lnTo>
                <a:lnTo>
                  <a:pt x="6710" y="8799"/>
                </a:lnTo>
                <a:lnTo>
                  <a:pt x="6715" y="8801"/>
                </a:lnTo>
                <a:lnTo>
                  <a:pt x="6724" y="8806"/>
                </a:lnTo>
                <a:lnTo>
                  <a:pt x="6734" y="8812"/>
                </a:lnTo>
                <a:lnTo>
                  <a:pt x="6745" y="8820"/>
                </a:lnTo>
                <a:lnTo>
                  <a:pt x="6754" y="8829"/>
                </a:lnTo>
                <a:lnTo>
                  <a:pt x="6760" y="8837"/>
                </a:lnTo>
                <a:lnTo>
                  <a:pt x="6764" y="8843"/>
                </a:lnTo>
                <a:lnTo>
                  <a:pt x="6772" y="8844"/>
                </a:lnTo>
                <a:lnTo>
                  <a:pt x="6779" y="8845"/>
                </a:lnTo>
                <a:lnTo>
                  <a:pt x="6785" y="8847"/>
                </a:lnTo>
                <a:lnTo>
                  <a:pt x="6791" y="8850"/>
                </a:lnTo>
                <a:lnTo>
                  <a:pt x="6795" y="8853"/>
                </a:lnTo>
                <a:lnTo>
                  <a:pt x="6799" y="8856"/>
                </a:lnTo>
                <a:lnTo>
                  <a:pt x="6802" y="8860"/>
                </a:lnTo>
                <a:lnTo>
                  <a:pt x="6805" y="8864"/>
                </a:lnTo>
                <a:lnTo>
                  <a:pt x="6811" y="8871"/>
                </a:lnTo>
                <a:lnTo>
                  <a:pt x="6815" y="8878"/>
                </a:lnTo>
                <a:lnTo>
                  <a:pt x="6818" y="8880"/>
                </a:lnTo>
                <a:lnTo>
                  <a:pt x="6821" y="8882"/>
                </a:lnTo>
                <a:lnTo>
                  <a:pt x="6824" y="8884"/>
                </a:lnTo>
                <a:lnTo>
                  <a:pt x="6827" y="8884"/>
                </a:lnTo>
                <a:lnTo>
                  <a:pt x="6829" y="8888"/>
                </a:lnTo>
                <a:lnTo>
                  <a:pt x="6831" y="8890"/>
                </a:lnTo>
                <a:lnTo>
                  <a:pt x="6834" y="8893"/>
                </a:lnTo>
                <a:lnTo>
                  <a:pt x="6836" y="8894"/>
                </a:lnTo>
                <a:lnTo>
                  <a:pt x="6839" y="8895"/>
                </a:lnTo>
                <a:lnTo>
                  <a:pt x="6842" y="8896"/>
                </a:lnTo>
                <a:lnTo>
                  <a:pt x="6845" y="8896"/>
                </a:lnTo>
                <a:lnTo>
                  <a:pt x="6848" y="8895"/>
                </a:lnTo>
                <a:lnTo>
                  <a:pt x="6850" y="8898"/>
                </a:lnTo>
                <a:lnTo>
                  <a:pt x="6852" y="8901"/>
                </a:lnTo>
                <a:lnTo>
                  <a:pt x="6855" y="8904"/>
                </a:lnTo>
                <a:lnTo>
                  <a:pt x="6858" y="8907"/>
                </a:lnTo>
                <a:lnTo>
                  <a:pt x="6866" y="8913"/>
                </a:lnTo>
                <a:lnTo>
                  <a:pt x="6876" y="8919"/>
                </a:lnTo>
                <a:lnTo>
                  <a:pt x="6886" y="8928"/>
                </a:lnTo>
                <a:lnTo>
                  <a:pt x="6895" y="8938"/>
                </a:lnTo>
                <a:lnTo>
                  <a:pt x="6900" y="8944"/>
                </a:lnTo>
                <a:lnTo>
                  <a:pt x="6905" y="8951"/>
                </a:lnTo>
                <a:lnTo>
                  <a:pt x="6909" y="8959"/>
                </a:lnTo>
                <a:lnTo>
                  <a:pt x="6913" y="8968"/>
                </a:lnTo>
                <a:lnTo>
                  <a:pt x="6913" y="8972"/>
                </a:lnTo>
                <a:lnTo>
                  <a:pt x="6914" y="8976"/>
                </a:lnTo>
                <a:lnTo>
                  <a:pt x="6915" y="8980"/>
                </a:lnTo>
                <a:lnTo>
                  <a:pt x="6917" y="8984"/>
                </a:lnTo>
                <a:lnTo>
                  <a:pt x="6921" y="8990"/>
                </a:lnTo>
                <a:lnTo>
                  <a:pt x="6927" y="8996"/>
                </a:lnTo>
                <a:lnTo>
                  <a:pt x="6935" y="9002"/>
                </a:lnTo>
                <a:lnTo>
                  <a:pt x="6943" y="9007"/>
                </a:lnTo>
                <a:lnTo>
                  <a:pt x="6951" y="9012"/>
                </a:lnTo>
                <a:lnTo>
                  <a:pt x="6960" y="9017"/>
                </a:lnTo>
                <a:lnTo>
                  <a:pt x="6977" y="9025"/>
                </a:lnTo>
                <a:lnTo>
                  <a:pt x="6992" y="9034"/>
                </a:lnTo>
                <a:lnTo>
                  <a:pt x="6999" y="9038"/>
                </a:lnTo>
                <a:lnTo>
                  <a:pt x="7004" y="9043"/>
                </a:lnTo>
                <a:lnTo>
                  <a:pt x="7007" y="9048"/>
                </a:lnTo>
                <a:lnTo>
                  <a:pt x="7008" y="9053"/>
                </a:lnTo>
                <a:lnTo>
                  <a:pt x="7019" y="9059"/>
                </a:lnTo>
                <a:lnTo>
                  <a:pt x="7027" y="9065"/>
                </a:lnTo>
                <a:lnTo>
                  <a:pt x="7032" y="9070"/>
                </a:lnTo>
                <a:lnTo>
                  <a:pt x="7035" y="9075"/>
                </a:lnTo>
                <a:lnTo>
                  <a:pt x="7036" y="9079"/>
                </a:lnTo>
                <a:lnTo>
                  <a:pt x="7036" y="9083"/>
                </a:lnTo>
                <a:lnTo>
                  <a:pt x="7036" y="9088"/>
                </a:lnTo>
                <a:lnTo>
                  <a:pt x="7035" y="9091"/>
                </a:lnTo>
                <a:lnTo>
                  <a:pt x="7035" y="9095"/>
                </a:lnTo>
                <a:lnTo>
                  <a:pt x="7035" y="9099"/>
                </a:lnTo>
                <a:lnTo>
                  <a:pt x="7038" y="9104"/>
                </a:lnTo>
                <a:lnTo>
                  <a:pt x="7042" y="9108"/>
                </a:lnTo>
                <a:lnTo>
                  <a:pt x="7048" y="9112"/>
                </a:lnTo>
                <a:lnTo>
                  <a:pt x="7058" y="9117"/>
                </a:lnTo>
                <a:lnTo>
                  <a:pt x="7071" y="9122"/>
                </a:lnTo>
                <a:lnTo>
                  <a:pt x="7088" y="9128"/>
                </a:lnTo>
                <a:lnTo>
                  <a:pt x="7110" y="9136"/>
                </a:lnTo>
                <a:lnTo>
                  <a:pt x="7132" y="9144"/>
                </a:lnTo>
                <a:lnTo>
                  <a:pt x="7153" y="9152"/>
                </a:lnTo>
                <a:lnTo>
                  <a:pt x="7174" y="9160"/>
                </a:lnTo>
                <a:lnTo>
                  <a:pt x="7195" y="9167"/>
                </a:lnTo>
                <a:lnTo>
                  <a:pt x="7216" y="9173"/>
                </a:lnTo>
                <a:lnTo>
                  <a:pt x="7239" y="9177"/>
                </a:lnTo>
                <a:lnTo>
                  <a:pt x="7262" y="9180"/>
                </a:lnTo>
                <a:lnTo>
                  <a:pt x="7264" y="9173"/>
                </a:lnTo>
                <a:lnTo>
                  <a:pt x="7266" y="9168"/>
                </a:lnTo>
                <a:lnTo>
                  <a:pt x="7269" y="9163"/>
                </a:lnTo>
                <a:lnTo>
                  <a:pt x="7271" y="9159"/>
                </a:lnTo>
                <a:lnTo>
                  <a:pt x="7274" y="9156"/>
                </a:lnTo>
                <a:lnTo>
                  <a:pt x="7277" y="9153"/>
                </a:lnTo>
                <a:lnTo>
                  <a:pt x="7281" y="9151"/>
                </a:lnTo>
                <a:lnTo>
                  <a:pt x="7284" y="9150"/>
                </a:lnTo>
                <a:lnTo>
                  <a:pt x="7291" y="9149"/>
                </a:lnTo>
                <a:lnTo>
                  <a:pt x="7299" y="9151"/>
                </a:lnTo>
                <a:lnTo>
                  <a:pt x="7307" y="9153"/>
                </a:lnTo>
                <a:lnTo>
                  <a:pt x="7315" y="9157"/>
                </a:lnTo>
                <a:lnTo>
                  <a:pt x="7332" y="9168"/>
                </a:lnTo>
                <a:lnTo>
                  <a:pt x="7349" y="9179"/>
                </a:lnTo>
                <a:lnTo>
                  <a:pt x="7357" y="9183"/>
                </a:lnTo>
                <a:lnTo>
                  <a:pt x="7364" y="9187"/>
                </a:lnTo>
                <a:lnTo>
                  <a:pt x="7372" y="9190"/>
                </a:lnTo>
                <a:lnTo>
                  <a:pt x="7379" y="9191"/>
                </a:lnTo>
                <a:lnTo>
                  <a:pt x="7385" y="9201"/>
                </a:lnTo>
                <a:lnTo>
                  <a:pt x="7390" y="9207"/>
                </a:lnTo>
                <a:lnTo>
                  <a:pt x="7395" y="9210"/>
                </a:lnTo>
                <a:lnTo>
                  <a:pt x="7400" y="9212"/>
                </a:lnTo>
                <a:lnTo>
                  <a:pt x="7404" y="9213"/>
                </a:lnTo>
                <a:lnTo>
                  <a:pt x="7409" y="9216"/>
                </a:lnTo>
                <a:lnTo>
                  <a:pt x="7414" y="9222"/>
                </a:lnTo>
                <a:lnTo>
                  <a:pt x="7420" y="9233"/>
                </a:lnTo>
                <a:lnTo>
                  <a:pt x="7437" y="9247"/>
                </a:lnTo>
                <a:lnTo>
                  <a:pt x="7450" y="9258"/>
                </a:lnTo>
                <a:lnTo>
                  <a:pt x="7460" y="9269"/>
                </a:lnTo>
                <a:lnTo>
                  <a:pt x="7467" y="9277"/>
                </a:lnTo>
                <a:lnTo>
                  <a:pt x="7472" y="9284"/>
                </a:lnTo>
                <a:lnTo>
                  <a:pt x="7475" y="9290"/>
                </a:lnTo>
                <a:lnTo>
                  <a:pt x="7477" y="9295"/>
                </a:lnTo>
                <a:lnTo>
                  <a:pt x="7478" y="9300"/>
                </a:lnTo>
                <a:lnTo>
                  <a:pt x="7478" y="9310"/>
                </a:lnTo>
                <a:lnTo>
                  <a:pt x="7479" y="9324"/>
                </a:lnTo>
                <a:lnTo>
                  <a:pt x="7480" y="9332"/>
                </a:lnTo>
                <a:lnTo>
                  <a:pt x="7483" y="9343"/>
                </a:lnTo>
                <a:lnTo>
                  <a:pt x="7487" y="9355"/>
                </a:lnTo>
                <a:lnTo>
                  <a:pt x="7494" y="9370"/>
                </a:lnTo>
                <a:lnTo>
                  <a:pt x="7503" y="9377"/>
                </a:lnTo>
                <a:lnTo>
                  <a:pt x="7511" y="9385"/>
                </a:lnTo>
                <a:lnTo>
                  <a:pt x="7518" y="9396"/>
                </a:lnTo>
                <a:lnTo>
                  <a:pt x="7524" y="9406"/>
                </a:lnTo>
                <a:lnTo>
                  <a:pt x="7530" y="9418"/>
                </a:lnTo>
                <a:lnTo>
                  <a:pt x="7535" y="9431"/>
                </a:lnTo>
                <a:lnTo>
                  <a:pt x="7540" y="9445"/>
                </a:lnTo>
                <a:lnTo>
                  <a:pt x="7544" y="9459"/>
                </a:lnTo>
                <a:lnTo>
                  <a:pt x="7552" y="9488"/>
                </a:lnTo>
                <a:lnTo>
                  <a:pt x="7558" y="9519"/>
                </a:lnTo>
                <a:lnTo>
                  <a:pt x="7564" y="9546"/>
                </a:lnTo>
                <a:lnTo>
                  <a:pt x="7569" y="9571"/>
                </a:lnTo>
                <a:lnTo>
                  <a:pt x="7565" y="9572"/>
                </a:lnTo>
                <a:lnTo>
                  <a:pt x="7562" y="9573"/>
                </a:lnTo>
                <a:lnTo>
                  <a:pt x="7560" y="9575"/>
                </a:lnTo>
                <a:lnTo>
                  <a:pt x="7557" y="9578"/>
                </a:lnTo>
                <a:lnTo>
                  <a:pt x="7554" y="9585"/>
                </a:lnTo>
                <a:lnTo>
                  <a:pt x="7551" y="9594"/>
                </a:lnTo>
                <a:lnTo>
                  <a:pt x="7549" y="9605"/>
                </a:lnTo>
                <a:lnTo>
                  <a:pt x="7549" y="9618"/>
                </a:lnTo>
                <a:lnTo>
                  <a:pt x="7549" y="9631"/>
                </a:lnTo>
                <a:lnTo>
                  <a:pt x="7549" y="9646"/>
                </a:lnTo>
                <a:lnTo>
                  <a:pt x="7551" y="9674"/>
                </a:lnTo>
                <a:lnTo>
                  <a:pt x="7554" y="9700"/>
                </a:lnTo>
                <a:lnTo>
                  <a:pt x="7557" y="9719"/>
                </a:lnTo>
                <a:lnTo>
                  <a:pt x="7558" y="9730"/>
                </a:lnTo>
                <a:lnTo>
                  <a:pt x="7554" y="9730"/>
                </a:lnTo>
                <a:lnTo>
                  <a:pt x="7552" y="9731"/>
                </a:lnTo>
                <a:lnTo>
                  <a:pt x="7550" y="9732"/>
                </a:lnTo>
                <a:lnTo>
                  <a:pt x="7550" y="9733"/>
                </a:lnTo>
                <a:lnTo>
                  <a:pt x="7552" y="9737"/>
                </a:lnTo>
                <a:lnTo>
                  <a:pt x="7557" y="9742"/>
                </a:lnTo>
                <a:lnTo>
                  <a:pt x="7564" y="9747"/>
                </a:lnTo>
                <a:lnTo>
                  <a:pt x="7574" y="9752"/>
                </a:lnTo>
                <a:lnTo>
                  <a:pt x="7586" y="9756"/>
                </a:lnTo>
                <a:lnTo>
                  <a:pt x="7599" y="9760"/>
                </a:lnTo>
                <a:lnTo>
                  <a:pt x="7612" y="9762"/>
                </a:lnTo>
                <a:lnTo>
                  <a:pt x="7626" y="9763"/>
                </a:lnTo>
                <a:lnTo>
                  <a:pt x="7632" y="9763"/>
                </a:lnTo>
                <a:lnTo>
                  <a:pt x="7639" y="9762"/>
                </a:lnTo>
                <a:lnTo>
                  <a:pt x="7644" y="9760"/>
                </a:lnTo>
                <a:lnTo>
                  <a:pt x="7650" y="9758"/>
                </a:lnTo>
                <a:lnTo>
                  <a:pt x="7655" y="9755"/>
                </a:lnTo>
                <a:lnTo>
                  <a:pt x="7660" y="9751"/>
                </a:lnTo>
                <a:lnTo>
                  <a:pt x="7664" y="9746"/>
                </a:lnTo>
                <a:lnTo>
                  <a:pt x="7668" y="9741"/>
                </a:lnTo>
                <a:lnTo>
                  <a:pt x="7671" y="9734"/>
                </a:lnTo>
                <a:lnTo>
                  <a:pt x="7673" y="9727"/>
                </a:lnTo>
                <a:lnTo>
                  <a:pt x="7674" y="9719"/>
                </a:lnTo>
                <a:lnTo>
                  <a:pt x="7675" y="9709"/>
                </a:lnTo>
                <a:lnTo>
                  <a:pt x="7687" y="9712"/>
                </a:lnTo>
                <a:lnTo>
                  <a:pt x="7698" y="9716"/>
                </a:lnTo>
                <a:lnTo>
                  <a:pt x="7710" y="9721"/>
                </a:lnTo>
                <a:lnTo>
                  <a:pt x="7720" y="9727"/>
                </a:lnTo>
                <a:lnTo>
                  <a:pt x="7741" y="9740"/>
                </a:lnTo>
                <a:lnTo>
                  <a:pt x="7761" y="9755"/>
                </a:lnTo>
                <a:lnTo>
                  <a:pt x="7780" y="9770"/>
                </a:lnTo>
                <a:lnTo>
                  <a:pt x="7798" y="9782"/>
                </a:lnTo>
                <a:lnTo>
                  <a:pt x="7806" y="9787"/>
                </a:lnTo>
                <a:lnTo>
                  <a:pt x="7815" y="9791"/>
                </a:lnTo>
                <a:lnTo>
                  <a:pt x="7824" y="9793"/>
                </a:lnTo>
                <a:lnTo>
                  <a:pt x="7833" y="9794"/>
                </a:lnTo>
                <a:lnTo>
                  <a:pt x="7831" y="9800"/>
                </a:lnTo>
                <a:lnTo>
                  <a:pt x="7829" y="9805"/>
                </a:lnTo>
                <a:lnTo>
                  <a:pt x="7828" y="9811"/>
                </a:lnTo>
                <a:lnTo>
                  <a:pt x="7828" y="9816"/>
                </a:lnTo>
                <a:lnTo>
                  <a:pt x="7829" y="9822"/>
                </a:lnTo>
                <a:lnTo>
                  <a:pt x="7829" y="9827"/>
                </a:lnTo>
                <a:lnTo>
                  <a:pt x="7831" y="9832"/>
                </a:lnTo>
                <a:lnTo>
                  <a:pt x="7833" y="9836"/>
                </a:lnTo>
                <a:lnTo>
                  <a:pt x="7838" y="9844"/>
                </a:lnTo>
                <a:lnTo>
                  <a:pt x="7844" y="9851"/>
                </a:lnTo>
                <a:lnTo>
                  <a:pt x="7851" y="9857"/>
                </a:lnTo>
                <a:lnTo>
                  <a:pt x="7859" y="9860"/>
                </a:lnTo>
                <a:lnTo>
                  <a:pt x="7863" y="9862"/>
                </a:lnTo>
                <a:lnTo>
                  <a:pt x="7868" y="9862"/>
                </a:lnTo>
                <a:lnTo>
                  <a:pt x="7872" y="9862"/>
                </a:lnTo>
                <a:lnTo>
                  <a:pt x="7877" y="9862"/>
                </a:lnTo>
                <a:lnTo>
                  <a:pt x="7881" y="9861"/>
                </a:lnTo>
                <a:lnTo>
                  <a:pt x="7885" y="9859"/>
                </a:lnTo>
                <a:lnTo>
                  <a:pt x="7889" y="9857"/>
                </a:lnTo>
                <a:lnTo>
                  <a:pt x="7892" y="9854"/>
                </a:lnTo>
                <a:lnTo>
                  <a:pt x="7895" y="9850"/>
                </a:lnTo>
                <a:lnTo>
                  <a:pt x="7898" y="9846"/>
                </a:lnTo>
                <a:lnTo>
                  <a:pt x="7901" y="9841"/>
                </a:lnTo>
                <a:lnTo>
                  <a:pt x="7903" y="9836"/>
                </a:lnTo>
                <a:lnTo>
                  <a:pt x="7905" y="9829"/>
                </a:lnTo>
                <a:lnTo>
                  <a:pt x="7906" y="9822"/>
                </a:lnTo>
                <a:lnTo>
                  <a:pt x="7907" y="9814"/>
                </a:lnTo>
                <a:lnTo>
                  <a:pt x="7907" y="9805"/>
                </a:lnTo>
                <a:lnTo>
                  <a:pt x="7916" y="9806"/>
                </a:lnTo>
                <a:lnTo>
                  <a:pt x="7925" y="9808"/>
                </a:lnTo>
                <a:lnTo>
                  <a:pt x="7932" y="9811"/>
                </a:lnTo>
                <a:lnTo>
                  <a:pt x="7939" y="9815"/>
                </a:lnTo>
                <a:lnTo>
                  <a:pt x="7945" y="9819"/>
                </a:lnTo>
                <a:lnTo>
                  <a:pt x="7951" y="9824"/>
                </a:lnTo>
                <a:lnTo>
                  <a:pt x="7956" y="9829"/>
                </a:lnTo>
                <a:lnTo>
                  <a:pt x="7961" y="9835"/>
                </a:lnTo>
                <a:lnTo>
                  <a:pt x="7965" y="9841"/>
                </a:lnTo>
                <a:lnTo>
                  <a:pt x="7968" y="9848"/>
                </a:lnTo>
                <a:lnTo>
                  <a:pt x="7971" y="9855"/>
                </a:lnTo>
                <a:lnTo>
                  <a:pt x="7974" y="9862"/>
                </a:lnTo>
                <a:lnTo>
                  <a:pt x="7978" y="9878"/>
                </a:lnTo>
                <a:lnTo>
                  <a:pt x="7980" y="9896"/>
                </a:lnTo>
                <a:lnTo>
                  <a:pt x="7981" y="9913"/>
                </a:lnTo>
                <a:lnTo>
                  <a:pt x="7981" y="9930"/>
                </a:lnTo>
                <a:lnTo>
                  <a:pt x="7980" y="9947"/>
                </a:lnTo>
                <a:lnTo>
                  <a:pt x="7979" y="9963"/>
                </a:lnTo>
                <a:lnTo>
                  <a:pt x="7975" y="9993"/>
                </a:lnTo>
                <a:lnTo>
                  <a:pt x="7970" y="10016"/>
                </a:lnTo>
                <a:lnTo>
                  <a:pt x="7985" y="10015"/>
                </a:lnTo>
                <a:lnTo>
                  <a:pt x="7998" y="10013"/>
                </a:lnTo>
                <a:lnTo>
                  <a:pt x="8011" y="10010"/>
                </a:lnTo>
                <a:lnTo>
                  <a:pt x="8022" y="10007"/>
                </a:lnTo>
                <a:lnTo>
                  <a:pt x="8041" y="9998"/>
                </a:lnTo>
                <a:lnTo>
                  <a:pt x="8059" y="9987"/>
                </a:lnTo>
                <a:lnTo>
                  <a:pt x="8068" y="9982"/>
                </a:lnTo>
                <a:lnTo>
                  <a:pt x="8077" y="9977"/>
                </a:lnTo>
                <a:lnTo>
                  <a:pt x="8086" y="9972"/>
                </a:lnTo>
                <a:lnTo>
                  <a:pt x="8096" y="9968"/>
                </a:lnTo>
                <a:lnTo>
                  <a:pt x="8107" y="9965"/>
                </a:lnTo>
                <a:lnTo>
                  <a:pt x="8120" y="9962"/>
                </a:lnTo>
                <a:lnTo>
                  <a:pt x="8134" y="9961"/>
                </a:lnTo>
                <a:lnTo>
                  <a:pt x="8149" y="9961"/>
                </a:lnTo>
                <a:lnTo>
                  <a:pt x="8186" y="9966"/>
                </a:lnTo>
                <a:lnTo>
                  <a:pt x="8219" y="9972"/>
                </a:lnTo>
                <a:lnTo>
                  <a:pt x="8227" y="9973"/>
                </a:lnTo>
                <a:lnTo>
                  <a:pt x="8234" y="9972"/>
                </a:lnTo>
                <a:lnTo>
                  <a:pt x="8241" y="9971"/>
                </a:lnTo>
                <a:lnTo>
                  <a:pt x="8247" y="9968"/>
                </a:lnTo>
                <a:lnTo>
                  <a:pt x="8254" y="9964"/>
                </a:lnTo>
                <a:lnTo>
                  <a:pt x="8259" y="9959"/>
                </a:lnTo>
                <a:lnTo>
                  <a:pt x="8264" y="9951"/>
                </a:lnTo>
                <a:lnTo>
                  <a:pt x="8267" y="9942"/>
                </a:lnTo>
                <a:lnTo>
                  <a:pt x="8289" y="9949"/>
                </a:lnTo>
                <a:lnTo>
                  <a:pt x="8309" y="9957"/>
                </a:lnTo>
                <a:lnTo>
                  <a:pt x="8327" y="9964"/>
                </a:lnTo>
                <a:lnTo>
                  <a:pt x="8344" y="9972"/>
                </a:lnTo>
                <a:lnTo>
                  <a:pt x="8361" y="9980"/>
                </a:lnTo>
                <a:lnTo>
                  <a:pt x="8376" y="9988"/>
                </a:lnTo>
                <a:lnTo>
                  <a:pt x="8392" y="9996"/>
                </a:lnTo>
                <a:lnTo>
                  <a:pt x="8406" y="10005"/>
                </a:lnTo>
                <a:lnTo>
                  <a:pt x="8433" y="10024"/>
                </a:lnTo>
                <a:lnTo>
                  <a:pt x="8459" y="10044"/>
                </a:lnTo>
                <a:lnTo>
                  <a:pt x="8486" y="10067"/>
                </a:lnTo>
                <a:lnTo>
                  <a:pt x="8515" y="10092"/>
                </a:lnTo>
                <a:lnTo>
                  <a:pt x="8528" y="10104"/>
                </a:lnTo>
                <a:lnTo>
                  <a:pt x="8540" y="10116"/>
                </a:lnTo>
                <a:lnTo>
                  <a:pt x="8550" y="10130"/>
                </a:lnTo>
                <a:lnTo>
                  <a:pt x="8561" y="10146"/>
                </a:lnTo>
                <a:lnTo>
                  <a:pt x="8570" y="10161"/>
                </a:lnTo>
                <a:lnTo>
                  <a:pt x="8579" y="10178"/>
                </a:lnTo>
                <a:lnTo>
                  <a:pt x="8587" y="10195"/>
                </a:lnTo>
                <a:lnTo>
                  <a:pt x="8595" y="10212"/>
                </a:lnTo>
                <a:lnTo>
                  <a:pt x="8602" y="10230"/>
                </a:lnTo>
                <a:lnTo>
                  <a:pt x="8607" y="10249"/>
                </a:lnTo>
                <a:lnTo>
                  <a:pt x="8613" y="10268"/>
                </a:lnTo>
                <a:lnTo>
                  <a:pt x="8617" y="10288"/>
                </a:lnTo>
                <a:lnTo>
                  <a:pt x="8621" y="10307"/>
                </a:lnTo>
                <a:lnTo>
                  <a:pt x="8624" y="10327"/>
                </a:lnTo>
                <a:lnTo>
                  <a:pt x="8626" y="10347"/>
                </a:lnTo>
                <a:lnTo>
                  <a:pt x="8627" y="10366"/>
                </a:lnTo>
                <a:lnTo>
                  <a:pt x="8628" y="10386"/>
                </a:lnTo>
                <a:lnTo>
                  <a:pt x="8627" y="10407"/>
                </a:lnTo>
                <a:lnTo>
                  <a:pt x="8626" y="10426"/>
                </a:lnTo>
                <a:lnTo>
                  <a:pt x="8624" y="10445"/>
                </a:lnTo>
                <a:lnTo>
                  <a:pt x="8621" y="10464"/>
                </a:lnTo>
                <a:lnTo>
                  <a:pt x="8617" y="10482"/>
                </a:lnTo>
                <a:lnTo>
                  <a:pt x="8613" y="10500"/>
                </a:lnTo>
                <a:lnTo>
                  <a:pt x="8607" y="10518"/>
                </a:lnTo>
                <a:lnTo>
                  <a:pt x="8601" y="10535"/>
                </a:lnTo>
                <a:lnTo>
                  <a:pt x="8594" y="10551"/>
                </a:lnTo>
                <a:lnTo>
                  <a:pt x="8586" y="10567"/>
                </a:lnTo>
                <a:lnTo>
                  <a:pt x="8577" y="10581"/>
                </a:lnTo>
                <a:lnTo>
                  <a:pt x="8567" y="10595"/>
                </a:lnTo>
                <a:lnTo>
                  <a:pt x="8556" y="10607"/>
                </a:lnTo>
                <a:lnTo>
                  <a:pt x="8544" y="10619"/>
                </a:lnTo>
                <a:lnTo>
                  <a:pt x="8532" y="10629"/>
                </a:lnTo>
                <a:lnTo>
                  <a:pt x="8530" y="10635"/>
                </a:lnTo>
                <a:lnTo>
                  <a:pt x="8525" y="10643"/>
                </a:lnTo>
                <a:lnTo>
                  <a:pt x="8518" y="10655"/>
                </a:lnTo>
                <a:lnTo>
                  <a:pt x="8508" y="10668"/>
                </a:lnTo>
                <a:lnTo>
                  <a:pt x="8482" y="10699"/>
                </a:lnTo>
                <a:lnTo>
                  <a:pt x="8454" y="10732"/>
                </a:lnTo>
                <a:lnTo>
                  <a:pt x="8425" y="10765"/>
                </a:lnTo>
                <a:lnTo>
                  <a:pt x="8400" y="10794"/>
                </a:lnTo>
                <a:lnTo>
                  <a:pt x="8382" y="10813"/>
                </a:lnTo>
                <a:lnTo>
                  <a:pt x="8373" y="10821"/>
                </a:lnTo>
                <a:lnTo>
                  <a:pt x="8372" y="10836"/>
                </a:lnTo>
                <a:lnTo>
                  <a:pt x="8372" y="10865"/>
                </a:lnTo>
                <a:lnTo>
                  <a:pt x="8371" y="10904"/>
                </a:lnTo>
                <a:lnTo>
                  <a:pt x="8369" y="10945"/>
                </a:lnTo>
                <a:lnTo>
                  <a:pt x="8368" y="10985"/>
                </a:lnTo>
                <a:lnTo>
                  <a:pt x="8366" y="11019"/>
                </a:lnTo>
                <a:lnTo>
                  <a:pt x="8365" y="11034"/>
                </a:lnTo>
                <a:lnTo>
                  <a:pt x="8364" y="11044"/>
                </a:lnTo>
                <a:lnTo>
                  <a:pt x="8363" y="11051"/>
                </a:lnTo>
                <a:lnTo>
                  <a:pt x="8362" y="11053"/>
                </a:lnTo>
                <a:lnTo>
                  <a:pt x="8360" y="11077"/>
                </a:lnTo>
                <a:lnTo>
                  <a:pt x="8356" y="11114"/>
                </a:lnTo>
                <a:lnTo>
                  <a:pt x="8350" y="11159"/>
                </a:lnTo>
                <a:lnTo>
                  <a:pt x="8342" y="11207"/>
                </a:lnTo>
                <a:lnTo>
                  <a:pt x="8337" y="11230"/>
                </a:lnTo>
                <a:lnTo>
                  <a:pt x="8332" y="11252"/>
                </a:lnTo>
                <a:lnTo>
                  <a:pt x="8327" y="11272"/>
                </a:lnTo>
                <a:lnTo>
                  <a:pt x="8322" y="11292"/>
                </a:lnTo>
                <a:lnTo>
                  <a:pt x="8316" y="11307"/>
                </a:lnTo>
                <a:lnTo>
                  <a:pt x="8310" y="11318"/>
                </a:lnTo>
                <a:lnTo>
                  <a:pt x="8307" y="11323"/>
                </a:lnTo>
                <a:lnTo>
                  <a:pt x="8305" y="11326"/>
                </a:lnTo>
                <a:lnTo>
                  <a:pt x="8302" y="11328"/>
                </a:lnTo>
                <a:lnTo>
                  <a:pt x="8299" y="11328"/>
                </a:lnTo>
                <a:lnTo>
                  <a:pt x="8298" y="11350"/>
                </a:lnTo>
                <a:lnTo>
                  <a:pt x="8295" y="11369"/>
                </a:lnTo>
                <a:lnTo>
                  <a:pt x="8292" y="11386"/>
                </a:lnTo>
                <a:lnTo>
                  <a:pt x="8286" y="11402"/>
                </a:lnTo>
                <a:lnTo>
                  <a:pt x="8280" y="11418"/>
                </a:lnTo>
                <a:lnTo>
                  <a:pt x="8273" y="11432"/>
                </a:lnTo>
                <a:lnTo>
                  <a:pt x="8265" y="11445"/>
                </a:lnTo>
                <a:lnTo>
                  <a:pt x="8257" y="11458"/>
                </a:lnTo>
                <a:lnTo>
                  <a:pt x="8238" y="11484"/>
                </a:lnTo>
                <a:lnTo>
                  <a:pt x="8221" y="11512"/>
                </a:lnTo>
                <a:lnTo>
                  <a:pt x="8213" y="11527"/>
                </a:lnTo>
                <a:lnTo>
                  <a:pt x="8206" y="11544"/>
                </a:lnTo>
                <a:lnTo>
                  <a:pt x="8199" y="11563"/>
                </a:lnTo>
                <a:lnTo>
                  <a:pt x="8193" y="11582"/>
                </a:lnTo>
                <a:lnTo>
                  <a:pt x="8165" y="11602"/>
                </a:lnTo>
                <a:lnTo>
                  <a:pt x="8129" y="11623"/>
                </a:lnTo>
                <a:lnTo>
                  <a:pt x="8088" y="11646"/>
                </a:lnTo>
                <a:lnTo>
                  <a:pt x="8047" y="11671"/>
                </a:lnTo>
                <a:lnTo>
                  <a:pt x="8027" y="11683"/>
                </a:lnTo>
                <a:lnTo>
                  <a:pt x="8007" y="11695"/>
                </a:lnTo>
                <a:lnTo>
                  <a:pt x="7988" y="11707"/>
                </a:lnTo>
                <a:lnTo>
                  <a:pt x="7972" y="11719"/>
                </a:lnTo>
                <a:lnTo>
                  <a:pt x="7957" y="11730"/>
                </a:lnTo>
                <a:lnTo>
                  <a:pt x="7945" y="11741"/>
                </a:lnTo>
                <a:lnTo>
                  <a:pt x="7940" y="11747"/>
                </a:lnTo>
                <a:lnTo>
                  <a:pt x="7935" y="11752"/>
                </a:lnTo>
                <a:lnTo>
                  <a:pt x="7931" y="11757"/>
                </a:lnTo>
                <a:lnTo>
                  <a:pt x="7928" y="11762"/>
                </a:lnTo>
                <a:lnTo>
                  <a:pt x="7919" y="11762"/>
                </a:lnTo>
                <a:lnTo>
                  <a:pt x="7910" y="11764"/>
                </a:lnTo>
                <a:lnTo>
                  <a:pt x="7902" y="11766"/>
                </a:lnTo>
                <a:lnTo>
                  <a:pt x="7893" y="11769"/>
                </a:lnTo>
                <a:lnTo>
                  <a:pt x="7877" y="11775"/>
                </a:lnTo>
                <a:lnTo>
                  <a:pt x="7859" y="11784"/>
                </a:lnTo>
                <a:lnTo>
                  <a:pt x="7843" y="11792"/>
                </a:lnTo>
                <a:lnTo>
                  <a:pt x="7826" y="11798"/>
                </a:lnTo>
                <a:lnTo>
                  <a:pt x="7818" y="11801"/>
                </a:lnTo>
                <a:lnTo>
                  <a:pt x="7809" y="11803"/>
                </a:lnTo>
                <a:lnTo>
                  <a:pt x="7800" y="11804"/>
                </a:lnTo>
                <a:lnTo>
                  <a:pt x="7791" y="11805"/>
                </a:lnTo>
                <a:lnTo>
                  <a:pt x="7784" y="11814"/>
                </a:lnTo>
                <a:lnTo>
                  <a:pt x="7770" y="11829"/>
                </a:lnTo>
                <a:lnTo>
                  <a:pt x="7753" y="11848"/>
                </a:lnTo>
                <a:lnTo>
                  <a:pt x="7733" y="11868"/>
                </a:lnTo>
                <a:lnTo>
                  <a:pt x="7715" y="11888"/>
                </a:lnTo>
                <a:lnTo>
                  <a:pt x="7701" y="11904"/>
                </a:lnTo>
                <a:lnTo>
                  <a:pt x="7696" y="11912"/>
                </a:lnTo>
                <a:lnTo>
                  <a:pt x="7694" y="11917"/>
                </a:lnTo>
                <a:lnTo>
                  <a:pt x="7693" y="11919"/>
                </a:lnTo>
                <a:lnTo>
                  <a:pt x="7693" y="11920"/>
                </a:lnTo>
                <a:lnTo>
                  <a:pt x="7694" y="11921"/>
                </a:lnTo>
                <a:lnTo>
                  <a:pt x="7695" y="11921"/>
                </a:lnTo>
                <a:lnTo>
                  <a:pt x="7693" y="11954"/>
                </a:lnTo>
                <a:lnTo>
                  <a:pt x="7692" y="11993"/>
                </a:lnTo>
                <a:lnTo>
                  <a:pt x="7691" y="12037"/>
                </a:lnTo>
                <a:lnTo>
                  <a:pt x="7690" y="12081"/>
                </a:lnTo>
                <a:lnTo>
                  <a:pt x="7689" y="12103"/>
                </a:lnTo>
                <a:lnTo>
                  <a:pt x="7687" y="12125"/>
                </a:lnTo>
                <a:lnTo>
                  <a:pt x="7685" y="12145"/>
                </a:lnTo>
                <a:lnTo>
                  <a:pt x="7682" y="12165"/>
                </a:lnTo>
                <a:lnTo>
                  <a:pt x="7678" y="12183"/>
                </a:lnTo>
                <a:lnTo>
                  <a:pt x="7673" y="12198"/>
                </a:lnTo>
                <a:lnTo>
                  <a:pt x="7670" y="12205"/>
                </a:lnTo>
                <a:lnTo>
                  <a:pt x="7667" y="12212"/>
                </a:lnTo>
                <a:lnTo>
                  <a:pt x="7664" y="12217"/>
                </a:lnTo>
                <a:lnTo>
                  <a:pt x="7660" y="12222"/>
                </a:lnTo>
                <a:lnTo>
                  <a:pt x="7650" y="12233"/>
                </a:lnTo>
                <a:lnTo>
                  <a:pt x="7639" y="12241"/>
                </a:lnTo>
                <a:lnTo>
                  <a:pt x="7629" y="12248"/>
                </a:lnTo>
                <a:lnTo>
                  <a:pt x="7619" y="12255"/>
                </a:lnTo>
                <a:lnTo>
                  <a:pt x="7615" y="12259"/>
                </a:lnTo>
                <a:lnTo>
                  <a:pt x="7612" y="12263"/>
                </a:lnTo>
                <a:lnTo>
                  <a:pt x="7609" y="12267"/>
                </a:lnTo>
                <a:lnTo>
                  <a:pt x="7607" y="12273"/>
                </a:lnTo>
                <a:lnTo>
                  <a:pt x="7607" y="12278"/>
                </a:lnTo>
                <a:lnTo>
                  <a:pt x="7607" y="12286"/>
                </a:lnTo>
                <a:lnTo>
                  <a:pt x="7608" y="12294"/>
                </a:lnTo>
                <a:lnTo>
                  <a:pt x="7611" y="12303"/>
                </a:lnTo>
                <a:lnTo>
                  <a:pt x="7601" y="12303"/>
                </a:lnTo>
                <a:lnTo>
                  <a:pt x="7594" y="12304"/>
                </a:lnTo>
                <a:lnTo>
                  <a:pt x="7588" y="12306"/>
                </a:lnTo>
                <a:lnTo>
                  <a:pt x="7585" y="12309"/>
                </a:lnTo>
                <a:lnTo>
                  <a:pt x="7581" y="12316"/>
                </a:lnTo>
                <a:lnTo>
                  <a:pt x="7579" y="12323"/>
                </a:lnTo>
                <a:lnTo>
                  <a:pt x="7577" y="12327"/>
                </a:lnTo>
                <a:lnTo>
                  <a:pt x="7575" y="12331"/>
                </a:lnTo>
                <a:lnTo>
                  <a:pt x="7571" y="12335"/>
                </a:lnTo>
                <a:lnTo>
                  <a:pt x="7566" y="12338"/>
                </a:lnTo>
                <a:lnTo>
                  <a:pt x="7559" y="12340"/>
                </a:lnTo>
                <a:lnTo>
                  <a:pt x="7549" y="12343"/>
                </a:lnTo>
                <a:lnTo>
                  <a:pt x="7537" y="12344"/>
                </a:lnTo>
                <a:lnTo>
                  <a:pt x="7521" y="12344"/>
                </a:lnTo>
                <a:lnTo>
                  <a:pt x="7510" y="12345"/>
                </a:lnTo>
                <a:lnTo>
                  <a:pt x="7496" y="12348"/>
                </a:lnTo>
                <a:lnTo>
                  <a:pt x="7483" y="12353"/>
                </a:lnTo>
                <a:lnTo>
                  <a:pt x="7470" y="12359"/>
                </a:lnTo>
                <a:lnTo>
                  <a:pt x="7456" y="12366"/>
                </a:lnTo>
                <a:lnTo>
                  <a:pt x="7443" y="12375"/>
                </a:lnTo>
                <a:lnTo>
                  <a:pt x="7429" y="12384"/>
                </a:lnTo>
                <a:lnTo>
                  <a:pt x="7416" y="12395"/>
                </a:lnTo>
                <a:lnTo>
                  <a:pt x="7404" y="12407"/>
                </a:lnTo>
                <a:lnTo>
                  <a:pt x="7392" y="12420"/>
                </a:lnTo>
                <a:lnTo>
                  <a:pt x="7382" y="12433"/>
                </a:lnTo>
                <a:lnTo>
                  <a:pt x="7373" y="12446"/>
                </a:lnTo>
                <a:lnTo>
                  <a:pt x="7364" y="12460"/>
                </a:lnTo>
                <a:lnTo>
                  <a:pt x="7359" y="12473"/>
                </a:lnTo>
                <a:lnTo>
                  <a:pt x="7356" y="12480"/>
                </a:lnTo>
                <a:lnTo>
                  <a:pt x="7355" y="12487"/>
                </a:lnTo>
                <a:lnTo>
                  <a:pt x="7354" y="12493"/>
                </a:lnTo>
                <a:lnTo>
                  <a:pt x="7353" y="12500"/>
                </a:lnTo>
                <a:lnTo>
                  <a:pt x="7352" y="12516"/>
                </a:lnTo>
                <a:lnTo>
                  <a:pt x="7350" y="12531"/>
                </a:lnTo>
                <a:lnTo>
                  <a:pt x="7348" y="12547"/>
                </a:lnTo>
                <a:lnTo>
                  <a:pt x="7346" y="12562"/>
                </a:lnTo>
                <a:lnTo>
                  <a:pt x="7343" y="12576"/>
                </a:lnTo>
                <a:lnTo>
                  <a:pt x="7339" y="12589"/>
                </a:lnTo>
                <a:lnTo>
                  <a:pt x="7334" y="12602"/>
                </a:lnTo>
                <a:lnTo>
                  <a:pt x="7329" y="12615"/>
                </a:lnTo>
                <a:lnTo>
                  <a:pt x="7322" y="12627"/>
                </a:lnTo>
                <a:lnTo>
                  <a:pt x="7315" y="12639"/>
                </a:lnTo>
                <a:lnTo>
                  <a:pt x="7307" y="12651"/>
                </a:lnTo>
                <a:lnTo>
                  <a:pt x="7298" y="12662"/>
                </a:lnTo>
                <a:lnTo>
                  <a:pt x="7288" y="12674"/>
                </a:lnTo>
                <a:lnTo>
                  <a:pt x="7277" y="12684"/>
                </a:lnTo>
                <a:lnTo>
                  <a:pt x="7265" y="12694"/>
                </a:lnTo>
                <a:lnTo>
                  <a:pt x="7251" y="12705"/>
                </a:lnTo>
                <a:lnTo>
                  <a:pt x="7251" y="12707"/>
                </a:lnTo>
                <a:lnTo>
                  <a:pt x="7250" y="12710"/>
                </a:lnTo>
                <a:lnTo>
                  <a:pt x="7248" y="12712"/>
                </a:lnTo>
                <a:lnTo>
                  <a:pt x="7246" y="12715"/>
                </a:lnTo>
                <a:lnTo>
                  <a:pt x="7238" y="12720"/>
                </a:lnTo>
                <a:lnTo>
                  <a:pt x="7229" y="12724"/>
                </a:lnTo>
                <a:lnTo>
                  <a:pt x="7207" y="12734"/>
                </a:lnTo>
                <a:lnTo>
                  <a:pt x="7182" y="12744"/>
                </a:lnTo>
                <a:lnTo>
                  <a:pt x="7169" y="12751"/>
                </a:lnTo>
                <a:lnTo>
                  <a:pt x="7157" y="12757"/>
                </a:lnTo>
                <a:lnTo>
                  <a:pt x="7146" y="12765"/>
                </a:lnTo>
                <a:lnTo>
                  <a:pt x="7135" y="12773"/>
                </a:lnTo>
                <a:lnTo>
                  <a:pt x="7131" y="12778"/>
                </a:lnTo>
                <a:lnTo>
                  <a:pt x="7127" y="12783"/>
                </a:lnTo>
                <a:lnTo>
                  <a:pt x="7123" y="12788"/>
                </a:lnTo>
                <a:lnTo>
                  <a:pt x="7120" y="12795"/>
                </a:lnTo>
                <a:lnTo>
                  <a:pt x="7116" y="12801"/>
                </a:lnTo>
                <a:lnTo>
                  <a:pt x="7114" y="12807"/>
                </a:lnTo>
                <a:lnTo>
                  <a:pt x="7113" y="12814"/>
                </a:lnTo>
                <a:lnTo>
                  <a:pt x="7113" y="12821"/>
                </a:lnTo>
                <a:lnTo>
                  <a:pt x="7115" y="12822"/>
                </a:lnTo>
                <a:lnTo>
                  <a:pt x="7117" y="12827"/>
                </a:lnTo>
                <a:lnTo>
                  <a:pt x="7118" y="12834"/>
                </a:lnTo>
                <a:lnTo>
                  <a:pt x="7118" y="12843"/>
                </a:lnTo>
                <a:lnTo>
                  <a:pt x="7120" y="12867"/>
                </a:lnTo>
                <a:lnTo>
                  <a:pt x="7118" y="12894"/>
                </a:lnTo>
                <a:lnTo>
                  <a:pt x="7116" y="12923"/>
                </a:lnTo>
                <a:lnTo>
                  <a:pt x="7115" y="12949"/>
                </a:lnTo>
                <a:lnTo>
                  <a:pt x="7113" y="12968"/>
                </a:lnTo>
                <a:lnTo>
                  <a:pt x="7113" y="12979"/>
                </a:lnTo>
                <a:lnTo>
                  <a:pt x="7105" y="12980"/>
                </a:lnTo>
                <a:lnTo>
                  <a:pt x="7095" y="12981"/>
                </a:lnTo>
                <a:lnTo>
                  <a:pt x="7085" y="12983"/>
                </a:lnTo>
                <a:lnTo>
                  <a:pt x="7074" y="12986"/>
                </a:lnTo>
                <a:lnTo>
                  <a:pt x="7050" y="12993"/>
                </a:lnTo>
                <a:lnTo>
                  <a:pt x="7025" y="13003"/>
                </a:lnTo>
                <a:lnTo>
                  <a:pt x="7014" y="13008"/>
                </a:lnTo>
                <a:lnTo>
                  <a:pt x="7002" y="13014"/>
                </a:lnTo>
                <a:lnTo>
                  <a:pt x="6990" y="13021"/>
                </a:lnTo>
                <a:lnTo>
                  <a:pt x="6981" y="13027"/>
                </a:lnTo>
                <a:lnTo>
                  <a:pt x="6972" y="13033"/>
                </a:lnTo>
                <a:lnTo>
                  <a:pt x="6964" y="13040"/>
                </a:lnTo>
                <a:lnTo>
                  <a:pt x="6959" y="13047"/>
                </a:lnTo>
                <a:lnTo>
                  <a:pt x="6954" y="13054"/>
                </a:lnTo>
                <a:lnTo>
                  <a:pt x="6930" y="13054"/>
                </a:lnTo>
                <a:lnTo>
                  <a:pt x="6910" y="13054"/>
                </a:lnTo>
                <a:lnTo>
                  <a:pt x="6892" y="13055"/>
                </a:lnTo>
                <a:lnTo>
                  <a:pt x="6876" y="13057"/>
                </a:lnTo>
                <a:lnTo>
                  <a:pt x="6862" y="13059"/>
                </a:lnTo>
                <a:lnTo>
                  <a:pt x="6850" y="13061"/>
                </a:lnTo>
                <a:lnTo>
                  <a:pt x="6840" y="13064"/>
                </a:lnTo>
                <a:lnTo>
                  <a:pt x="6830" y="13068"/>
                </a:lnTo>
                <a:lnTo>
                  <a:pt x="6822" y="13073"/>
                </a:lnTo>
                <a:lnTo>
                  <a:pt x="6813" y="13078"/>
                </a:lnTo>
                <a:lnTo>
                  <a:pt x="6804" y="13084"/>
                </a:lnTo>
                <a:lnTo>
                  <a:pt x="6795" y="13091"/>
                </a:lnTo>
                <a:lnTo>
                  <a:pt x="6773" y="13107"/>
                </a:lnTo>
                <a:lnTo>
                  <a:pt x="6743" y="13127"/>
                </a:lnTo>
                <a:lnTo>
                  <a:pt x="6743" y="13136"/>
                </a:lnTo>
                <a:lnTo>
                  <a:pt x="6740" y="13148"/>
                </a:lnTo>
                <a:lnTo>
                  <a:pt x="6738" y="13162"/>
                </a:lnTo>
                <a:lnTo>
                  <a:pt x="6734" y="13177"/>
                </a:lnTo>
                <a:lnTo>
                  <a:pt x="6729" y="13191"/>
                </a:lnTo>
                <a:lnTo>
                  <a:pt x="6724" y="13202"/>
                </a:lnTo>
                <a:lnTo>
                  <a:pt x="6721" y="13206"/>
                </a:lnTo>
                <a:lnTo>
                  <a:pt x="6718" y="13209"/>
                </a:lnTo>
                <a:lnTo>
                  <a:pt x="6715" y="13211"/>
                </a:lnTo>
                <a:lnTo>
                  <a:pt x="6711" y="13212"/>
                </a:lnTo>
                <a:lnTo>
                  <a:pt x="6711" y="13222"/>
                </a:lnTo>
                <a:lnTo>
                  <a:pt x="6710" y="13230"/>
                </a:lnTo>
                <a:lnTo>
                  <a:pt x="6709" y="13237"/>
                </a:lnTo>
                <a:lnTo>
                  <a:pt x="6708" y="13243"/>
                </a:lnTo>
                <a:lnTo>
                  <a:pt x="6706" y="13249"/>
                </a:lnTo>
                <a:lnTo>
                  <a:pt x="6704" y="13253"/>
                </a:lnTo>
                <a:lnTo>
                  <a:pt x="6701" y="13257"/>
                </a:lnTo>
                <a:lnTo>
                  <a:pt x="6698" y="13259"/>
                </a:lnTo>
                <a:lnTo>
                  <a:pt x="6695" y="13262"/>
                </a:lnTo>
                <a:lnTo>
                  <a:pt x="6692" y="13263"/>
                </a:lnTo>
                <a:lnTo>
                  <a:pt x="6688" y="13264"/>
                </a:lnTo>
                <a:lnTo>
                  <a:pt x="6684" y="13265"/>
                </a:lnTo>
                <a:lnTo>
                  <a:pt x="6675" y="13265"/>
                </a:lnTo>
                <a:lnTo>
                  <a:pt x="6666" y="13264"/>
                </a:lnTo>
                <a:lnTo>
                  <a:pt x="6645" y="13260"/>
                </a:lnTo>
                <a:lnTo>
                  <a:pt x="6622" y="13258"/>
                </a:lnTo>
                <a:lnTo>
                  <a:pt x="6609" y="13259"/>
                </a:lnTo>
                <a:lnTo>
                  <a:pt x="6597" y="13262"/>
                </a:lnTo>
                <a:lnTo>
                  <a:pt x="6591" y="13264"/>
                </a:lnTo>
                <a:lnTo>
                  <a:pt x="6585" y="13267"/>
                </a:lnTo>
                <a:lnTo>
                  <a:pt x="6579" y="13271"/>
                </a:lnTo>
                <a:lnTo>
                  <a:pt x="6574" y="13275"/>
                </a:lnTo>
                <a:lnTo>
                  <a:pt x="6578" y="13277"/>
                </a:lnTo>
                <a:lnTo>
                  <a:pt x="6583" y="13280"/>
                </a:lnTo>
                <a:lnTo>
                  <a:pt x="6587" y="13285"/>
                </a:lnTo>
                <a:lnTo>
                  <a:pt x="6592" y="13292"/>
                </a:lnTo>
                <a:lnTo>
                  <a:pt x="6596" y="13301"/>
                </a:lnTo>
                <a:lnTo>
                  <a:pt x="6601" y="13310"/>
                </a:lnTo>
                <a:lnTo>
                  <a:pt x="6605" y="13319"/>
                </a:lnTo>
                <a:lnTo>
                  <a:pt x="6608" y="13329"/>
                </a:lnTo>
                <a:lnTo>
                  <a:pt x="6614" y="13348"/>
                </a:lnTo>
                <a:lnTo>
                  <a:pt x="6619" y="13365"/>
                </a:lnTo>
                <a:lnTo>
                  <a:pt x="6619" y="13371"/>
                </a:lnTo>
                <a:lnTo>
                  <a:pt x="6619" y="13377"/>
                </a:lnTo>
                <a:lnTo>
                  <a:pt x="6619" y="13380"/>
                </a:lnTo>
                <a:lnTo>
                  <a:pt x="6617" y="13381"/>
                </a:lnTo>
                <a:lnTo>
                  <a:pt x="6616" y="13398"/>
                </a:lnTo>
                <a:lnTo>
                  <a:pt x="6613" y="13412"/>
                </a:lnTo>
                <a:lnTo>
                  <a:pt x="6610" y="13426"/>
                </a:lnTo>
                <a:lnTo>
                  <a:pt x="6606" y="13438"/>
                </a:lnTo>
                <a:lnTo>
                  <a:pt x="6601" y="13448"/>
                </a:lnTo>
                <a:lnTo>
                  <a:pt x="6594" y="13458"/>
                </a:lnTo>
                <a:lnTo>
                  <a:pt x="6587" y="13467"/>
                </a:lnTo>
                <a:lnTo>
                  <a:pt x="6580" y="13475"/>
                </a:lnTo>
                <a:lnTo>
                  <a:pt x="6562" y="13492"/>
                </a:lnTo>
                <a:lnTo>
                  <a:pt x="6543" y="13508"/>
                </a:lnTo>
                <a:lnTo>
                  <a:pt x="6532" y="13517"/>
                </a:lnTo>
                <a:lnTo>
                  <a:pt x="6522" y="13527"/>
                </a:lnTo>
                <a:lnTo>
                  <a:pt x="6511" y="13538"/>
                </a:lnTo>
                <a:lnTo>
                  <a:pt x="6500" y="13551"/>
                </a:lnTo>
                <a:lnTo>
                  <a:pt x="6495" y="13555"/>
                </a:lnTo>
                <a:lnTo>
                  <a:pt x="6490" y="13561"/>
                </a:lnTo>
                <a:lnTo>
                  <a:pt x="6484" y="13567"/>
                </a:lnTo>
                <a:lnTo>
                  <a:pt x="6479" y="13574"/>
                </a:lnTo>
                <a:lnTo>
                  <a:pt x="6469" y="13589"/>
                </a:lnTo>
                <a:lnTo>
                  <a:pt x="6459" y="13606"/>
                </a:lnTo>
                <a:lnTo>
                  <a:pt x="6450" y="13621"/>
                </a:lnTo>
                <a:lnTo>
                  <a:pt x="6442" y="13634"/>
                </a:lnTo>
                <a:lnTo>
                  <a:pt x="6437" y="13639"/>
                </a:lnTo>
                <a:lnTo>
                  <a:pt x="6433" y="13642"/>
                </a:lnTo>
                <a:lnTo>
                  <a:pt x="6429" y="13645"/>
                </a:lnTo>
                <a:lnTo>
                  <a:pt x="6426" y="13646"/>
                </a:lnTo>
                <a:lnTo>
                  <a:pt x="6425" y="13657"/>
                </a:lnTo>
                <a:lnTo>
                  <a:pt x="6424" y="13669"/>
                </a:lnTo>
                <a:lnTo>
                  <a:pt x="6423" y="13681"/>
                </a:lnTo>
                <a:lnTo>
                  <a:pt x="6421" y="13693"/>
                </a:lnTo>
                <a:lnTo>
                  <a:pt x="6416" y="13715"/>
                </a:lnTo>
                <a:lnTo>
                  <a:pt x="6410" y="13737"/>
                </a:lnTo>
                <a:lnTo>
                  <a:pt x="6404" y="13759"/>
                </a:lnTo>
                <a:lnTo>
                  <a:pt x="6399" y="13781"/>
                </a:lnTo>
                <a:lnTo>
                  <a:pt x="6397" y="13792"/>
                </a:lnTo>
                <a:lnTo>
                  <a:pt x="6396" y="13804"/>
                </a:lnTo>
                <a:lnTo>
                  <a:pt x="6395" y="13815"/>
                </a:lnTo>
                <a:lnTo>
                  <a:pt x="6394" y="13826"/>
                </a:lnTo>
                <a:lnTo>
                  <a:pt x="6397" y="13827"/>
                </a:lnTo>
                <a:lnTo>
                  <a:pt x="6398" y="13828"/>
                </a:lnTo>
                <a:lnTo>
                  <a:pt x="6399" y="13829"/>
                </a:lnTo>
                <a:lnTo>
                  <a:pt x="6400" y="13831"/>
                </a:lnTo>
                <a:lnTo>
                  <a:pt x="6401" y="13836"/>
                </a:lnTo>
                <a:lnTo>
                  <a:pt x="6401" y="13843"/>
                </a:lnTo>
                <a:lnTo>
                  <a:pt x="6401" y="13851"/>
                </a:lnTo>
                <a:lnTo>
                  <a:pt x="6401" y="13860"/>
                </a:lnTo>
                <a:lnTo>
                  <a:pt x="6402" y="13869"/>
                </a:lnTo>
                <a:lnTo>
                  <a:pt x="6405" y="13878"/>
                </a:lnTo>
                <a:lnTo>
                  <a:pt x="6410" y="13877"/>
                </a:lnTo>
                <a:lnTo>
                  <a:pt x="6414" y="13874"/>
                </a:lnTo>
                <a:lnTo>
                  <a:pt x="6418" y="13871"/>
                </a:lnTo>
                <a:lnTo>
                  <a:pt x="6422" y="13868"/>
                </a:lnTo>
                <a:lnTo>
                  <a:pt x="6428" y="13862"/>
                </a:lnTo>
                <a:lnTo>
                  <a:pt x="6432" y="13854"/>
                </a:lnTo>
                <a:lnTo>
                  <a:pt x="6436" y="13848"/>
                </a:lnTo>
                <a:lnTo>
                  <a:pt x="6439" y="13842"/>
                </a:lnTo>
                <a:lnTo>
                  <a:pt x="6441" y="13840"/>
                </a:lnTo>
                <a:lnTo>
                  <a:pt x="6443" y="13838"/>
                </a:lnTo>
                <a:lnTo>
                  <a:pt x="6445" y="13837"/>
                </a:lnTo>
                <a:lnTo>
                  <a:pt x="6447" y="13837"/>
                </a:lnTo>
                <a:lnTo>
                  <a:pt x="6447" y="13832"/>
                </a:lnTo>
                <a:lnTo>
                  <a:pt x="6448" y="13828"/>
                </a:lnTo>
                <a:lnTo>
                  <a:pt x="6449" y="13825"/>
                </a:lnTo>
                <a:lnTo>
                  <a:pt x="6450" y="13823"/>
                </a:lnTo>
                <a:lnTo>
                  <a:pt x="6452" y="13821"/>
                </a:lnTo>
                <a:lnTo>
                  <a:pt x="6454" y="13820"/>
                </a:lnTo>
                <a:lnTo>
                  <a:pt x="6456" y="13820"/>
                </a:lnTo>
                <a:lnTo>
                  <a:pt x="6459" y="13820"/>
                </a:lnTo>
                <a:lnTo>
                  <a:pt x="6464" y="13821"/>
                </a:lnTo>
                <a:lnTo>
                  <a:pt x="6470" y="13824"/>
                </a:lnTo>
                <a:lnTo>
                  <a:pt x="6476" y="13828"/>
                </a:lnTo>
                <a:lnTo>
                  <a:pt x="6482" y="13833"/>
                </a:lnTo>
                <a:lnTo>
                  <a:pt x="6487" y="13838"/>
                </a:lnTo>
                <a:lnTo>
                  <a:pt x="6492" y="13844"/>
                </a:lnTo>
                <a:lnTo>
                  <a:pt x="6495" y="13850"/>
                </a:lnTo>
                <a:lnTo>
                  <a:pt x="6496" y="13856"/>
                </a:lnTo>
                <a:lnTo>
                  <a:pt x="6496" y="13858"/>
                </a:lnTo>
                <a:lnTo>
                  <a:pt x="6495" y="13861"/>
                </a:lnTo>
                <a:lnTo>
                  <a:pt x="6494" y="13863"/>
                </a:lnTo>
                <a:lnTo>
                  <a:pt x="6493" y="13865"/>
                </a:lnTo>
                <a:lnTo>
                  <a:pt x="6490" y="13866"/>
                </a:lnTo>
                <a:lnTo>
                  <a:pt x="6486" y="13867"/>
                </a:lnTo>
                <a:lnTo>
                  <a:pt x="6483" y="13868"/>
                </a:lnTo>
                <a:lnTo>
                  <a:pt x="6478" y="13868"/>
                </a:lnTo>
                <a:lnTo>
                  <a:pt x="6470" y="13880"/>
                </a:lnTo>
                <a:lnTo>
                  <a:pt x="6462" y="13890"/>
                </a:lnTo>
                <a:lnTo>
                  <a:pt x="6454" y="13899"/>
                </a:lnTo>
                <a:lnTo>
                  <a:pt x="6445" y="13908"/>
                </a:lnTo>
                <a:lnTo>
                  <a:pt x="6429" y="13924"/>
                </a:lnTo>
                <a:lnTo>
                  <a:pt x="6414" y="13938"/>
                </a:lnTo>
                <a:lnTo>
                  <a:pt x="6406" y="13946"/>
                </a:lnTo>
                <a:lnTo>
                  <a:pt x="6399" y="13954"/>
                </a:lnTo>
                <a:lnTo>
                  <a:pt x="6392" y="13963"/>
                </a:lnTo>
                <a:lnTo>
                  <a:pt x="6385" y="13973"/>
                </a:lnTo>
                <a:lnTo>
                  <a:pt x="6379" y="13984"/>
                </a:lnTo>
                <a:lnTo>
                  <a:pt x="6373" y="13997"/>
                </a:lnTo>
                <a:lnTo>
                  <a:pt x="6368" y="14011"/>
                </a:lnTo>
                <a:lnTo>
                  <a:pt x="6361" y="14027"/>
                </a:lnTo>
                <a:lnTo>
                  <a:pt x="6354" y="14027"/>
                </a:lnTo>
                <a:lnTo>
                  <a:pt x="6348" y="14029"/>
                </a:lnTo>
                <a:lnTo>
                  <a:pt x="6341" y="14031"/>
                </a:lnTo>
                <a:lnTo>
                  <a:pt x="6334" y="14035"/>
                </a:lnTo>
                <a:lnTo>
                  <a:pt x="6327" y="14039"/>
                </a:lnTo>
                <a:lnTo>
                  <a:pt x="6321" y="14044"/>
                </a:lnTo>
                <a:lnTo>
                  <a:pt x="6315" y="14051"/>
                </a:lnTo>
                <a:lnTo>
                  <a:pt x="6309" y="14057"/>
                </a:lnTo>
                <a:lnTo>
                  <a:pt x="6297" y="14072"/>
                </a:lnTo>
                <a:lnTo>
                  <a:pt x="6287" y="14088"/>
                </a:lnTo>
                <a:lnTo>
                  <a:pt x="6278" y="14105"/>
                </a:lnTo>
                <a:lnTo>
                  <a:pt x="6270" y="14122"/>
                </a:lnTo>
                <a:lnTo>
                  <a:pt x="6265" y="14140"/>
                </a:lnTo>
                <a:lnTo>
                  <a:pt x="6261" y="14157"/>
                </a:lnTo>
                <a:lnTo>
                  <a:pt x="6260" y="14165"/>
                </a:lnTo>
                <a:lnTo>
                  <a:pt x="6259" y="14173"/>
                </a:lnTo>
                <a:lnTo>
                  <a:pt x="6259" y="14181"/>
                </a:lnTo>
                <a:lnTo>
                  <a:pt x="6259" y="14188"/>
                </a:lnTo>
                <a:lnTo>
                  <a:pt x="6261" y="14195"/>
                </a:lnTo>
                <a:lnTo>
                  <a:pt x="6262" y="14200"/>
                </a:lnTo>
                <a:lnTo>
                  <a:pt x="6265" y="14205"/>
                </a:lnTo>
                <a:lnTo>
                  <a:pt x="6268" y="14210"/>
                </a:lnTo>
                <a:lnTo>
                  <a:pt x="6272" y="14213"/>
                </a:lnTo>
                <a:lnTo>
                  <a:pt x="6276" y="14216"/>
                </a:lnTo>
                <a:lnTo>
                  <a:pt x="6282" y="14217"/>
                </a:lnTo>
                <a:lnTo>
                  <a:pt x="6288" y="14218"/>
                </a:lnTo>
                <a:lnTo>
                  <a:pt x="6289" y="14230"/>
                </a:lnTo>
                <a:lnTo>
                  <a:pt x="6290" y="14242"/>
                </a:lnTo>
                <a:lnTo>
                  <a:pt x="6293" y="14254"/>
                </a:lnTo>
                <a:lnTo>
                  <a:pt x="6296" y="14265"/>
                </a:lnTo>
                <a:lnTo>
                  <a:pt x="6300" y="14276"/>
                </a:lnTo>
                <a:lnTo>
                  <a:pt x="6305" y="14287"/>
                </a:lnTo>
                <a:lnTo>
                  <a:pt x="6311" y="14297"/>
                </a:lnTo>
                <a:lnTo>
                  <a:pt x="6317" y="14308"/>
                </a:lnTo>
                <a:lnTo>
                  <a:pt x="6253" y="14289"/>
                </a:lnTo>
                <a:lnTo>
                  <a:pt x="6188" y="14270"/>
                </a:lnTo>
                <a:lnTo>
                  <a:pt x="6124" y="14251"/>
                </a:lnTo>
                <a:lnTo>
                  <a:pt x="6060" y="14231"/>
                </a:lnTo>
                <a:lnTo>
                  <a:pt x="5997" y="14210"/>
                </a:lnTo>
                <a:lnTo>
                  <a:pt x="5934" y="14189"/>
                </a:lnTo>
                <a:lnTo>
                  <a:pt x="5871" y="14166"/>
                </a:lnTo>
                <a:lnTo>
                  <a:pt x="5808" y="14143"/>
                </a:lnTo>
                <a:lnTo>
                  <a:pt x="5806" y="14058"/>
                </a:lnTo>
                <a:lnTo>
                  <a:pt x="5806" y="13953"/>
                </a:lnTo>
                <a:lnTo>
                  <a:pt x="5807" y="13895"/>
                </a:lnTo>
                <a:lnTo>
                  <a:pt x="5808" y="13837"/>
                </a:lnTo>
                <a:lnTo>
                  <a:pt x="5810" y="13778"/>
                </a:lnTo>
                <a:lnTo>
                  <a:pt x="5813" y="13722"/>
                </a:lnTo>
                <a:lnTo>
                  <a:pt x="5817" y="13666"/>
                </a:lnTo>
                <a:lnTo>
                  <a:pt x="5822" y="13615"/>
                </a:lnTo>
                <a:lnTo>
                  <a:pt x="5828" y="13568"/>
                </a:lnTo>
                <a:lnTo>
                  <a:pt x="5834" y="13527"/>
                </a:lnTo>
                <a:lnTo>
                  <a:pt x="5838" y="13509"/>
                </a:lnTo>
                <a:lnTo>
                  <a:pt x="5843" y="13493"/>
                </a:lnTo>
                <a:lnTo>
                  <a:pt x="5847" y="13479"/>
                </a:lnTo>
                <a:lnTo>
                  <a:pt x="5852" y="13467"/>
                </a:lnTo>
                <a:lnTo>
                  <a:pt x="5857" y="13458"/>
                </a:lnTo>
                <a:lnTo>
                  <a:pt x="5864" y="13451"/>
                </a:lnTo>
                <a:lnTo>
                  <a:pt x="5869" y="13447"/>
                </a:lnTo>
                <a:lnTo>
                  <a:pt x="5876" y="13445"/>
                </a:lnTo>
                <a:lnTo>
                  <a:pt x="5877" y="13429"/>
                </a:lnTo>
                <a:lnTo>
                  <a:pt x="5880" y="13404"/>
                </a:lnTo>
                <a:lnTo>
                  <a:pt x="5886" y="13377"/>
                </a:lnTo>
                <a:lnTo>
                  <a:pt x="5893" y="13348"/>
                </a:lnTo>
                <a:lnTo>
                  <a:pt x="5896" y="13334"/>
                </a:lnTo>
                <a:lnTo>
                  <a:pt x="5901" y="13321"/>
                </a:lnTo>
                <a:lnTo>
                  <a:pt x="5905" y="13309"/>
                </a:lnTo>
                <a:lnTo>
                  <a:pt x="5909" y="13298"/>
                </a:lnTo>
                <a:lnTo>
                  <a:pt x="5914" y="13288"/>
                </a:lnTo>
                <a:lnTo>
                  <a:pt x="5919" y="13281"/>
                </a:lnTo>
                <a:lnTo>
                  <a:pt x="5921" y="13279"/>
                </a:lnTo>
                <a:lnTo>
                  <a:pt x="5923" y="13277"/>
                </a:lnTo>
                <a:lnTo>
                  <a:pt x="5926" y="13276"/>
                </a:lnTo>
                <a:lnTo>
                  <a:pt x="5928" y="13275"/>
                </a:lnTo>
                <a:lnTo>
                  <a:pt x="5929" y="13243"/>
                </a:lnTo>
                <a:lnTo>
                  <a:pt x="5930" y="13210"/>
                </a:lnTo>
                <a:lnTo>
                  <a:pt x="5931" y="13175"/>
                </a:lnTo>
                <a:lnTo>
                  <a:pt x="5932" y="13139"/>
                </a:lnTo>
                <a:lnTo>
                  <a:pt x="5933" y="13103"/>
                </a:lnTo>
                <a:lnTo>
                  <a:pt x="5932" y="13066"/>
                </a:lnTo>
                <a:lnTo>
                  <a:pt x="5931" y="13027"/>
                </a:lnTo>
                <a:lnTo>
                  <a:pt x="5928" y="12990"/>
                </a:lnTo>
                <a:lnTo>
                  <a:pt x="5925" y="12984"/>
                </a:lnTo>
                <a:lnTo>
                  <a:pt x="5923" y="12978"/>
                </a:lnTo>
                <a:lnTo>
                  <a:pt x="5922" y="12972"/>
                </a:lnTo>
                <a:lnTo>
                  <a:pt x="5921" y="12966"/>
                </a:lnTo>
                <a:lnTo>
                  <a:pt x="5920" y="12953"/>
                </a:lnTo>
                <a:lnTo>
                  <a:pt x="5922" y="12940"/>
                </a:lnTo>
                <a:lnTo>
                  <a:pt x="5924" y="12926"/>
                </a:lnTo>
                <a:lnTo>
                  <a:pt x="5928" y="12911"/>
                </a:lnTo>
                <a:lnTo>
                  <a:pt x="5934" y="12896"/>
                </a:lnTo>
                <a:lnTo>
                  <a:pt x="5940" y="12882"/>
                </a:lnTo>
                <a:lnTo>
                  <a:pt x="5953" y="12851"/>
                </a:lnTo>
                <a:lnTo>
                  <a:pt x="5968" y="12818"/>
                </a:lnTo>
                <a:lnTo>
                  <a:pt x="5974" y="12801"/>
                </a:lnTo>
                <a:lnTo>
                  <a:pt x="5981" y="12783"/>
                </a:lnTo>
                <a:lnTo>
                  <a:pt x="5987" y="12765"/>
                </a:lnTo>
                <a:lnTo>
                  <a:pt x="5992" y="12747"/>
                </a:lnTo>
                <a:lnTo>
                  <a:pt x="6003" y="12739"/>
                </a:lnTo>
                <a:lnTo>
                  <a:pt x="6012" y="12729"/>
                </a:lnTo>
                <a:lnTo>
                  <a:pt x="6021" y="12716"/>
                </a:lnTo>
                <a:lnTo>
                  <a:pt x="6028" y="12700"/>
                </a:lnTo>
                <a:lnTo>
                  <a:pt x="6035" y="12682"/>
                </a:lnTo>
                <a:lnTo>
                  <a:pt x="6041" y="12661"/>
                </a:lnTo>
                <a:lnTo>
                  <a:pt x="6046" y="12639"/>
                </a:lnTo>
                <a:lnTo>
                  <a:pt x="6050" y="12615"/>
                </a:lnTo>
                <a:lnTo>
                  <a:pt x="6054" y="12589"/>
                </a:lnTo>
                <a:lnTo>
                  <a:pt x="6057" y="12563"/>
                </a:lnTo>
                <a:lnTo>
                  <a:pt x="6059" y="12534"/>
                </a:lnTo>
                <a:lnTo>
                  <a:pt x="6061" y="12505"/>
                </a:lnTo>
                <a:lnTo>
                  <a:pt x="6064" y="12446"/>
                </a:lnTo>
                <a:lnTo>
                  <a:pt x="6066" y="12385"/>
                </a:lnTo>
                <a:lnTo>
                  <a:pt x="6068" y="12325"/>
                </a:lnTo>
                <a:lnTo>
                  <a:pt x="6070" y="12267"/>
                </a:lnTo>
                <a:lnTo>
                  <a:pt x="6073" y="12214"/>
                </a:lnTo>
                <a:lnTo>
                  <a:pt x="6077" y="12167"/>
                </a:lnTo>
                <a:lnTo>
                  <a:pt x="6080" y="12145"/>
                </a:lnTo>
                <a:lnTo>
                  <a:pt x="6083" y="12126"/>
                </a:lnTo>
                <a:lnTo>
                  <a:pt x="6087" y="12110"/>
                </a:lnTo>
                <a:lnTo>
                  <a:pt x="6092" y="12096"/>
                </a:lnTo>
                <a:lnTo>
                  <a:pt x="6097" y="12085"/>
                </a:lnTo>
                <a:lnTo>
                  <a:pt x="6103" y="12076"/>
                </a:lnTo>
                <a:lnTo>
                  <a:pt x="6110" y="12071"/>
                </a:lnTo>
                <a:lnTo>
                  <a:pt x="6119" y="12070"/>
                </a:lnTo>
                <a:lnTo>
                  <a:pt x="6120" y="12013"/>
                </a:lnTo>
                <a:lnTo>
                  <a:pt x="6122" y="11959"/>
                </a:lnTo>
                <a:lnTo>
                  <a:pt x="6125" y="11909"/>
                </a:lnTo>
                <a:lnTo>
                  <a:pt x="6129" y="11859"/>
                </a:lnTo>
                <a:lnTo>
                  <a:pt x="6134" y="11811"/>
                </a:lnTo>
                <a:lnTo>
                  <a:pt x="6138" y="11764"/>
                </a:lnTo>
                <a:lnTo>
                  <a:pt x="6143" y="11719"/>
                </a:lnTo>
                <a:lnTo>
                  <a:pt x="6147" y="11675"/>
                </a:lnTo>
                <a:lnTo>
                  <a:pt x="6151" y="11630"/>
                </a:lnTo>
                <a:lnTo>
                  <a:pt x="6154" y="11586"/>
                </a:lnTo>
                <a:lnTo>
                  <a:pt x="6156" y="11541"/>
                </a:lnTo>
                <a:lnTo>
                  <a:pt x="6157" y="11494"/>
                </a:lnTo>
                <a:lnTo>
                  <a:pt x="6156" y="11448"/>
                </a:lnTo>
                <a:lnTo>
                  <a:pt x="6153" y="11399"/>
                </a:lnTo>
                <a:lnTo>
                  <a:pt x="6150" y="11374"/>
                </a:lnTo>
                <a:lnTo>
                  <a:pt x="6148" y="11349"/>
                </a:lnTo>
                <a:lnTo>
                  <a:pt x="6144" y="11323"/>
                </a:lnTo>
                <a:lnTo>
                  <a:pt x="6140" y="11297"/>
                </a:lnTo>
                <a:lnTo>
                  <a:pt x="6142" y="11296"/>
                </a:lnTo>
                <a:lnTo>
                  <a:pt x="6142" y="11295"/>
                </a:lnTo>
                <a:lnTo>
                  <a:pt x="6142" y="11293"/>
                </a:lnTo>
                <a:lnTo>
                  <a:pt x="6141" y="11290"/>
                </a:lnTo>
                <a:lnTo>
                  <a:pt x="6136" y="11281"/>
                </a:lnTo>
                <a:lnTo>
                  <a:pt x="6128" y="11269"/>
                </a:lnTo>
                <a:lnTo>
                  <a:pt x="6106" y="11242"/>
                </a:lnTo>
                <a:lnTo>
                  <a:pt x="6079" y="11211"/>
                </a:lnTo>
                <a:lnTo>
                  <a:pt x="6051" y="11180"/>
                </a:lnTo>
                <a:lnTo>
                  <a:pt x="6026" y="11153"/>
                </a:lnTo>
                <a:lnTo>
                  <a:pt x="6009" y="11133"/>
                </a:lnTo>
                <a:lnTo>
                  <a:pt x="6002" y="11127"/>
                </a:lnTo>
                <a:lnTo>
                  <a:pt x="5988" y="11126"/>
                </a:lnTo>
                <a:lnTo>
                  <a:pt x="5973" y="11124"/>
                </a:lnTo>
                <a:lnTo>
                  <a:pt x="5959" y="11121"/>
                </a:lnTo>
                <a:lnTo>
                  <a:pt x="5946" y="11116"/>
                </a:lnTo>
                <a:lnTo>
                  <a:pt x="5933" y="11110"/>
                </a:lnTo>
                <a:lnTo>
                  <a:pt x="5920" y="11103"/>
                </a:lnTo>
                <a:lnTo>
                  <a:pt x="5907" y="11095"/>
                </a:lnTo>
                <a:lnTo>
                  <a:pt x="5895" y="11087"/>
                </a:lnTo>
                <a:lnTo>
                  <a:pt x="5884" y="11077"/>
                </a:lnTo>
                <a:lnTo>
                  <a:pt x="5872" y="11066"/>
                </a:lnTo>
                <a:lnTo>
                  <a:pt x="5861" y="11055"/>
                </a:lnTo>
                <a:lnTo>
                  <a:pt x="5850" y="11043"/>
                </a:lnTo>
                <a:lnTo>
                  <a:pt x="5840" y="11030"/>
                </a:lnTo>
                <a:lnTo>
                  <a:pt x="5830" y="11016"/>
                </a:lnTo>
                <a:lnTo>
                  <a:pt x="5820" y="11002"/>
                </a:lnTo>
                <a:lnTo>
                  <a:pt x="5812" y="10988"/>
                </a:lnTo>
                <a:lnTo>
                  <a:pt x="5795" y="10959"/>
                </a:lnTo>
                <a:lnTo>
                  <a:pt x="5781" y="10930"/>
                </a:lnTo>
                <a:lnTo>
                  <a:pt x="5768" y="10900"/>
                </a:lnTo>
                <a:lnTo>
                  <a:pt x="5758" y="10870"/>
                </a:lnTo>
                <a:lnTo>
                  <a:pt x="5749" y="10841"/>
                </a:lnTo>
                <a:lnTo>
                  <a:pt x="5743" y="10815"/>
                </a:lnTo>
                <a:lnTo>
                  <a:pt x="5741" y="10802"/>
                </a:lnTo>
                <a:lnTo>
                  <a:pt x="5740" y="10790"/>
                </a:lnTo>
                <a:lnTo>
                  <a:pt x="5739" y="10779"/>
                </a:lnTo>
                <a:lnTo>
                  <a:pt x="5738" y="10767"/>
                </a:lnTo>
                <a:lnTo>
                  <a:pt x="5731" y="10748"/>
                </a:lnTo>
                <a:lnTo>
                  <a:pt x="5723" y="10727"/>
                </a:lnTo>
                <a:lnTo>
                  <a:pt x="5714" y="10705"/>
                </a:lnTo>
                <a:lnTo>
                  <a:pt x="5705" y="10682"/>
                </a:lnTo>
                <a:lnTo>
                  <a:pt x="5697" y="10658"/>
                </a:lnTo>
                <a:lnTo>
                  <a:pt x="5691" y="10634"/>
                </a:lnTo>
                <a:lnTo>
                  <a:pt x="5688" y="10622"/>
                </a:lnTo>
                <a:lnTo>
                  <a:pt x="5686" y="10610"/>
                </a:lnTo>
                <a:lnTo>
                  <a:pt x="5685" y="10599"/>
                </a:lnTo>
                <a:lnTo>
                  <a:pt x="5685" y="10587"/>
                </a:lnTo>
                <a:lnTo>
                  <a:pt x="5687" y="10586"/>
                </a:lnTo>
                <a:lnTo>
                  <a:pt x="5688" y="10583"/>
                </a:lnTo>
                <a:lnTo>
                  <a:pt x="5687" y="10578"/>
                </a:lnTo>
                <a:lnTo>
                  <a:pt x="5685" y="10571"/>
                </a:lnTo>
                <a:lnTo>
                  <a:pt x="5677" y="10553"/>
                </a:lnTo>
                <a:lnTo>
                  <a:pt x="5665" y="10529"/>
                </a:lnTo>
                <a:lnTo>
                  <a:pt x="5649" y="10500"/>
                </a:lnTo>
                <a:lnTo>
                  <a:pt x="5630" y="10468"/>
                </a:lnTo>
                <a:lnTo>
                  <a:pt x="5610" y="10434"/>
                </a:lnTo>
                <a:lnTo>
                  <a:pt x="5587" y="10400"/>
                </a:lnTo>
                <a:lnTo>
                  <a:pt x="5542" y="10331"/>
                </a:lnTo>
                <a:lnTo>
                  <a:pt x="5503" y="10272"/>
                </a:lnTo>
                <a:lnTo>
                  <a:pt x="5473" y="10230"/>
                </a:lnTo>
                <a:lnTo>
                  <a:pt x="5462" y="10217"/>
                </a:lnTo>
                <a:lnTo>
                  <a:pt x="5450" y="10210"/>
                </a:lnTo>
                <a:lnTo>
                  <a:pt x="5440" y="10203"/>
                </a:lnTo>
                <a:lnTo>
                  <a:pt x="5431" y="10195"/>
                </a:lnTo>
                <a:lnTo>
                  <a:pt x="5424" y="10187"/>
                </a:lnTo>
                <a:lnTo>
                  <a:pt x="5418" y="10180"/>
                </a:lnTo>
                <a:lnTo>
                  <a:pt x="5413" y="10172"/>
                </a:lnTo>
                <a:lnTo>
                  <a:pt x="5409" y="10163"/>
                </a:lnTo>
                <a:lnTo>
                  <a:pt x="5406" y="10155"/>
                </a:lnTo>
                <a:lnTo>
                  <a:pt x="5405" y="10147"/>
                </a:lnTo>
                <a:lnTo>
                  <a:pt x="5404" y="10137"/>
                </a:lnTo>
                <a:lnTo>
                  <a:pt x="5405" y="10128"/>
                </a:lnTo>
                <a:lnTo>
                  <a:pt x="5406" y="10119"/>
                </a:lnTo>
                <a:lnTo>
                  <a:pt x="5408" y="10110"/>
                </a:lnTo>
                <a:lnTo>
                  <a:pt x="5410" y="10101"/>
                </a:lnTo>
                <a:lnTo>
                  <a:pt x="5413" y="10092"/>
                </a:lnTo>
                <a:lnTo>
                  <a:pt x="5417" y="10082"/>
                </a:lnTo>
                <a:lnTo>
                  <a:pt x="5435" y="10042"/>
                </a:lnTo>
                <a:lnTo>
                  <a:pt x="5455" y="10000"/>
                </a:lnTo>
                <a:lnTo>
                  <a:pt x="5465" y="9978"/>
                </a:lnTo>
                <a:lnTo>
                  <a:pt x="5473" y="9956"/>
                </a:lnTo>
                <a:lnTo>
                  <a:pt x="5476" y="9945"/>
                </a:lnTo>
                <a:lnTo>
                  <a:pt x="5479" y="9934"/>
                </a:lnTo>
                <a:lnTo>
                  <a:pt x="5483" y="9922"/>
                </a:lnTo>
                <a:lnTo>
                  <a:pt x="5484" y="9911"/>
                </a:lnTo>
                <a:lnTo>
                  <a:pt x="5473" y="9906"/>
                </a:lnTo>
                <a:lnTo>
                  <a:pt x="5464" y="9900"/>
                </a:lnTo>
                <a:lnTo>
                  <a:pt x="5456" y="9893"/>
                </a:lnTo>
                <a:lnTo>
                  <a:pt x="5450" y="9883"/>
                </a:lnTo>
                <a:lnTo>
                  <a:pt x="5444" y="9873"/>
                </a:lnTo>
                <a:lnTo>
                  <a:pt x="5440" y="9862"/>
                </a:lnTo>
                <a:lnTo>
                  <a:pt x="5437" y="9850"/>
                </a:lnTo>
                <a:lnTo>
                  <a:pt x="5435" y="9837"/>
                </a:lnTo>
                <a:lnTo>
                  <a:pt x="5434" y="9824"/>
                </a:lnTo>
                <a:lnTo>
                  <a:pt x="5433" y="9809"/>
                </a:lnTo>
                <a:lnTo>
                  <a:pt x="5434" y="9795"/>
                </a:lnTo>
                <a:lnTo>
                  <a:pt x="5435" y="9779"/>
                </a:lnTo>
                <a:lnTo>
                  <a:pt x="5437" y="9763"/>
                </a:lnTo>
                <a:lnTo>
                  <a:pt x="5439" y="9747"/>
                </a:lnTo>
                <a:lnTo>
                  <a:pt x="5443" y="9731"/>
                </a:lnTo>
                <a:lnTo>
                  <a:pt x="5446" y="9715"/>
                </a:lnTo>
                <a:lnTo>
                  <a:pt x="5455" y="9684"/>
                </a:lnTo>
                <a:lnTo>
                  <a:pt x="5466" y="9654"/>
                </a:lnTo>
                <a:lnTo>
                  <a:pt x="5477" y="9625"/>
                </a:lnTo>
                <a:lnTo>
                  <a:pt x="5490" y="9601"/>
                </a:lnTo>
                <a:lnTo>
                  <a:pt x="5497" y="9590"/>
                </a:lnTo>
                <a:lnTo>
                  <a:pt x="5503" y="9580"/>
                </a:lnTo>
                <a:lnTo>
                  <a:pt x="5509" y="9572"/>
                </a:lnTo>
                <a:lnTo>
                  <a:pt x="5515" y="9564"/>
                </a:lnTo>
                <a:lnTo>
                  <a:pt x="5521" y="9558"/>
                </a:lnTo>
                <a:lnTo>
                  <a:pt x="5526" y="9554"/>
                </a:lnTo>
                <a:lnTo>
                  <a:pt x="5532" y="9551"/>
                </a:lnTo>
                <a:lnTo>
                  <a:pt x="5537" y="9551"/>
                </a:lnTo>
                <a:lnTo>
                  <a:pt x="5539" y="9536"/>
                </a:lnTo>
                <a:lnTo>
                  <a:pt x="5544" y="9523"/>
                </a:lnTo>
                <a:lnTo>
                  <a:pt x="5549" y="9510"/>
                </a:lnTo>
                <a:lnTo>
                  <a:pt x="5556" y="9499"/>
                </a:lnTo>
                <a:lnTo>
                  <a:pt x="5565" y="9489"/>
                </a:lnTo>
                <a:lnTo>
                  <a:pt x="5575" y="9480"/>
                </a:lnTo>
                <a:lnTo>
                  <a:pt x="5587" y="9472"/>
                </a:lnTo>
                <a:lnTo>
                  <a:pt x="5600" y="9466"/>
                </a:lnTo>
                <a:lnTo>
                  <a:pt x="5603" y="9475"/>
                </a:lnTo>
                <a:lnTo>
                  <a:pt x="5606" y="9482"/>
                </a:lnTo>
                <a:lnTo>
                  <a:pt x="5610" y="9489"/>
                </a:lnTo>
                <a:lnTo>
                  <a:pt x="5614" y="9494"/>
                </a:lnTo>
                <a:lnTo>
                  <a:pt x="5619" y="9497"/>
                </a:lnTo>
                <a:lnTo>
                  <a:pt x="5623" y="9500"/>
                </a:lnTo>
                <a:lnTo>
                  <a:pt x="5628" y="9501"/>
                </a:lnTo>
                <a:lnTo>
                  <a:pt x="5633" y="9502"/>
                </a:lnTo>
                <a:lnTo>
                  <a:pt x="5639" y="9501"/>
                </a:lnTo>
                <a:lnTo>
                  <a:pt x="5644" y="9500"/>
                </a:lnTo>
                <a:lnTo>
                  <a:pt x="5649" y="9498"/>
                </a:lnTo>
                <a:lnTo>
                  <a:pt x="5654" y="9495"/>
                </a:lnTo>
                <a:lnTo>
                  <a:pt x="5659" y="9492"/>
                </a:lnTo>
                <a:lnTo>
                  <a:pt x="5664" y="9488"/>
                </a:lnTo>
                <a:lnTo>
                  <a:pt x="5668" y="9484"/>
                </a:lnTo>
                <a:lnTo>
                  <a:pt x="5673" y="9479"/>
                </a:lnTo>
                <a:lnTo>
                  <a:pt x="5680" y="9468"/>
                </a:lnTo>
                <a:lnTo>
                  <a:pt x="5686" y="9457"/>
                </a:lnTo>
                <a:lnTo>
                  <a:pt x="5687" y="9452"/>
                </a:lnTo>
                <a:lnTo>
                  <a:pt x="5689" y="9447"/>
                </a:lnTo>
                <a:lnTo>
                  <a:pt x="5689" y="9441"/>
                </a:lnTo>
                <a:lnTo>
                  <a:pt x="5689" y="9436"/>
                </a:lnTo>
                <a:lnTo>
                  <a:pt x="5688" y="9431"/>
                </a:lnTo>
                <a:lnTo>
                  <a:pt x="5686" y="9427"/>
                </a:lnTo>
                <a:lnTo>
                  <a:pt x="5683" y="9423"/>
                </a:lnTo>
                <a:lnTo>
                  <a:pt x="5679" y="9420"/>
                </a:lnTo>
                <a:lnTo>
                  <a:pt x="5675" y="9417"/>
                </a:lnTo>
                <a:lnTo>
                  <a:pt x="5669" y="9415"/>
                </a:lnTo>
                <a:lnTo>
                  <a:pt x="5661" y="9414"/>
                </a:lnTo>
                <a:lnTo>
                  <a:pt x="5653" y="9413"/>
                </a:lnTo>
                <a:lnTo>
                  <a:pt x="5653" y="9383"/>
                </a:lnTo>
                <a:lnTo>
                  <a:pt x="5652" y="9348"/>
                </a:lnTo>
                <a:lnTo>
                  <a:pt x="5651" y="9311"/>
                </a:lnTo>
                <a:lnTo>
                  <a:pt x="5650" y="9273"/>
                </a:lnTo>
                <a:lnTo>
                  <a:pt x="5650" y="9236"/>
                </a:lnTo>
                <a:lnTo>
                  <a:pt x="5650" y="9203"/>
                </a:lnTo>
                <a:lnTo>
                  <a:pt x="5651" y="9177"/>
                </a:lnTo>
                <a:lnTo>
                  <a:pt x="5653" y="9159"/>
                </a:lnTo>
                <a:lnTo>
                  <a:pt x="5652" y="9138"/>
                </a:lnTo>
                <a:lnTo>
                  <a:pt x="5649" y="9114"/>
                </a:lnTo>
                <a:lnTo>
                  <a:pt x="5644" y="9091"/>
                </a:lnTo>
                <a:lnTo>
                  <a:pt x="5637" y="9067"/>
                </a:lnTo>
                <a:lnTo>
                  <a:pt x="5629" y="9044"/>
                </a:lnTo>
                <a:lnTo>
                  <a:pt x="5619" y="9023"/>
                </a:lnTo>
                <a:lnTo>
                  <a:pt x="5614" y="9013"/>
                </a:lnTo>
                <a:lnTo>
                  <a:pt x="5609" y="9003"/>
                </a:lnTo>
                <a:lnTo>
                  <a:pt x="5602" y="8994"/>
                </a:lnTo>
                <a:lnTo>
                  <a:pt x="5596" y="8987"/>
                </a:lnTo>
                <a:lnTo>
                  <a:pt x="5590" y="8980"/>
                </a:lnTo>
                <a:lnTo>
                  <a:pt x="5583" y="8975"/>
                </a:lnTo>
                <a:lnTo>
                  <a:pt x="5576" y="8970"/>
                </a:lnTo>
                <a:lnTo>
                  <a:pt x="5570" y="8967"/>
                </a:lnTo>
                <a:lnTo>
                  <a:pt x="5563" y="8965"/>
                </a:lnTo>
                <a:lnTo>
                  <a:pt x="5556" y="8965"/>
                </a:lnTo>
                <a:lnTo>
                  <a:pt x="5549" y="8966"/>
                </a:lnTo>
                <a:lnTo>
                  <a:pt x="5542" y="8969"/>
                </a:lnTo>
                <a:lnTo>
                  <a:pt x="5534" y="8974"/>
                </a:lnTo>
                <a:lnTo>
                  <a:pt x="5527" y="8980"/>
                </a:lnTo>
                <a:lnTo>
                  <a:pt x="5520" y="8988"/>
                </a:lnTo>
                <a:lnTo>
                  <a:pt x="5513" y="8999"/>
                </a:lnTo>
                <a:lnTo>
                  <a:pt x="5506" y="9012"/>
                </a:lnTo>
                <a:lnTo>
                  <a:pt x="5498" y="9027"/>
                </a:lnTo>
                <a:lnTo>
                  <a:pt x="5491" y="9044"/>
                </a:lnTo>
                <a:lnTo>
                  <a:pt x="5484" y="9064"/>
                </a:lnTo>
                <a:lnTo>
                  <a:pt x="5467" y="9057"/>
                </a:lnTo>
                <a:lnTo>
                  <a:pt x="5449" y="9051"/>
                </a:lnTo>
                <a:lnTo>
                  <a:pt x="5428" y="9045"/>
                </a:lnTo>
                <a:lnTo>
                  <a:pt x="5407" y="9040"/>
                </a:lnTo>
                <a:lnTo>
                  <a:pt x="5360" y="9030"/>
                </a:lnTo>
                <a:lnTo>
                  <a:pt x="5312" y="9017"/>
                </a:lnTo>
                <a:lnTo>
                  <a:pt x="5289" y="9010"/>
                </a:lnTo>
                <a:lnTo>
                  <a:pt x="5268" y="9000"/>
                </a:lnTo>
                <a:lnTo>
                  <a:pt x="5258" y="8995"/>
                </a:lnTo>
                <a:lnTo>
                  <a:pt x="5248" y="8989"/>
                </a:lnTo>
                <a:lnTo>
                  <a:pt x="5239" y="8984"/>
                </a:lnTo>
                <a:lnTo>
                  <a:pt x="5230" y="8977"/>
                </a:lnTo>
                <a:lnTo>
                  <a:pt x="5221" y="8970"/>
                </a:lnTo>
                <a:lnTo>
                  <a:pt x="5214" y="8963"/>
                </a:lnTo>
                <a:lnTo>
                  <a:pt x="5207" y="8955"/>
                </a:lnTo>
                <a:lnTo>
                  <a:pt x="5201" y="8946"/>
                </a:lnTo>
                <a:lnTo>
                  <a:pt x="5196" y="8937"/>
                </a:lnTo>
                <a:lnTo>
                  <a:pt x="5192" y="8927"/>
                </a:lnTo>
                <a:lnTo>
                  <a:pt x="5189" y="8917"/>
                </a:lnTo>
                <a:lnTo>
                  <a:pt x="5187" y="8905"/>
                </a:lnTo>
                <a:lnTo>
                  <a:pt x="5188" y="8899"/>
                </a:lnTo>
                <a:lnTo>
                  <a:pt x="5188" y="8893"/>
                </a:lnTo>
                <a:lnTo>
                  <a:pt x="5187" y="8886"/>
                </a:lnTo>
                <a:lnTo>
                  <a:pt x="5186" y="8878"/>
                </a:lnTo>
                <a:lnTo>
                  <a:pt x="5181" y="8864"/>
                </a:lnTo>
                <a:lnTo>
                  <a:pt x="5174" y="8849"/>
                </a:lnTo>
                <a:lnTo>
                  <a:pt x="5165" y="8833"/>
                </a:lnTo>
                <a:lnTo>
                  <a:pt x="5154" y="8817"/>
                </a:lnTo>
                <a:lnTo>
                  <a:pt x="5143" y="8800"/>
                </a:lnTo>
                <a:lnTo>
                  <a:pt x="5130" y="8784"/>
                </a:lnTo>
                <a:lnTo>
                  <a:pt x="5116" y="8769"/>
                </a:lnTo>
                <a:lnTo>
                  <a:pt x="5101" y="8753"/>
                </a:lnTo>
                <a:lnTo>
                  <a:pt x="5087" y="8739"/>
                </a:lnTo>
                <a:lnTo>
                  <a:pt x="5074" y="8727"/>
                </a:lnTo>
                <a:lnTo>
                  <a:pt x="5061" y="8715"/>
                </a:lnTo>
                <a:lnTo>
                  <a:pt x="5049" y="8706"/>
                </a:lnTo>
                <a:lnTo>
                  <a:pt x="5038" y="8698"/>
                </a:lnTo>
                <a:lnTo>
                  <a:pt x="5029" y="8693"/>
                </a:lnTo>
                <a:lnTo>
                  <a:pt x="5032" y="8683"/>
                </a:lnTo>
                <a:lnTo>
                  <a:pt x="5033" y="8672"/>
                </a:lnTo>
                <a:lnTo>
                  <a:pt x="5033" y="8662"/>
                </a:lnTo>
                <a:lnTo>
                  <a:pt x="5031" y="8651"/>
                </a:lnTo>
                <a:lnTo>
                  <a:pt x="5028" y="8641"/>
                </a:lnTo>
                <a:lnTo>
                  <a:pt x="5024" y="8629"/>
                </a:lnTo>
                <a:lnTo>
                  <a:pt x="5018" y="8618"/>
                </a:lnTo>
                <a:lnTo>
                  <a:pt x="5011" y="8607"/>
                </a:lnTo>
                <a:lnTo>
                  <a:pt x="5004" y="8597"/>
                </a:lnTo>
                <a:lnTo>
                  <a:pt x="4995" y="8586"/>
                </a:lnTo>
                <a:lnTo>
                  <a:pt x="4985" y="8575"/>
                </a:lnTo>
                <a:lnTo>
                  <a:pt x="4974" y="8565"/>
                </a:lnTo>
                <a:lnTo>
                  <a:pt x="4962" y="8555"/>
                </a:lnTo>
                <a:lnTo>
                  <a:pt x="4951" y="8545"/>
                </a:lnTo>
                <a:lnTo>
                  <a:pt x="4938" y="8535"/>
                </a:lnTo>
                <a:lnTo>
                  <a:pt x="4925" y="8526"/>
                </a:lnTo>
                <a:lnTo>
                  <a:pt x="4898" y="8508"/>
                </a:lnTo>
                <a:lnTo>
                  <a:pt x="4871" y="8490"/>
                </a:lnTo>
                <a:lnTo>
                  <a:pt x="4842" y="8476"/>
                </a:lnTo>
                <a:lnTo>
                  <a:pt x="4814" y="8463"/>
                </a:lnTo>
                <a:lnTo>
                  <a:pt x="4788" y="8453"/>
                </a:lnTo>
                <a:lnTo>
                  <a:pt x="4763" y="8446"/>
                </a:lnTo>
                <a:lnTo>
                  <a:pt x="4752" y="8443"/>
                </a:lnTo>
                <a:lnTo>
                  <a:pt x="4741" y="8441"/>
                </a:lnTo>
                <a:lnTo>
                  <a:pt x="4731" y="8440"/>
                </a:lnTo>
                <a:lnTo>
                  <a:pt x="4721" y="8439"/>
                </a:lnTo>
                <a:lnTo>
                  <a:pt x="4721" y="8435"/>
                </a:lnTo>
                <a:lnTo>
                  <a:pt x="4719" y="8432"/>
                </a:lnTo>
                <a:lnTo>
                  <a:pt x="4717" y="8429"/>
                </a:lnTo>
                <a:lnTo>
                  <a:pt x="4713" y="8427"/>
                </a:lnTo>
                <a:lnTo>
                  <a:pt x="4705" y="8423"/>
                </a:lnTo>
                <a:lnTo>
                  <a:pt x="4695" y="8420"/>
                </a:lnTo>
                <a:lnTo>
                  <a:pt x="4685" y="8417"/>
                </a:lnTo>
                <a:lnTo>
                  <a:pt x="4674" y="8413"/>
                </a:lnTo>
                <a:lnTo>
                  <a:pt x="4670" y="8410"/>
                </a:lnTo>
                <a:lnTo>
                  <a:pt x="4665" y="8406"/>
                </a:lnTo>
                <a:lnTo>
                  <a:pt x="4661" y="8402"/>
                </a:lnTo>
                <a:lnTo>
                  <a:pt x="4658" y="8397"/>
                </a:lnTo>
                <a:lnTo>
                  <a:pt x="4650" y="8397"/>
                </a:lnTo>
                <a:lnTo>
                  <a:pt x="4642" y="8396"/>
                </a:lnTo>
                <a:lnTo>
                  <a:pt x="4634" y="8394"/>
                </a:lnTo>
                <a:lnTo>
                  <a:pt x="4626" y="8392"/>
                </a:lnTo>
                <a:lnTo>
                  <a:pt x="4619" y="8389"/>
                </a:lnTo>
                <a:lnTo>
                  <a:pt x="4612" y="8386"/>
                </a:lnTo>
                <a:lnTo>
                  <a:pt x="4606" y="8382"/>
                </a:lnTo>
                <a:lnTo>
                  <a:pt x="4598" y="8376"/>
                </a:lnTo>
                <a:lnTo>
                  <a:pt x="4586" y="8367"/>
                </a:lnTo>
                <a:lnTo>
                  <a:pt x="4574" y="8356"/>
                </a:lnTo>
                <a:lnTo>
                  <a:pt x="4563" y="8345"/>
                </a:lnTo>
                <a:lnTo>
                  <a:pt x="4552" y="8333"/>
                </a:lnTo>
                <a:lnTo>
                  <a:pt x="4540" y="8321"/>
                </a:lnTo>
                <a:lnTo>
                  <a:pt x="4528" y="8310"/>
                </a:lnTo>
                <a:lnTo>
                  <a:pt x="4516" y="8299"/>
                </a:lnTo>
                <a:lnTo>
                  <a:pt x="4503" y="8290"/>
                </a:lnTo>
                <a:lnTo>
                  <a:pt x="4496" y="8286"/>
                </a:lnTo>
                <a:lnTo>
                  <a:pt x="4488" y="8282"/>
                </a:lnTo>
                <a:lnTo>
                  <a:pt x="4481" y="8278"/>
                </a:lnTo>
                <a:lnTo>
                  <a:pt x="4472" y="8276"/>
                </a:lnTo>
                <a:lnTo>
                  <a:pt x="4463" y="8273"/>
                </a:lnTo>
                <a:lnTo>
                  <a:pt x="4455" y="8272"/>
                </a:lnTo>
                <a:lnTo>
                  <a:pt x="4445" y="8271"/>
                </a:lnTo>
                <a:lnTo>
                  <a:pt x="4436" y="8270"/>
                </a:lnTo>
                <a:lnTo>
                  <a:pt x="4413" y="8269"/>
                </a:lnTo>
                <a:lnTo>
                  <a:pt x="4390" y="8267"/>
                </a:lnTo>
                <a:lnTo>
                  <a:pt x="4367" y="8262"/>
                </a:lnTo>
                <a:lnTo>
                  <a:pt x="4343" y="8257"/>
                </a:lnTo>
                <a:lnTo>
                  <a:pt x="4298" y="8243"/>
                </a:lnTo>
                <a:lnTo>
                  <a:pt x="4253" y="8227"/>
                </a:lnTo>
                <a:lnTo>
                  <a:pt x="4207" y="8212"/>
                </a:lnTo>
                <a:lnTo>
                  <a:pt x="4163" y="8198"/>
                </a:lnTo>
                <a:lnTo>
                  <a:pt x="4141" y="8193"/>
                </a:lnTo>
                <a:lnTo>
                  <a:pt x="4119" y="8189"/>
                </a:lnTo>
                <a:lnTo>
                  <a:pt x="4098" y="8186"/>
                </a:lnTo>
                <a:lnTo>
                  <a:pt x="4076" y="8185"/>
                </a:lnTo>
                <a:lnTo>
                  <a:pt x="4072" y="8179"/>
                </a:lnTo>
                <a:lnTo>
                  <a:pt x="4067" y="8172"/>
                </a:lnTo>
                <a:lnTo>
                  <a:pt x="4062" y="8167"/>
                </a:lnTo>
                <a:lnTo>
                  <a:pt x="4056" y="8162"/>
                </a:lnTo>
                <a:lnTo>
                  <a:pt x="4049" y="8157"/>
                </a:lnTo>
                <a:lnTo>
                  <a:pt x="4042" y="8153"/>
                </a:lnTo>
                <a:lnTo>
                  <a:pt x="4034" y="8149"/>
                </a:lnTo>
                <a:lnTo>
                  <a:pt x="4026" y="8145"/>
                </a:lnTo>
                <a:lnTo>
                  <a:pt x="4009" y="8139"/>
                </a:lnTo>
                <a:lnTo>
                  <a:pt x="3990" y="8134"/>
                </a:lnTo>
                <a:lnTo>
                  <a:pt x="3971" y="8129"/>
                </a:lnTo>
                <a:lnTo>
                  <a:pt x="3950" y="8123"/>
                </a:lnTo>
                <a:lnTo>
                  <a:pt x="3930" y="8119"/>
                </a:lnTo>
                <a:lnTo>
                  <a:pt x="3910" y="8114"/>
                </a:lnTo>
                <a:lnTo>
                  <a:pt x="3892" y="8108"/>
                </a:lnTo>
                <a:lnTo>
                  <a:pt x="3874" y="8101"/>
                </a:lnTo>
                <a:lnTo>
                  <a:pt x="3866" y="8097"/>
                </a:lnTo>
                <a:lnTo>
                  <a:pt x="3858" y="8093"/>
                </a:lnTo>
                <a:lnTo>
                  <a:pt x="3850" y="8089"/>
                </a:lnTo>
                <a:lnTo>
                  <a:pt x="3844" y="8084"/>
                </a:lnTo>
                <a:lnTo>
                  <a:pt x="3837" y="8078"/>
                </a:lnTo>
                <a:lnTo>
                  <a:pt x="3831" y="8072"/>
                </a:lnTo>
                <a:lnTo>
                  <a:pt x="3826" y="8065"/>
                </a:lnTo>
                <a:lnTo>
                  <a:pt x="3822" y="8058"/>
                </a:lnTo>
                <a:lnTo>
                  <a:pt x="3814" y="8058"/>
                </a:lnTo>
                <a:lnTo>
                  <a:pt x="3805" y="8056"/>
                </a:lnTo>
                <a:lnTo>
                  <a:pt x="3798" y="8054"/>
                </a:lnTo>
                <a:lnTo>
                  <a:pt x="3790" y="8051"/>
                </a:lnTo>
                <a:lnTo>
                  <a:pt x="3783" y="8047"/>
                </a:lnTo>
                <a:lnTo>
                  <a:pt x="3776" y="8042"/>
                </a:lnTo>
                <a:lnTo>
                  <a:pt x="3770" y="8036"/>
                </a:lnTo>
                <a:lnTo>
                  <a:pt x="3763" y="8030"/>
                </a:lnTo>
                <a:lnTo>
                  <a:pt x="3758" y="8023"/>
                </a:lnTo>
                <a:lnTo>
                  <a:pt x="3752" y="8016"/>
                </a:lnTo>
                <a:lnTo>
                  <a:pt x="3747" y="8008"/>
                </a:lnTo>
                <a:lnTo>
                  <a:pt x="3741" y="7999"/>
                </a:lnTo>
                <a:lnTo>
                  <a:pt x="3732" y="7981"/>
                </a:lnTo>
                <a:lnTo>
                  <a:pt x="3724" y="7962"/>
                </a:lnTo>
                <a:lnTo>
                  <a:pt x="3716" y="7943"/>
                </a:lnTo>
                <a:lnTo>
                  <a:pt x="3709" y="7923"/>
                </a:lnTo>
                <a:lnTo>
                  <a:pt x="3704" y="7903"/>
                </a:lnTo>
                <a:lnTo>
                  <a:pt x="3700" y="7884"/>
                </a:lnTo>
                <a:lnTo>
                  <a:pt x="3696" y="7864"/>
                </a:lnTo>
                <a:lnTo>
                  <a:pt x="3694" y="7847"/>
                </a:lnTo>
                <a:lnTo>
                  <a:pt x="3692" y="7832"/>
                </a:lnTo>
                <a:lnTo>
                  <a:pt x="3691" y="7818"/>
                </a:lnTo>
                <a:lnTo>
                  <a:pt x="3690" y="7802"/>
                </a:lnTo>
                <a:lnTo>
                  <a:pt x="3687" y="7781"/>
                </a:lnTo>
                <a:lnTo>
                  <a:pt x="3683" y="7757"/>
                </a:lnTo>
                <a:lnTo>
                  <a:pt x="3678" y="7730"/>
                </a:lnTo>
                <a:lnTo>
                  <a:pt x="3671" y="7702"/>
                </a:lnTo>
                <a:lnTo>
                  <a:pt x="3663" y="7673"/>
                </a:lnTo>
                <a:lnTo>
                  <a:pt x="3654" y="7643"/>
                </a:lnTo>
                <a:lnTo>
                  <a:pt x="3643" y="7612"/>
                </a:lnTo>
                <a:lnTo>
                  <a:pt x="3632" y="7584"/>
                </a:lnTo>
                <a:lnTo>
                  <a:pt x="3619" y="7557"/>
                </a:lnTo>
                <a:lnTo>
                  <a:pt x="3612" y="7544"/>
                </a:lnTo>
                <a:lnTo>
                  <a:pt x="3605" y="7532"/>
                </a:lnTo>
                <a:lnTo>
                  <a:pt x="3597" y="7521"/>
                </a:lnTo>
                <a:lnTo>
                  <a:pt x="3588" y="7510"/>
                </a:lnTo>
                <a:lnTo>
                  <a:pt x="3580" y="7501"/>
                </a:lnTo>
                <a:lnTo>
                  <a:pt x="3572" y="7491"/>
                </a:lnTo>
                <a:lnTo>
                  <a:pt x="3563" y="7484"/>
                </a:lnTo>
                <a:lnTo>
                  <a:pt x="3554" y="7477"/>
                </a:lnTo>
                <a:lnTo>
                  <a:pt x="3545" y="7472"/>
                </a:lnTo>
                <a:lnTo>
                  <a:pt x="3535" y="7469"/>
                </a:lnTo>
                <a:lnTo>
                  <a:pt x="3526" y="7466"/>
                </a:lnTo>
                <a:lnTo>
                  <a:pt x="3515" y="7466"/>
                </a:lnTo>
                <a:lnTo>
                  <a:pt x="3515" y="7459"/>
                </a:lnTo>
                <a:lnTo>
                  <a:pt x="3514" y="7453"/>
                </a:lnTo>
                <a:lnTo>
                  <a:pt x="3512" y="7446"/>
                </a:lnTo>
                <a:lnTo>
                  <a:pt x="3509" y="7439"/>
                </a:lnTo>
                <a:lnTo>
                  <a:pt x="3501" y="7424"/>
                </a:lnTo>
                <a:lnTo>
                  <a:pt x="3491" y="7410"/>
                </a:lnTo>
                <a:lnTo>
                  <a:pt x="3479" y="7395"/>
                </a:lnTo>
                <a:lnTo>
                  <a:pt x="3466" y="7380"/>
                </a:lnTo>
                <a:lnTo>
                  <a:pt x="3450" y="7364"/>
                </a:lnTo>
                <a:lnTo>
                  <a:pt x="3434" y="7350"/>
                </a:lnTo>
                <a:lnTo>
                  <a:pt x="3418" y="7337"/>
                </a:lnTo>
                <a:lnTo>
                  <a:pt x="3402" y="7325"/>
                </a:lnTo>
                <a:lnTo>
                  <a:pt x="3386" y="7314"/>
                </a:lnTo>
                <a:lnTo>
                  <a:pt x="3371" y="7304"/>
                </a:lnTo>
                <a:lnTo>
                  <a:pt x="3357" y="7297"/>
                </a:lnTo>
                <a:lnTo>
                  <a:pt x="3345" y="7291"/>
                </a:lnTo>
                <a:lnTo>
                  <a:pt x="3333" y="7287"/>
                </a:lnTo>
                <a:lnTo>
                  <a:pt x="3324" y="7286"/>
                </a:lnTo>
                <a:lnTo>
                  <a:pt x="3322" y="7276"/>
                </a:lnTo>
                <a:lnTo>
                  <a:pt x="3315" y="7258"/>
                </a:lnTo>
                <a:lnTo>
                  <a:pt x="3304" y="7233"/>
                </a:lnTo>
                <a:lnTo>
                  <a:pt x="3291" y="7207"/>
                </a:lnTo>
                <a:lnTo>
                  <a:pt x="3277" y="7181"/>
                </a:lnTo>
                <a:lnTo>
                  <a:pt x="3263" y="7159"/>
                </a:lnTo>
                <a:lnTo>
                  <a:pt x="3257" y="7150"/>
                </a:lnTo>
                <a:lnTo>
                  <a:pt x="3250" y="7144"/>
                </a:lnTo>
                <a:lnTo>
                  <a:pt x="3248" y="7141"/>
                </a:lnTo>
                <a:lnTo>
                  <a:pt x="3245" y="7139"/>
                </a:lnTo>
                <a:lnTo>
                  <a:pt x="3242" y="7138"/>
                </a:lnTo>
                <a:lnTo>
                  <a:pt x="3240" y="7138"/>
                </a:lnTo>
                <a:lnTo>
                  <a:pt x="3240" y="7133"/>
                </a:lnTo>
                <a:lnTo>
                  <a:pt x="3238" y="7128"/>
                </a:lnTo>
                <a:lnTo>
                  <a:pt x="3236" y="7121"/>
                </a:lnTo>
                <a:lnTo>
                  <a:pt x="3233" y="7113"/>
                </a:lnTo>
                <a:lnTo>
                  <a:pt x="3225" y="7098"/>
                </a:lnTo>
                <a:lnTo>
                  <a:pt x="3215" y="7080"/>
                </a:lnTo>
                <a:lnTo>
                  <a:pt x="3201" y="7061"/>
                </a:lnTo>
                <a:lnTo>
                  <a:pt x="3187" y="7043"/>
                </a:lnTo>
                <a:lnTo>
                  <a:pt x="3172" y="7024"/>
                </a:lnTo>
                <a:lnTo>
                  <a:pt x="3156" y="7006"/>
                </a:lnTo>
                <a:lnTo>
                  <a:pt x="3140" y="6989"/>
                </a:lnTo>
                <a:lnTo>
                  <a:pt x="3124" y="6975"/>
                </a:lnTo>
                <a:lnTo>
                  <a:pt x="3116" y="6969"/>
                </a:lnTo>
                <a:lnTo>
                  <a:pt x="3109" y="6964"/>
                </a:lnTo>
                <a:lnTo>
                  <a:pt x="3101" y="6959"/>
                </a:lnTo>
                <a:lnTo>
                  <a:pt x="3094" y="6956"/>
                </a:lnTo>
                <a:lnTo>
                  <a:pt x="3086" y="6954"/>
                </a:lnTo>
                <a:lnTo>
                  <a:pt x="3080" y="6953"/>
                </a:lnTo>
                <a:lnTo>
                  <a:pt x="3074" y="6953"/>
                </a:lnTo>
                <a:lnTo>
                  <a:pt x="3069" y="6955"/>
                </a:lnTo>
                <a:lnTo>
                  <a:pt x="3064" y="6957"/>
                </a:lnTo>
                <a:lnTo>
                  <a:pt x="3060" y="6962"/>
                </a:lnTo>
                <a:lnTo>
                  <a:pt x="3056" y="6968"/>
                </a:lnTo>
                <a:lnTo>
                  <a:pt x="3053" y="6975"/>
                </a:lnTo>
                <a:lnTo>
                  <a:pt x="3052" y="6981"/>
                </a:lnTo>
                <a:lnTo>
                  <a:pt x="3052" y="6986"/>
                </a:lnTo>
                <a:lnTo>
                  <a:pt x="3052" y="6992"/>
                </a:lnTo>
                <a:lnTo>
                  <a:pt x="3054" y="6999"/>
                </a:lnTo>
                <a:lnTo>
                  <a:pt x="3058" y="7011"/>
                </a:lnTo>
                <a:lnTo>
                  <a:pt x="3065" y="7023"/>
                </a:lnTo>
                <a:lnTo>
                  <a:pt x="3074" y="7035"/>
                </a:lnTo>
                <a:lnTo>
                  <a:pt x="3085" y="7048"/>
                </a:lnTo>
                <a:lnTo>
                  <a:pt x="3097" y="7061"/>
                </a:lnTo>
                <a:lnTo>
                  <a:pt x="3109" y="7074"/>
                </a:lnTo>
                <a:lnTo>
                  <a:pt x="3121" y="7087"/>
                </a:lnTo>
                <a:lnTo>
                  <a:pt x="3133" y="7101"/>
                </a:lnTo>
                <a:lnTo>
                  <a:pt x="3145" y="7114"/>
                </a:lnTo>
                <a:lnTo>
                  <a:pt x="3155" y="7128"/>
                </a:lnTo>
                <a:lnTo>
                  <a:pt x="3164" y="7141"/>
                </a:lnTo>
                <a:lnTo>
                  <a:pt x="3170" y="7154"/>
                </a:lnTo>
                <a:lnTo>
                  <a:pt x="3173" y="7161"/>
                </a:lnTo>
                <a:lnTo>
                  <a:pt x="3175" y="7167"/>
                </a:lnTo>
                <a:lnTo>
                  <a:pt x="3176" y="7174"/>
                </a:lnTo>
                <a:lnTo>
                  <a:pt x="3176" y="7180"/>
                </a:lnTo>
                <a:lnTo>
                  <a:pt x="3179" y="7181"/>
                </a:lnTo>
                <a:lnTo>
                  <a:pt x="3182" y="7182"/>
                </a:lnTo>
                <a:lnTo>
                  <a:pt x="3186" y="7185"/>
                </a:lnTo>
                <a:lnTo>
                  <a:pt x="3189" y="7189"/>
                </a:lnTo>
                <a:lnTo>
                  <a:pt x="3198" y="7199"/>
                </a:lnTo>
                <a:lnTo>
                  <a:pt x="3208" y="7213"/>
                </a:lnTo>
                <a:lnTo>
                  <a:pt x="3232" y="7248"/>
                </a:lnTo>
                <a:lnTo>
                  <a:pt x="3257" y="7288"/>
                </a:lnTo>
                <a:lnTo>
                  <a:pt x="3281" y="7331"/>
                </a:lnTo>
                <a:lnTo>
                  <a:pt x="3303" y="7370"/>
                </a:lnTo>
                <a:lnTo>
                  <a:pt x="3321" y="7403"/>
                </a:lnTo>
                <a:lnTo>
                  <a:pt x="3333" y="7424"/>
                </a:lnTo>
                <a:lnTo>
                  <a:pt x="3354" y="7460"/>
                </a:lnTo>
                <a:lnTo>
                  <a:pt x="3371" y="7492"/>
                </a:lnTo>
                <a:lnTo>
                  <a:pt x="3384" y="7521"/>
                </a:lnTo>
                <a:lnTo>
                  <a:pt x="3394" y="7545"/>
                </a:lnTo>
                <a:lnTo>
                  <a:pt x="3401" y="7567"/>
                </a:lnTo>
                <a:lnTo>
                  <a:pt x="3406" y="7585"/>
                </a:lnTo>
                <a:lnTo>
                  <a:pt x="3407" y="7600"/>
                </a:lnTo>
                <a:lnTo>
                  <a:pt x="3406" y="7611"/>
                </a:lnTo>
                <a:lnTo>
                  <a:pt x="3403" y="7621"/>
                </a:lnTo>
                <a:lnTo>
                  <a:pt x="3398" y="7628"/>
                </a:lnTo>
                <a:lnTo>
                  <a:pt x="3391" y="7632"/>
                </a:lnTo>
                <a:lnTo>
                  <a:pt x="3382" y="7634"/>
                </a:lnTo>
                <a:lnTo>
                  <a:pt x="3372" y="7633"/>
                </a:lnTo>
                <a:lnTo>
                  <a:pt x="3360" y="7630"/>
                </a:lnTo>
                <a:lnTo>
                  <a:pt x="3348" y="7625"/>
                </a:lnTo>
                <a:lnTo>
                  <a:pt x="3333" y="7618"/>
                </a:lnTo>
                <a:lnTo>
                  <a:pt x="3319" y="7610"/>
                </a:lnTo>
                <a:lnTo>
                  <a:pt x="3305" y="7600"/>
                </a:lnTo>
                <a:lnTo>
                  <a:pt x="3290" y="7589"/>
                </a:lnTo>
                <a:lnTo>
                  <a:pt x="3275" y="7576"/>
                </a:lnTo>
                <a:lnTo>
                  <a:pt x="3260" y="7563"/>
                </a:lnTo>
                <a:lnTo>
                  <a:pt x="3245" y="7548"/>
                </a:lnTo>
                <a:lnTo>
                  <a:pt x="3231" y="7533"/>
                </a:lnTo>
                <a:lnTo>
                  <a:pt x="3217" y="7517"/>
                </a:lnTo>
                <a:lnTo>
                  <a:pt x="3203" y="7501"/>
                </a:lnTo>
                <a:lnTo>
                  <a:pt x="3192" y="7483"/>
                </a:lnTo>
                <a:lnTo>
                  <a:pt x="3181" y="7466"/>
                </a:lnTo>
                <a:lnTo>
                  <a:pt x="3173" y="7448"/>
                </a:lnTo>
                <a:lnTo>
                  <a:pt x="3165" y="7431"/>
                </a:lnTo>
                <a:lnTo>
                  <a:pt x="3160" y="7414"/>
                </a:lnTo>
                <a:lnTo>
                  <a:pt x="3156" y="7398"/>
                </a:lnTo>
                <a:lnTo>
                  <a:pt x="3155" y="7381"/>
                </a:lnTo>
                <a:lnTo>
                  <a:pt x="3150" y="7378"/>
                </a:lnTo>
                <a:lnTo>
                  <a:pt x="3145" y="7374"/>
                </a:lnTo>
                <a:lnTo>
                  <a:pt x="3140" y="7369"/>
                </a:lnTo>
                <a:lnTo>
                  <a:pt x="3134" y="7363"/>
                </a:lnTo>
                <a:lnTo>
                  <a:pt x="3123" y="7349"/>
                </a:lnTo>
                <a:lnTo>
                  <a:pt x="3112" y="7333"/>
                </a:lnTo>
                <a:lnTo>
                  <a:pt x="3100" y="7314"/>
                </a:lnTo>
                <a:lnTo>
                  <a:pt x="3089" y="7294"/>
                </a:lnTo>
                <a:lnTo>
                  <a:pt x="3077" y="7272"/>
                </a:lnTo>
                <a:lnTo>
                  <a:pt x="3066" y="7249"/>
                </a:lnTo>
                <a:lnTo>
                  <a:pt x="3056" y="7226"/>
                </a:lnTo>
                <a:lnTo>
                  <a:pt x="3047" y="7203"/>
                </a:lnTo>
                <a:lnTo>
                  <a:pt x="3039" y="7181"/>
                </a:lnTo>
                <a:lnTo>
                  <a:pt x="3032" y="7160"/>
                </a:lnTo>
                <a:lnTo>
                  <a:pt x="3026" y="7140"/>
                </a:lnTo>
                <a:lnTo>
                  <a:pt x="3021" y="7123"/>
                </a:lnTo>
                <a:lnTo>
                  <a:pt x="3019" y="7107"/>
                </a:lnTo>
                <a:lnTo>
                  <a:pt x="3018" y="7095"/>
                </a:lnTo>
                <a:lnTo>
                  <a:pt x="3011" y="7088"/>
                </a:lnTo>
                <a:lnTo>
                  <a:pt x="3004" y="7078"/>
                </a:lnTo>
                <a:lnTo>
                  <a:pt x="2995" y="7065"/>
                </a:lnTo>
                <a:lnTo>
                  <a:pt x="2986" y="7050"/>
                </a:lnTo>
                <a:lnTo>
                  <a:pt x="2966" y="7014"/>
                </a:lnTo>
                <a:lnTo>
                  <a:pt x="2945" y="6974"/>
                </a:lnTo>
                <a:lnTo>
                  <a:pt x="2926" y="6937"/>
                </a:lnTo>
                <a:lnTo>
                  <a:pt x="2912" y="6905"/>
                </a:lnTo>
                <a:lnTo>
                  <a:pt x="2907" y="6892"/>
                </a:lnTo>
                <a:lnTo>
                  <a:pt x="2903" y="6882"/>
                </a:lnTo>
                <a:lnTo>
                  <a:pt x="2901" y="6876"/>
                </a:lnTo>
                <a:lnTo>
                  <a:pt x="2901" y="6874"/>
                </a:lnTo>
                <a:lnTo>
                  <a:pt x="2901" y="6849"/>
                </a:lnTo>
                <a:lnTo>
                  <a:pt x="2898" y="6828"/>
                </a:lnTo>
                <a:lnTo>
                  <a:pt x="2894" y="6808"/>
                </a:lnTo>
                <a:lnTo>
                  <a:pt x="2888" y="6789"/>
                </a:lnTo>
                <a:lnTo>
                  <a:pt x="2885" y="6780"/>
                </a:lnTo>
                <a:lnTo>
                  <a:pt x="2881" y="6772"/>
                </a:lnTo>
                <a:lnTo>
                  <a:pt x="2877" y="6764"/>
                </a:lnTo>
                <a:lnTo>
                  <a:pt x="2872" y="6756"/>
                </a:lnTo>
                <a:lnTo>
                  <a:pt x="2867" y="6749"/>
                </a:lnTo>
                <a:lnTo>
                  <a:pt x="2861" y="6742"/>
                </a:lnTo>
                <a:lnTo>
                  <a:pt x="2855" y="6735"/>
                </a:lnTo>
                <a:lnTo>
                  <a:pt x="2849" y="6729"/>
                </a:lnTo>
                <a:lnTo>
                  <a:pt x="2842" y="6723"/>
                </a:lnTo>
                <a:lnTo>
                  <a:pt x="2834" y="6718"/>
                </a:lnTo>
                <a:lnTo>
                  <a:pt x="2826" y="6713"/>
                </a:lnTo>
                <a:lnTo>
                  <a:pt x="2818" y="6708"/>
                </a:lnTo>
                <a:lnTo>
                  <a:pt x="2801" y="6700"/>
                </a:lnTo>
                <a:lnTo>
                  <a:pt x="2782" y="6694"/>
                </a:lnTo>
                <a:lnTo>
                  <a:pt x="2762" y="6689"/>
                </a:lnTo>
                <a:lnTo>
                  <a:pt x="2740" y="6685"/>
                </a:lnTo>
                <a:lnTo>
                  <a:pt x="2716" y="6683"/>
                </a:lnTo>
                <a:lnTo>
                  <a:pt x="2689" y="6682"/>
                </a:lnTo>
                <a:lnTo>
                  <a:pt x="2682" y="6671"/>
                </a:lnTo>
                <a:lnTo>
                  <a:pt x="2667" y="6649"/>
                </a:lnTo>
                <a:lnTo>
                  <a:pt x="2647" y="6620"/>
                </a:lnTo>
                <a:lnTo>
                  <a:pt x="2625" y="6587"/>
                </a:lnTo>
                <a:lnTo>
                  <a:pt x="2602" y="6556"/>
                </a:lnTo>
                <a:lnTo>
                  <a:pt x="2582" y="6529"/>
                </a:lnTo>
                <a:lnTo>
                  <a:pt x="2568" y="6510"/>
                </a:lnTo>
                <a:lnTo>
                  <a:pt x="2562" y="6503"/>
                </a:lnTo>
                <a:lnTo>
                  <a:pt x="2561" y="6492"/>
                </a:lnTo>
                <a:lnTo>
                  <a:pt x="2558" y="6478"/>
                </a:lnTo>
                <a:lnTo>
                  <a:pt x="2553" y="6462"/>
                </a:lnTo>
                <a:lnTo>
                  <a:pt x="2547" y="6446"/>
                </a:lnTo>
                <a:lnTo>
                  <a:pt x="2539" y="6428"/>
                </a:lnTo>
                <a:lnTo>
                  <a:pt x="2529" y="6409"/>
                </a:lnTo>
                <a:lnTo>
                  <a:pt x="2519" y="6390"/>
                </a:lnTo>
                <a:lnTo>
                  <a:pt x="2508" y="6371"/>
                </a:lnTo>
                <a:lnTo>
                  <a:pt x="2497" y="6352"/>
                </a:lnTo>
                <a:lnTo>
                  <a:pt x="2485" y="6333"/>
                </a:lnTo>
                <a:lnTo>
                  <a:pt x="2473" y="6316"/>
                </a:lnTo>
                <a:lnTo>
                  <a:pt x="2460" y="6301"/>
                </a:lnTo>
                <a:lnTo>
                  <a:pt x="2447" y="6287"/>
                </a:lnTo>
                <a:lnTo>
                  <a:pt x="2436" y="6275"/>
                </a:lnTo>
                <a:lnTo>
                  <a:pt x="2425" y="6266"/>
                </a:lnTo>
                <a:lnTo>
                  <a:pt x="2414" y="6259"/>
                </a:lnTo>
                <a:lnTo>
                  <a:pt x="2414" y="6239"/>
                </a:lnTo>
                <a:lnTo>
                  <a:pt x="2412" y="6216"/>
                </a:lnTo>
                <a:lnTo>
                  <a:pt x="2409" y="6195"/>
                </a:lnTo>
                <a:lnTo>
                  <a:pt x="2406" y="6173"/>
                </a:lnTo>
                <a:lnTo>
                  <a:pt x="2398" y="6128"/>
                </a:lnTo>
                <a:lnTo>
                  <a:pt x="2389" y="6081"/>
                </a:lnTo>
                <a:lnTo>
                  <a:pt x="2385" y="6058"/>
                </a:lnTo>
                <a:lnTo>
                  <a:pt x="2382" y="6035"/>
                </a:lnTo>
                <a:lnTo>
                  <a:pt x="2379" y="6012"/>
                </a:lnTo>
                <a:lnTo>
                  <a:pt x="2377" y="5989"/>
                </a:lnTo>
                <a:lnTo>
                  <a:pt x="2377" y="5965"/>
                </a:lnTo>
                <a:lnTo>
                  <a:pt x="2377" y="5943"/>
                </a:lnTo>
                <a:lnTo>
                  <a:pt x="2379" y="5921"/>
                </a:lnTo>
                <a:lnTo>
                  <a:pt x="2383" y="5899"/>
                </a:lnTo>
                <a:lnTo>
                  <a:pt x="2383" y="5862"/>
                </a:lnTo>
                <a:lnTo>
                  <a:pt x="2383" y="5822"/>
                </a:lnTo>
                <a:lnTo>
                  <a:pt x="2382" y="5783"/>
                </a:lnTo>
                <a:lnTo>
                  <a:pt x="2380" y="5744"/>
                </a:lnTo>
                <a:lnTo>
                  <a:pt x="2377" y="5703"/>
                </a:lnTo>
                <a:lnTo>
                  <a:pt x="2373" y="5663"/>
                </a:lnTo>
                <a:lnTo>
                  <a:pt x="2367" y="5623"/>
                </a:lnTo>
                <a:lnTo>
                  <a:pt x="2359" y="5582"/>
                </a:lnTo>
                <a:lnTo>
                  <a:pt x="2354" y="5563"/>
                </a:lnTo>
                <a:lnTo>
                  <a:pt x="2349" y="5543"/>
                </a:lnTo>
                <a:lnTo>
                  <a:pt x="2343" y="5524"/>
                </a:lnTo>
                <a:lnTo>
                  <a:pt x="2337" y="5505"/>
                </a:lnTo>
                <a:lnTo>
                  <a:pt x="2329" y="5486"/>
                </a:lnTo>
                <a:lnTo>
                  <a:pt x="2321" y="5467"/>
                </a:lnTo>
                <a:lnTo>
                  <a:pt x="2313" y="5449"/>
                </a:lnTo>
                <a:lnTo>
                  <a:pt x="2303" y="5431"/>
                </a:lnTo>
                <a:lnTo>
                  <a:pt x="2293" y="5413"/>
                </a:lnTo>
                <a:lnTo>
                  <a:pt x="2283" y="5396"/>
                </a:lnTo>
                <a:lnTo>
                  <a:pt x="2271" y="5379"/>
                </a:lnTo>
                <a:lnTo>
                  <a:pt x="2258" y="5363"/>
                </a:lnTo>
                <a:lnTo>
                  <a:pt x="2245" y="5346"/>
                </a:lnTo>
                <a:lnTo>
                  <a:pt x="2231" y="5331"/>
                </a:lnTo>
                <a:lnTo>
                  <a:pt x="2215" y="5316"/>
                </a:lnTo>
                <a:lnTo>
                  <a:pt x="2198" y="5302"/>
                </a:lnTo>
                <a:lnTo>
                  <a:pt x="2232" y="5232"/>
                </a:lnTo>
                <a:lnTo>
                  <a:pt x="2267" y="5162"/>
                </a:lnTo>
                <a:lnTo>
                  <a:pt x="2302" y="5092"/>
                </a:lnTo>
                <a:lnTo>
                  <a:pt x="2339" y="5024"/>
                </a:lnTo>
                <a:lnTo>
                  <a:pt x="2375" y="4955"/>
                </a:lnTo>
                <a:lnTo>
                  <a:pt x="2413" y="4888"/>
                </a:lnTo>
                <a:lnTo>
                  <a:pt x="2451" y="4820"/>
                </a:lnTo>
                <a:lnTo>
                  <a:pt x="2491" y="4754"/>
                </a:lnTo>
                <a:lnTo>
                  <a:pt x="2530" y="4688"/>
                </a:lnTo>
                <a:lnTo>
                  <a:pt x="2571" y="4622"/>
                </a:lnTo>
                <a:lnTo>
                  <a:pt x="2613" y="4557"/>
                </a:lnTo>
                <a:lnTo>
                  <a:pt x="2655" y="4492"/>
                </a:lnTo>
                <a:lnTo>
                  <a:pt x="2698" y="4428"/>
                </a:lnTo>
                <a:lnTo>
                  <a:pt x="2742" y="4365"/>
                </a:lnTo>
                <a:lnTo>
                  <a:pt x="2786" y="4301"/>
                </a:lnTo>
                <a:lnTo>
                  <a:pt x="2831" y="4239"/>
                </a:lnTo>
                <a:lnTo>
                  <a:pt x="2878" y="4177"/>
                </a:lnTo>
                <a:lnTo>
                  <a:pt x="2924" y="4116"/>
                </a:lnTo>
                <a:lnTo>
                  <a:pt x="2972" y="4055"/>
                </a:lnTo>
                <a:lnTo>
                  <a:pt x="3020" y="3995"/>
                </a:lnTo>
                <a:lnTo>
                  <a:pt x="3069" y="3935"/>
                </a:lnTo>
                <a:lnTo>
                  <a:pt x="3119" y="3876"/>
                </a:lnTo>
                <a:lnTo>
                  <a:pt x="3169" y="3817"/>
                </a:lnTo>
                <a:lnTo>
                  <a:pt x="3220" y="3760"/>
                </a:lnTo>
                <a:lnTo>
                  <a:pt x="3271" y="3702"/>
                </a:lnTo>
                <a:lnTo>
                  <a:pt x="3323" y="3646"/>
                </a:lnTo>
                <a:lnTo>
                  <a:pt x="3376" y="3589"/>
                </a:lnTo>
                <a:lnTo>
                  <a:pt x="3429" y="3534"/>
                </a:lnTo>
                <a:lnTo>
                  <a:pt x="3484" y="3480"/>
                </a:lnTo>
                <a:lnTo>
                  <a:pt x="3539" y="3425"/>
                </a:lnTo>
                <a:lnTo>
                  <a:pt x="3594" y="3372"/>
                </a:lnTo>
                <a:lnTo>
                  <a:pt x="3650" y="3319"/>
                </a:lnTo>
                <a:close/>
                <a:moveTo>
                  <a:pt x="6848" y="5635"/>
                </a:moveTo>
                <a:lnTo>
                  <a:pt x="6848" y="5645"/>
                </a:lnTo>
                <a:lnTo>
                  <a:pt x="6847" y="5654"/>
                </a:lnTo>
                <a:lnTo>
                  <a:pt x="6846" y="5662"/>
                </a:lnTo>
                <a:lnTo>
                  <a:pt x="6844" y="5669"/>
                </a:lnTo>
                <a:lnTo>
                  <a:pt x="6841" y="5676"/>
                </a:lnTo>
                <a:lnTo>
                  <a:pt x="6837" y="5682"/>
                </a:lnTo>
                <a:lnTo>
                  <a:pt x="6833" y="5687"/>
                </a:lnTo>
                <a:lnTo>
                  <a:pt x="6828" y="5691"/>
                </a:lnTo>
                <a:lnTo>
                  <a:pt x="6823" y="5695"/>
                </a:lnTo>
                <a:lnTo>
                  <a:pt x="6817" y="5698"/>
                </a:lnTo>
                <a:lnTo>
                  <a:pt x="6810" y="5701"/>
                </a:lnTo>
                <a:lnTo>
                  <a:pt x="6802" y="5703"/>
                </a:lnTo>
                <a:lnTo>
                  <a:pt x="6785" y="5707"/>
                </a:lnTo>
                <a:lnTo>
                  <a:pt x="6765" y="5709"/>
                </a:lnTo>
                <a:lnTo>
                  <a:pt x="6767" y="5700"/>
                </a:lnTo>
                <a:lnTo>
                  <a:pt x="6770" y="5692"/>
                </a:lnTo>
                <a:lnTo>
                  <a:pt x="6773" y="5685"/>
                </a:lnTo>
                <a:lnTo>
                  <a:pt x="6776" y="5680"/>
                </a:lnTo>
                <a:lnTo>
                  <a:pt x="6779" y="5675"/>
                </a:lnTo>
                <a:lnTo>
                  <a:pt x="6783" y="5671"/>
                </a:lnTo>
                <a:lnTo>
                  <a:pt x="6787" y="5667"/>
                </a:lnTo>
                <a:lnTo>
                  <a:pt x="6791" y="5664"/>
                </a:lnTo>
                <a:lnTo>
                  <a:pt x="6815" y="5653"/>
                </a:lnTo>
                <a:lnTo>
                  <a:pt x="6848" y="5635"/>
                </a:lnTo>
                <a:close/>
                <a:moveTo>
                  <a:pt x="6511" y="8090"/>
                </a:moveTo>
                <a:lnTo>
                  <a:pt x="6485" y="8093"/>
                </a:lnTo>
                <a:lnTo>
                  <a:pt x="6464" y="8097"/>
                </a:lnTo>
                <a:lnTo>
                  <a:pt x="6460" y="8097"/>
                </a:lnTo>
                <a:lnTo>
                  <a:pt x="6456" y="8095"/>
                </a:lnTo>
                <a:lnTo>
                  <a:pt x="6454" y="8093"/>
                </a:lnTo>
                <a:lnTo>
                  <a:pt x="6452" y="8089"/>
                </a:lnTo>
                <a:lnTo>
                  <a:pt x="6451" y="8084"/>
                </a:lnTo>
                <a:lnTo>
                  <a:pt x="6452" y="8077"/>
                </a:lnTo>
                <a:lnTo>
                  <a:pt x="6454" y="8069"/>
                </a:lnTo>
                <a:lnTo>
                  <a:pt x="6457" y="8058"/>
                </a:lnTo>
                <a:lnTo>
                  <a:pt x="6466" y="8059"/>
                </a:lnTo>
                <a:lnTo>
                  <a:pt x="6475" y="8060"/>
                </a:lnTo>
                <a:lnTo>
                  <a:pt x="6484" y="8062"/>
                </a:lnTo>
                <a:lnTo>
                  <a:pt x="6493" y="8066"/>
                </a:lnTo>
                <a:lnTo>
                  <a:pt x="6500" y="8070"/>
                </a:lnTo>
                <a:lnTo>
                  <a:pt x="6506" y="8075"/>
                </a:lnTo>
                <a:lnTo>
                  <a:pt x="6508" y="8079"/>
                </a:lnTo>
                <a:lnTo>
                  <a:pt x="6510" y="8082"/>
                </a:lnTo>
                <a:lnTo>
                  <a:pt x="6510" y="8086"/>
                </a:lnTo>
                <a:lnTo>
                  <a:pt x="6511" y="8090"/>
                </a:lnTo>
                <a:close/>
                <a:moveTo>
                  <a:pt x="6055" y="8080"/>
                </a:moveTo>
                <a:lnTo>
                  <a:pt x="6053" y="8083"/>
                </a:lnTo>
                <a:lnTo>
                  <a:pt x="6051" y="8085"/>
                </a:lnTo>
                <a:lnTo>
                  <a:pt x="6047" y="8088"/>
                </a:lnTo>
                <a:lnTo>
                  <a:pt x="6043" y="8090"/>
                </a:lnTo>
                <a:lnTo>
                  <a:pt x="6034" y="8094"/>
                </a:lnTo>
                <a:lnTo>
                  <a:pt x="6023" y="8097"/>
                </a:lnTo>
                <a:lnTo>
                  <a:pt x="6010" y="8100"/>
                </a:lnTo>
                <a:lnTo>
                  <a:pt x="5996" y="8101"/>
                </a:lnTo>
                <a:lnTo>
                  <a:pt x="5981" y="8101"/>
                </a:lnTo>
                <a:lnTo>
                  <a:pt x="5966" y="8101"/>
                </a:lnTo>
                <a:lnTo>
                  <a:pt x="5951" y="8100"/>
                </a:lnTo>
                <a:lnTo>
                  <a:pt x="5936" y="8098"/>
                </a:lnTo>
                <a:lnTo>
                  <a:pt x="5922" y="8095"/>
                </a:lnTo>
                <a:lnTo>
                  <a:pt x="5909" y="8091"/>
                </a:lnTo>
                <a:lnTo>
                  <a:pt x="5898" y="8087"/>
                </a:lnTo>
                <a:lnTo>
                  <a:pt x="5888" y="8082"/>
                </a:lnTo>
                <a:lnTo>
                  <a:pt x="5884" y="8079"/>
                </a:lnTo>
                <a:lnTo>
                  <a:pt x="5881" y="8075"/>
                </a:lnTo>
                <a:lnTo>
                  <a:pt x="5878" y="8072"/>
                </a:lnTo>
                <a:lnTo>
                  <a:pt x="5876" y="8069"/>
                </a:lnTo>
                <a:lnTo>
                  <a:pt x="5895" y="8069"/>
                </a:lnTo>
                <a:lnTo>
                  <a:pt x="5913" y="8072"/>
                </a:lnTo>
                <a:lnTo>
                  <a:pt x="5931" y="8074"/>
                </a:lnTo>
                <a:lnTo>
                  <a:pt x="5949" y="8077"/>
                </a:lnTo>
                <a:lnTo>
                  <a:pt x="5966" y="8078"/>
                </a:lnTo>
                <a:lnTo>
                  <a:pt x="5984" y="8078"/>
                </a:lnTo>
                <a:lnTo>
                  <a:pt x="5994" y="8077"/>
                </a:lnTo>
                <a:lnTo>
                  <a:pt x="6004" y="8075"/>
                </a:lnTo>
                <a:lnTo>
                  <a:pt x="6014" y="8072"/>
                </a:lnTo>
                <a:lnTo>
                  <a:pt x="6024" y="8069"/>
                </a:lnTo>
                <a:lnTo>
                  <a:pt x="6022" y="8058"/>
                </a:lnTo>
                <a:lnTo>
                  <a:pt x="6019" y="8048"/>
                </a:lnTo>
                <a:lnTo>
                  <a:pt x="6015" y="8038"/>
                </a:lnTo>
                <a:lnTo>
                  <a:pt x="6009" y="8028"/>
                </a:lnTo>
                <a:lnTo>
                  <a:pt x="5996" y="8007"/>
                </a:lnTo>
                <a:lnTo>
                  <a:pt x="5981" y="7984"/>
                </a:lnTo>
                <a:lnTo>
                  <a:pt x="5992" y="7984"/>
                </a:lnTo>
                <a:lnTo>
                  <a:pt x="6003" y="7986"/>
                </a:lnTo>
                <a:lnTo>
                  <a:pt x="6015" y="7988"/>
                </a:lnTo>
                <a:lnTo>
                  <a:pt x="6026" y="7991"/>
                </a:lnTo>
                <a:lnTo>
                  <a:pt x="6049" y="7998"/>
                </a:lnTo>
                <a:lnTo>
                  <a:pt x="6074" y="8006"/>
                </a:lnTo>
                <a:lnTo>
                  <a:pt x="6099" y="8014"/>
                </a:lnTo>
                <a:lnTo>
                  <a:pt x="6126" y="8021"/>
                </a:lnTo>
                <a:lnTo>
                  <a:pt x="6140" y="8024"/>
                </a:lnTo>
                <a:lnTo>
                  <a:pt x="6153" y="8026"/>
                </a:lnTo>
                <a:lnTo>
                  <a:pt x="6168" y="8027"/>
                </a:lnTo>
                <a:lnTo>
                  <a:pt x="6182" y="8027"/>
                </a:lnTo>
                <a:lnTo>
                  <a:pt x="6182" y="8019"/>
                </a:lnTo>
                <a:lnTo>
                  <a:pt x="6181" y="8013"/>
                </a:lnTo>
                <a:lnTo>
                  <a:pt x="6180" y="8009"/>
                </a:lnTo>
                <a:lnTo>
                  <a:pt x="6179" y="8007"/>
                </a:lnTo>
                <a:lnTo>
                  <a:pt x="6176" y="8006"/>
                </a:lnTo>
                <a:lnTo>
                  <a:pt x="6174" y="8006"/>
                </a:lnTo>
                <a:lnTo>
                  <a:pt x="6173" y="8006"/>
                </a:lnTo>
                <a:lnTo>
                  <a:pt x="6173" y="8005"/>
                </a:lnTo>
                <a:lnTo>
                  <a:pt x="6173" y="8002"/>
                </a:lnTo>
                <a:lnTo>
                  <a:pt x="6176" y="7992"/>
                </a:lnTo>
                <a:lnTo>
                  <a:pt x="6182" y="7973"/>
                </a:lnTo>
                <a:lnTo>
                  <a:pt x="6189" y="7976"/>
                </a:lnTo>
                <a:lnTo>
                  <a:pt x="6196" y="7979"/>
                </a:lnTo>
                <a:lnTo>
                  <a:pt x="6205" y="7984"/>
                </a:lnTo>
                <a:lnTo>
                  <a:pt x="6213" y="7990"/>
                </a:lnTo>
                <a:lnTo>
                  <a:pt x="6232" y="8006"/>
                </a:lnTo>
                <a:lnTo>
                  <a:pt x="6252" y="8023"/>
                </a:lnTo>
                <a:lnTo>
                  <a:pt x="6269" y="8041"/>
                </a:lnTo>
                <a:lnTo>
                  <a:pt x="6284" y="8059"/>
                </a:lnTo>
                <a:lnTo>
                  <a:pt x="6289" y="8068"/>
                </a:lnTo>
                <a:lnTo>
                  <a:pt x="6294" y="8076"/>
                </a:lnTo>
                <a:lnTo>
                  <a:pt x="6297" y="8083"/>
                </a:lnTo>
                <a:lnTo>
                  <a:pt x="6299" y="8090"/>
                </a:lnTo>
                <a:lnTo>
                  <a:pt x="6260" y="8086"/>
                </a:lnTo>
                <a:lnTo>
                  <a:pt x="6228" y="8083"/>
                </a:lnTo>
                <a:lnTo>
                  <a:pt x="6203" y="8081"/>
                </a:lnTo>
                <a:lnTo>
                  <a:pt x="6179" y="8080"/>
                </a:lnTo>
                <a:lnTo>
                  <a:pt x="6155" y="8080"/>
                </a:lnTo>
                <a:lnTo>
                  <a:pt x="6129" y="8079"/>
                </a:lnTo>
                <a:lnTo>
                  <a:pt x="6096" y="8080"/>
                </a:lnTo>
                <a:lnTo>
                  <a:pt x="6055" y="8080"/>
                </a:lnTo>
                <a:close/>
                <a:moveTo>
                  <a:pt x="6140" y="8577"/>
                </a:moveTo>
                <a:lnTo>
                  <a:pt x="6137" y="8586"/>
                </a:lnTo>
                <a:lnTo>
                  <a:pt x="6135" y="8594"/>
                </a:lnTo>
                <a:lnTo>
                  <a:pt x="6132" y="8600"/>
                </a:lnTo>
                <a:lnTo>
                  <a:pt x="6129" y="8603"/>
                </a:lnTo>
                <a:lnTo>
                  <a:pt x="6125" y="8606"/>
                </a:lnTo>
                <a:lnTo>
                  <a:pt x="6118" y="8607"/>
                </a:lnTo>
                <a:lnTo>
                  <a:pt x="6109" y="8608"/>
                </a:lnTo>
                <a:lnTo>
                  <a:pt x="6097" y="8608"/>
                </a:lnTo>
                <a:lnTo>
                  <a:pt x="6100" y="8598"/>
                </a:lnTo>
                <a:lnTo>
                  <a:pt x="6102" y="8587"/>
                </a:lnTo>
                <a:lnTo>
                  <a:pt x="6105" y="8577"/>
                </a:lnTo>
                <a:lnTo>
                  <a:pt x="6107" y="8566"/>
                </a:lnTo>
                <a:lnTo>
                  <a:pt x="6116" y="8569"/>
                </a:lnTo>
                <a:lnTo>
                  <a:pt x="6124" y="8571"/>
                </a:lnTo>
                <a:lnTo>
                  <a:pt x="6132" y="8574"/>
                </a:lnTo>
                <a:lnTo>
                  <a:pt x="6140" y="8577"/>
                </a:lnTo>
                <a:close/>
                <a:moveTo>
                  <a:pt x="5589" y="7826"/>
                </a:moveTo>
                <a:lnTo>
                  <a:pt x="5579" y="7825"/>
                </a:lnTo>
                <a:lnTo>
                  <a:pt x="5567" y="7823"/>
                </a:lnTo>
                <a:lnTo>
                  <a:pt x="5555" y="7821"/>
                </a:lnTo>
                <a:lnTo>
                  <a:pt x="5542" y="7817"/>
                </a:lnTo>
                <a:lnTo>
                  <a:pt x="5528" y="7813"/>
                </a:lnTo>
                <a:lnTo>
                  <a:pt x="5514" y="7808"/>
                </a:lnTo>
                <a:lnTo>
                  <a:pt x="5500" y="7802"/>
                </a:lnTo>
                <a:lnTo>
                  <a:pt x="5487" y="7796"/>
                </a:lnTo>
                <a:lnTo>
                  <a:pt x="5472" y="7789"/>
                </a:lnTo>
                <a:lnTo>
                  <a:pt x="5459" y="7782"/>
                </a:lnTo>
                <a:lnTo>
                  <a:pt x="5446" y="7774"/>
                </a:lnTo>
                <a:lnTo>
                  <a:pt x="5435" y="7766"/>
                </a:lnTo>
                <a:lnTo>
                  <a:pt x="5424" y="7757"/>
                </a:lnTo>
                <a:lnTo>
                  <a:pt x="5414" y="7748"/>
                </a:lnTo>
                <a:lnTo>
                  <a:pt x="5406" y="7739"/>
                </a:lnTo>
                <a:lnTo>
                  <a:pt x="5399" y="7730"/>
                </a:lnTo>
                <a:lnTo>
                  <a:pt x="5438" y="7734"/>
                </a:lnTo>
                <a:lnTo>
                  <a:pt x="5475" y="7736"/>
                </a:lnTo>
                <a:lnTo>
                  <a:pt x="5484" y="7735"/>
                </a:lnTo>
                <a:lnTo>
                  <a:pt x="5493" y="7733"/>
                </a:lnTo>
                <a:lnTo>
                  <a:pt x="5501" y="7731"/>
                </a:lnTo>
                <a:lnTo>
                  <a:pt x="5509" y="7727"/>
                </a:lnTo>
                <a:lnTo>
                  <a:pt x="5516" y="7722"/>
                </a:lnTo>
                <a:lnTo>
                  <a:pt x="5524" y="7716"/>
                </a:lnTo>
                <a:lnTo>
                  <a:pt x="5530" y="7708"/>
                </a:lnTo>
                <a:lnTo>
                  <a:pt x="5537" y="7698"/>
                </a:lnTo>
                <a:lnTo>
                  <a:pt x="5549" y="7700"/>
                </a:lnTo>
                <a:lnTo>
                  <a:pt x="5560" y="7702"/>
                </a:lnTo>
                <a:lnTo>
                  <a:pt x="5571" y="7704"/>
                </a:lnTo>
                <a:lnTo>
                  <a:pt x="5581" y="7707"/>
                </a:lnTo>
                <a:lnTo>
                  <a:pt x="5600" y="7713"/>
                </a:lnTo>
                <a:lnTo>
                  <a:pt x="5618" y="7720"/>
                </a:lnTo>
                <a:lnTo>
                  <a:pt x="5633" y="7729"/>
                </a:lnTo>
                <a:lnTo>
                  <a:pt x="5648" y="7738"/>
                </a:lnTo>
                <a:lnTo>
                  <a:pt x="5661" y="7747"/>
                </a:lnTo>
                <a:lnTo>
                  <a:pt x="5673" y="7757"/>
                </a:lnTo>
                <a:lnTo>
                  <a:pt x="5686" y="7766"/>
                </a:lnTo>
                <a:lnTo>
                  <a:pt x="5698" y="7775"/>
                </a:lnTo>
                <a:lnTo>
                  <a:pt x="5711" y="7783"/>
                </a:lnTo>
                <a:lnTo>
                  <a:pt x="5724" y="7790"/>
                </a:lnTo>
                <a:lnTo>
                  <a:pt x="5739" y="7796"/>
                </a:lnTo>
                <a:lnTo>
                  <a:pt x="5754" y="7801"/>
                </a:lnTo>
                <a:lnTo>
                  <a:pt x="5763" y="7802"/>
                </a:lnTo>
                <a:lnTo>
                  <a:pt x="5772" y="7804"/>
                </a:lnTo>
                <a:lnTo>
                  <a:pt x="5781" y="7804"/>
                </a:lnTo>
                <a:lnTo>
                  <a:pt x="5791" y="7805"/>
                </a:lnTo>
                <a:lnTo>
                  <a:pt x="5795" y="7812"/>
                </a:lnTo>
                <a:lnTo>
                  <a:pt x="5802" y="7820"/>
                </a:lnTo>
                <a:lnTo>
                  <a:pt x="5810" y="7829"/>
                </a:lnTo>
                <a:lnTo>
                  <a:pt x="5818" y="7838"/>
                </a:lnTo>
                <a:lnTo>
                  <a:pt x="5836" y="7858"/>
                </a:lnTo>
                <a:lnTo>
                  <a:pt x="5852" y="7879"/>
                </a:lnTo>
                <a:lnTo>
                  <a:pt x="5857" y="7888"/>
                </a:lnTo>
                <a:lnTo>
                  <a:pt x="5862" y="7898"/>
                </a:lnTo>
                <a:lnTo>
                  <a:pt x="5863" y="7902"/>
                </a:lnTo>
                <a:lnTo>
                  <a:pt x="5863" y="7906"/>
                </a:lnTo>
                <a:lnTo>
                  <a:pt x="5863" y="7910"/>
                </a:lnTo>
                <a:lnTo>
                  <a:pt x="5861" y="7914"/>
                </a:lnTo>
                <a:lnTo>
                  <a:pt x="5858" y="7917"/>
                </a:lnTo>
                <a:lnTo>
                  <a:pt x="5855" y="7921"/>
                </a:lnTo>
                <a:lnTo>
                  <a:pt x="5851" y="7924"/>
                </a:lnTo>
                <a:lnTo>
                  <a:pt x="5846" y="7926"/>
                </a:lnTo>
                <a:lnTo>
                  <a:pt x="5840" y="7929"/>
                </a:lnTo>
                <a:lnTo>
                  <a:pt x="5833" y="7930"/>
                </a:lnTo>
                <a:lnTo>
                  <a:pt x="5824" y="7932"/>
                </a:lnTo>
                <a:lnTo>
                  <a:pt x="5815" y="7933"/>
                </a:lnTo>
                <a:lnTo>
                  <a:pt x="5799" y="7934"/>
                </a:lnTo>
                <a:lnTo>
                  <a:pt x="5783" y="7934"/>
                </a:lnTo>
                <a:lnTo>
                  <a:pt x="5766" y="7932"/>
                </a:lnTo>
                <a:lnTo>
                  <a:pt x="5750" y="7930"/>
                </a:lnTo>
                <a:lnTo>
                  <a:pt x="5732" y="7926"/>
                </a:lnTo>
                <a:lnTo>
                  <a:pt x="5716" y="7921"/>
                </a:lnTo>
                <a:lnTo>
                  <a:pt x="5699" y="7916"/>
                </a:lnTo>
                <a:lnTo>
                  <a:pt x="5684" y="7909"/>
                </a:lnTo>
                <a:lnTo>
                  <a:pt x="5669" y="7901"/>
                </a:lnTo>
                <a:lnTo>
                  <a:pt x="5654" y="7893"/>
                </a:lnTo>
                <a:lnTo>
                  <a:pt x="5641" y="7884"/>
                </a:lnTo>
                <a:lnTo>
                  <a:pt x="5628" y="7873"/>
                </a:lnTo>
                <a:lnTo>
                  <a:pt x="5617" y="7862"/>
                </a:lnTo>
                <a:lnTo>
                  <a:pt x="5605" y="7850"/>
                </a:lnTo>
                <a:lnTo>
                  <a:pt x="5597" y="7838"/>
                </a:lnTo>
                <a:lnTo>
                  <a:pt x="5589" y="7826"/>
                </a:lnTo>
                <a:close/>
                <a:moveTo>
                  <a:pt x="5749" y="8111"/>
                </a:moveTo>
                <a:lnTo>
                  <a:pt x="5732" y="8114"/>
                </a:lnTo>
                <a:lnTo>
                  <a:pt x="5716" y="8116"/>
                </a:lnTo>
                <a:lnTo>
                  <a:pt x="5700" y="8119"/>
                </a:lnTo>
                <a:lnTo>
                  <a:pt x="5685" y="8121"/>
                </a:lnTo>
                <a:lnTo>
                  <a:pt x="5686" y="8112"/>
                </a:lnTo>
                <a:lnTo>
                  <a:pt x="5689" y="8103"/>
                </a:lnTo>
                <a:lnTo>
                  <a:pt x="5692" y="8094"/>
                </a:lnTo>
                <a:lnTo>
                  <a:pt x="5695" y="8086"/>
                </a:lnTo>
                <a:lnTo>
                  <a:pt x="5700" y="8079"/>
                </a:lnTo>
                <a:lnTo>
                  <a:pt x="5704" y="8072"/>
                </a:lnTo>
                <a:lnTo>
                  <a:pt x="5709" y="8067"/>
                </a:lnTo>
                <a:lnTo>
                  <a:pt x="5714" y="8063"/>
                </a:lnTo>
                <a:lnTo>
                  <a:pt x="5719" y="8061"/>
                </a:lnTo>
                <a:lnTo>
                  <a:pt x="5724" y="8061"/>
                </a:lnTo>
                <a:lnTo>
                  <a:pt x="5727" y="8062"/>
                </a:lnTo>
                <a:lnTo>
                  <a:pt x="5729" y="8063"/>
                </a:lnTo>
                <a:lnTo>
                  <a:pt x="5732" y="8065"/>
                </a:lnTo>
                <a:lnTo>
                  <a:pt x="5735" y="8067"/>
                </a:lnTo>
                <a:lnTo>
                  <a:pt x="5739" y="8074"/>
                </a:lnTo>
                <a:lnTo>
                  <a:pt x="5743" y="8083"/>
                </a:lnTo>
                <a:lnTo>
                  <a:pt x="5746" y="8095"/>
                </a:lnTo>
                <a:lnTo>
                  <a:pt x="5749" y="8111"/>
                </a:lnTo>
                <a:close/>
                <a:moveTo>
                  <a:pt x="5674" y="8121"/>
                </a:moveTo>
                <a:lnTo>
                  <a:pt x="5659" y="8122"/>
                </a:lnTo>
                <a:lnTo>
                  <a:pt x="5642" y="8123"/>
                </a:lnTo>
                <a:lnTo>
                  <a:pt x="5634" y="8123"/>
                </a:lnTo>
                <a:lnTo>
                  <a:pt x="5626" y="8122"/>
                </a:lnTo>
                <a:lnTo>
                  <a:pt x="5619" y="8122"/>
                </a:lnTo>
                <a:lnTo>
                  <a:pt x="5612" y="8120"/>
                </a:lnTo>
                <a:lnTo>
                  <a:pt x="5605" y="8117"/>
                </a:lnTo>
                <a:lnTo>
                  <a:pt x="5600" y="8113"/>
                </a:lnTo>
                <a:lnTo>
                  <a:pt x="5596" y="8108"/>
                </a:lnTo>
                <a:lnTo>
                  <a:pt x="5593" y="8102"/>
                </a:lnTo>
                <a:lnTo>
                  <a:pt x="5592" y="8094"/>
                </a:lnTo>
                <a:lnTo>
                  <a:pt x="5593" y="8084"/>
                </a:lnTo>
                <a:lnTo>
                  <a:pt x="5595" y="8072"/>
                </a:lnTo>
                <a:lnTo>
                  <a:pt x="5600" y="8058"/>
                </a:lnTo>
                <a:lnTo>
                  <a:pt x="5619" y="8061"/>
                </a:lnTo>
                <a:lnTo>
                  <a:pt x="5634" y="8066"/>
                </a:lnTo>
                <a:lnTo>
                  <a:pt x="5641" y="8069"/>
                </a:lnTo>
                <a:lnTo>
                  <a:pt x="5647" y="8072"/>
                </a:lnTo>
                <a:lnTo>
                  <a:pt x="5653" y="8075"/>
                </a:lnTo>
                <a:lnTo>
                  <a:pt x="5658" y="8079"/>
                </a:lnTo>
                <a:lnTo>
                  <a:pt x="5662" y="8083"/>
                </a:lnTo>
                <a:lnTo>
                  <a:pt x="5666" y="8088"/>
                </a:lnTo>
                <a:lnTo>
                  <a:pt x="5669" y="8093"/>
                </a:lnTo>
                <a:lnTo>
                  <a:pt x="5671" y="8098"/>
                </a:lnTo>
                <a:lnTo>
                  <a:pt x="5673" y="8103"/>
                </a:lnTo>
                <a:lnTo>
                  <a:pt x="5674" y="8109"/>
                </a:lnTo>
                <a:lnTo>
                  <a:pt x="5675" y="8115"/>
                </a:lnTo>
                <a:lnTo>
                  <a:pt x="5674" y="8121"/>
                </a:lnTo>
                <a:close/>
                <a:moveTo>
                  <a:pt x="5293" y="7719"/>
                </a:moveTo>
                <a:lnTo>
                  <a:pt x="5293" y="7725"/>
                </a:lnTo>
                <a:lnTo>
                  <a:pt x="5292" y="7730"/>
                </a:lnTo>
                <a:lnTo>
                  <a:pt x="5290" y="7735"/>
                </a:lnTo>
                <a:lnTo>
                  <a:pt x="5287" y="7740"/>
                </a:lnTo>
                <a:lnTo>
                  <a:pt x="5284" y="7744"/>
                </a:lnTo>
                <a:lnTo>
                  <a:pt x="5280" y="7750"/>
                </a:lnTo>
                <a:lnTo>
                  <a:pt x="5276" y="7753"/>
                </a:lnTo>
                <a:lnTo>
                  <a:pt x="5272" y="7757"/>
                </a:lnTo>
                <a:lnTo>
                  <a:pt x="5261" y="7762"/>
                </a:lnTo>
                <a:lnTo>
                  <a:pt x="5250" y="7767"/>
                </a:lnTo>
                <a:lnTo>
                  <a:pt x="5239" y="7769"/>
                </a:lnTo>
                <a:lnTo>
                  <a:pt x="5226" y="7770"/>
                </a:lnTo>
                <a:lnTo>
                  <a:pt x="5220" y="7770"/>
                </a:lnTo>
                <a:lnTo>
                  <a:pt x="5215" y="7769"/>
                </a:lnTo>
                <a:lnTo>
                  <a:pt x="5210" y="7768"/>
                </a:lnTo>
                <a:lnTo>
                  <a:pt x="5204" y="7766"/>
                </a:lnTo>
                <a:lnTo>
                  <a:pt x="5200" y="7763"/>
                </a:lnTo>
                <a:lnTo>
                  <a:pt x="5195" y="7760"/>
                </a:lnTo>
                <a:lnTo>
                  <a:pt x="5192" y="7757"/>
                </a:lnTo>
                <a:lnTo>
                  <a:pt x="5188" y="7753"/>
                </a:lnTo>
                <a:lnTo>
                  <a:pt x="5186" y="7747"/>
                </a:lnTo>
                <a:lnTo>
                  <a:pt x="5183" y="7742"/>
                </a:lnTo>
                <a:lnTo>
                  <a:pt x="5182" y="7737"/>
                </a:lnTo>
                <a:lnTo>
                  <a:pt x="5181" y="7730"/>
                </a:lnTo>
                <a:lnTo>
                  <a:pt x="5181" y="7723"/>
                </a:lnTo>
                <a:lnTo>
                  <a:pt x="5182" y="7716"/>
                </a:lnTo>
                <a:lnTo>
                  <a:pt x="5184" y="7707"/>
                </a:lnTo>
                <a:lnTo>
                  <a:pt x="5187" y="7698"/>
                </a:lnTo>
                <a:lnTo>
                  <a:pt x="5195" y="7701"/>
                </a:lnTo>
                <a:lnTo>
                  <a:pt x="5203" y="7704"/>
                </a:lnTo>
                <a:lnTo>
                  <a:pt x="5211" y="7706"/>
                </a:lnTo>
                <a:lnTo>
                  <a:pt x="5219" y="7709"/>
                </a:lnTo>
                <a:lnTo>
                  <a:pt x="5221" y="7718"/>
                </a:lnTo>
                <a:lnTo>
                  <a:pt x="5224" y="7725"/>
                </a:lnTo>
                <a:lnTo>
                  <a:pt x="5228" y="7730"/>
                </a:lnTo>
                <a:lnTo>
                  <a:pt x="5232" y="7735"/>
                </a:lnTo>
                <a:lnTo>
                  <a:pt x="5236" y="7737"/>
                </a:lnTo>
                <a:lnTo>
                  <a:pt x="5240" y="7739"/>
                </a:lnTo>
                <a:lnTo>
                  <a:pt x="5245" y="7740"/>
                </a:lnTo>
                <a:lnTo>
                  <a:pt x="5250" y="7739"/>
                </a:lnTo>
                <a:lnTo>
                  <a:pt x="5260" y="7737"/>
                </a:lnTo>
                <a:lnTo>
                  <a:pt x="5270" y="7732"/>
                </a:lnTo>
                <a:lnTo>
                  <a:pt x="5281" y="7726"/>
                </a:lnTo>
                <a:lnTo>
                  <a:pt x="5293" y="771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17" name="Group 19"/>
          <p:cNvGrpSpPr>
            <a:grpSpLocks/>
          </p:cNvGrpSpPr>
          <p:nvPr userDrawn="1"/>
        </p:nvGrpSpPr>
        <p:grpSpPr bwMode="auto">
          <a:xfrm>
            <a:off x="5059363" y="6519863"/>
            <a:ext cx="387350" cy="357187"/>
            <a:chOff x="3923928" y="3291878"/>
            <a:chExt cx="432000" cy="432000"/>
          </a:xfrm>
        </p:grpSpPr>
        <p:sp>
          <p:nvSpPr>
            <p:cNvPr id="18" name="Oval 17"/>
            <p:cNvSpPr/>
            <p:nvPr userDrawn="1"/>
          </p:nvSpPr>
          <p:spPr>
            <a:xfrm>
              <a:off x="3923928" y="3291878"/>
              <a:ext cx="432000" cy="43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0388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2000">
                <a:solidFill>
                  <a:prstClr val="white"/>
                </a:solidFill>
              </a:endParaRPr>
            </a:p>
          </p:txBody>
        </p:sp>
        <p:sp>
          <p:nvSpPr>
            <p:cNvPr id="20" name="Freeform 53"/>
            <p:cNvSpPr>
              <a:spLocks noEditPoints="1"/>
            </p:cNvSpPr>
            <p:nvPr userDrawn="1"/>
          </p:nvSpPr>
          <p:spPr bwMode="auto">
            <a:xfrm>
              <a:off x="4021304" y="3430118"/>
              <a:ext cx="247869" cy="155520"/>
            </a:xfrm>
            <a:custGeom>
              <a:avLst/>
              <a:gdLst>
                <a:gd name="T0" fmla="*/ 16113 w 16156"/>
                <a:gd name="T1" fmla="*/ 10223 h 10920"/>
                <a:gd name="T2" fmla="*/ 16133 w 16156"/>
                <a:gd name="T3" fmla="*/ 10148 h 10920"/>
                <a:gd name="T4" fmla="*/ 16147 w 16156"/>
                <a:gd name="T5" fmla="*/ 10071 h 10920"/>
                <a:gd name="T6" fmla="*/ 16155 w 16156"/>
                <a:gd name="T7" fmla="*/ 9992 h 10920"/>
                <a:gd name="T8" fmla="*/ 16156 w 16156"/>
                <a:gd name="T9" fmla="*/ 969 h 10920"/>
                <a:gd name="T10" fmla="*/ 16152 w 16156"/>
                <a:gd name="T11" fmla="*/ 893 h 10920"/>
                <a:gd name="T12" fmla="*/ 16142 w 16156"/>
                <a:gd name="T13" fmla="*/ 818 h 10920"/>
                <a:gd name="T14" fmla="*/ 16126 w 16156"/>
                <a:gd name="T15" fmla="*/ 746 h 10920"/>
                <a:gd name="T16" fmla="*/ 16106 w 16156"/>
                <a:gd name="T17" fmla="*/ 675 h 10920"/>
                <a:gd name="T18" fmla="*/ 16100 w 16156"/>
                <a:gd name="T19" fmla="*/ 10260 h 10920"/>
                <a:gd name="T20" fmla="*/ 39 w 16156"/>
                <a:gd name="T21" fmla="*/ 711 h 10920"/>
                <a:gd name="T22" fmla="*/ 21 w 16156"/>
                <a:gd name="T23" fmla="*/ 782 h 10920"/>
                <a:gd name="T24" fmla="*/ 8 w 16156"/>
                <a:gd name="T25" fmla="*/ 855 h 10920"/>
                <a:gd name="T26" fmla="*/ 1 w 16156"/>
                <a:gd name="T27" fmla="*/ 930 h 10920"/>
                <a:gd name="T28" fmla="*/ 0 w 16156"/>
                <a:gd name="T29" fmla="*/ 9951 h 10920"/>
                <a:gd name="T30" fmla="*/ 4 w 16156"/>
                <a:gd name="T31" fmla="*/ 10031 h 10920"/>
                <a:gd name="T32" fmla="*/ 15 w 16156"/>
                <a:gd name="T33" fmla="*/ 10110 h 10920"/>
                <a:gd name="T34" fmla="*/ 32 w 16156"/>
                <a:gd name="T35" fmla="*/ 10186 h 10920"/>
                <a:gd name="T36" fmla="*/ 56 w 16156"/>
                <a:gd name="T37" fmla="*/ 10260 h 10920"/>
                <a:gd name="T38" fmla="*/ 50 w 16156"/>
                <a:gd name="T39" fmla="*/ 675 h 10920"/>
                <a:gd name="T40" fmla="*/ 15222 w 16156"/>
                <a:gd name="T41" fmla="*/ 10919 h 10920"/>
                <a:gd name="T42" fmla="*/ 15289 w 16156"/>
                <a:gd name="T43" fmla="*/ 10913 h 10920"/>
                <a:gd name="T44" fmla="*/ 15354 w 16156"/>
                <a:gd name="T45" fmla="*/ 10903 h 10920"/>
                <a:gd name="T46" fmla="*/ 15418 w 16156"/>
                <a:gd name="T47" fmla="*/ 10888 h 10920"/>
                <a:gd name="T48" fmla="*/ 10133 w 16156"/>
                <a:gd name="T49" fmla="*/ 5765 h 10920"/>
                <a:gd name="T50" fmla="*/ 6026 w 16156"/>
                <a:gd name="T51" fmla="*/ 5768 h 10920"/>
                <a:gd name="T52" fmla="*/ 738 w 16156"/>
                <a:gd name="T53" fmla="*/ 10888 h 10920"/>
                <a:gd name="T54" fmla="*/ 802 w 16156"/>
                <a:gd name="T55" fmla="*/ 10903 h 10920"/>
                <a:gd name="T56" fmla="*/ 867 w 16156"/>
                <a:gd name="T57" fmla="*/ 10913 h 10920"/>
                <a:gd name="T58" fmla="*/ 934 w 16156"/>
                <a:gd name="T59" fmla="*/ 10919 h 10920"/>
                <a:gd name="T60" fmla="*/ 15189 w 16156"/>
                <a:gd name="T61" fmla="*/ 10920 h 10920"/>
                <a:gd name="T62" fmla="*/ 9465 w 16156"/>
                <a:gd name="T63" fmla="*/ 5153 h 10920"/>
                <a:gd name="T64" fmla="*/ 15460 w 16156"/>
                <a:gd name="T65" fmla="*/ 44 h 10920"/>
                <a:gd name="T66" fmla="*/ 15395 w 16156"/>
                <a:gd name="T67" fmla="*/ 26 h 10920"/>
                <a:gd name="T68" fmla="*/ 15327 w 16156"/>
                <a:gd name="T69" fmla="*/ 12 h 10920"/>
                <a:gd name="T70" fmla="*/ 15258 w 16156"/>
                <a:gd name="T71" fmla="*/ 3 h 10920"/>
                <a:gd name="T72" fmla="*/ 15189 w 16156"/>
                <a:gd name="T73" fmla="*/ 0 h 10920"/>
                <a:gd name="T74" fmla="*/ 932 w 16156"/>
                <a:gd name="T75" fmla="*/ 1 h 10920"/>
                <a:gd name="T76" fmla="*/ 862 w 16156"/>
                <a:gd name="T77" fmla="*/ 7 h 10920"/>
                <a:gd name="T78" fmla="*/ 795 w 16156"/>
                <a:gd name="T79" fmla="*/ 19 h 10920"/>
                <a:gd name="T80" fmla="*/ 728 w 16156"/>
                <a:gd name="T81" fmla="*/ 34 h 10920"/>
                <a:gd name="T82" fmla="*/ 5991 w 16156"/>
                <a:gd name="T83" fmla="*/ 4582 h 10920"/>
                <a:gd name="T84" fmla="*/ 8078 w 16156"/>
                <a:gd name="T85" fmla="*/ 6283 h 10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156" h="10920">
                  <a:moveTo>
                    <a:pt x="16100" y="10260"/>
                  </a:moveTo>
                  <a:lnTo>
                    <a:pt x="16113" y="10223"/>
                  </a:lnTo>
                  <a:lnTo>
                    <a:pt x="16124" y="10186"/>
                  </a:lnTo>
                  <a:lnTo>
                    <a:pt x="16133" y="10148"/>
                  </a:lnTo>
                  <a:lnTo>
                    <a:pt x="16141" y="10109"/>
                  </a:lnTo>
                  <a:lnTo>
                    <a:pt x="16147" y="10071"/>
                  </a:lnTo>
                  <a:lnTo>
                    <a:pt x="16152" y="10031"/>
                  </a:lnTo>
                  <a:lnTo>
                    <a:pt x="16155" y="9992"/>
                  </a:lnTo>
                  <a:lnTo>
                    <a:pt x="16156" y="9951"/>
                  </a:lnTo>
                  <a:lnTo>
                    <a:pt x="16156" y="969"/>
                  </a:lnTo>
                  <a:lnTo>
                    <a:pt x="16155" y="930"/>
                  </a:lnTo>
                  <a:lnTo>
                    <a:pt x="16152" y="893"/>
                  </a:lnTo>
                  <a:lnTo>
                    <a:pt x="16148" y="855"/>
                  </a:lnTo>
                  <a:lnTo>
                    <a:pt x="16142" y="818"/>
                  </a:lnTo>
                  <a:lnTo>
                    <a:pt x="16135" y="782"/>
                  </a:lnTo>
                  <a:lnTo>
                    <a:pt x="16126" y="746"/>
                  </a:lnTo>
                  <a:lnTo>
                    <a:pt x="16117" y="711"/>
                  </a:lnTo>
                  <a:lnTo>
                    <a:pt x="16106" y="675"/>
                  </a:lnTo>
                  <a:lnTo>
                    <a:pt x="10836" y="5193"/>
                  </a:lnTo>
                  <a:lnTo>
                    <a:pt x="16100" y="10260"/>
                  </a:lnTo>
                  <a:close/>
                  <a:moveTo>
                    <a:pt x="50" y="675"/>
                  </a:moveTo>
                  <a:lnTo>
                    <a:pt x="39" y="711"/>
                  </a:lnTo>
                  <a:lnTo>
                    <a:pt x="30" y="746"/>
                  </a:lnTo>
                  <a:lnTo>
                    <a:pt x="21" y="782"/>
                  </a:lnTo>
                  <a:lnTo>
                    <a:pt x="14" y="818"/>
                  </a:lnTo>
                  <a:lnTo>
                    <a:pt x="8" y="855"/>
                  </a:lnTo>
                  <a:lnTo>
                    <a:pt x="4" y="893"/>
                  </a:lnTo>
                  <a:lnTo>
                    <a:pt x="1" y="930"/>
                  </a:lnTo>
                  <a:lnTo>
                    <a:pt x="0" y="969"/>
                  </a:lnTo>
                  <a:lnTo>
                    <a:pt x="0" y="9951"/>
                  </a:lnTo>
                  <a:lnTo>
                    <a:pt x="1" y="9992"/>
                  </a:lnTo>
                  <a:lnTo>
                    <a:pt x="4" y="10031"/>
                  </a:lnTo>
                  <a:lnTo>
                    <a:pt x="9" y="10071"/>
                  </a:lnTo>
                  <a:lnTo>
                    <a:pt x="15" y="10110"/>
                  </a:lnTo>
                  <a:lnTo>
                    <a:pt x="23" y="10148"/>
                  </a:lnTo>
                  <a:lnTo>
                    <a:pt x="32" y="10186"/>
                  </a:lnTo>
                  <a:lnTo>
                    <a:pt x="43" y="10223"/>
                  </a:lnTo>
                  <a:lnTo>
                    <a:pt x="56" y="10260"/>
                  </a:lnTo>
                  <a:lnTo>
                    <a:pt x="5323" y="5196"/>
                  </a:lnTo>
                  <a:lnTo>
                    <a:pt x="50" y="675"/>
                  </a:lnTo>
                  <a:close/>
                  <a:moveTo>
                    <a:pt x="15189" y="10920"/>
                  </a:moveTo>
                  <a:lnTo>
                    <a:pt x="15222" y="10919"/>
                  </a:lnTo>
                  <a:lnTo>
                    <a:pt x="15256" y="10917"/>
                  </a:lnTo>
                  <a:lnTo>
                    <a:pt x="15289" y="10913"/>
                  </a:lnTo>
                  <a:lnTo>
                    <a:pt x="15322" y="10909"/>
                  </a:lnTo>
                  <a:lnTo>
                    <a:pt x="15354" y="10903"/>
                  </a:lnTo>
                  <a:lnTo>
                    <a:pt x="15387" y="10896"/>
                  </a:lnTo>
                  <a:lnTo>
                    <a:pt x="15418" y="10888"/>
                  </a:lnTo>
                  <a:lnTo>
                    <a:pt x="15449" y="10880"/>
                  </a:lnTo>
                  <a:lnTo>
                    <a:pt x="10133" y="5765"/>
                  </a:lnTo>
                  <a:lnTo>
                    <a:pt x="8078" y="7440"/>
                  </a:lnTo>
                  <a:lnTo>
                    <a:pt x="6026" y="5768"/>
                  </a:lnTo>
                  <a:lnTo>
                    <a:pt x="707" y="10880"/>
                  </a:lnTo>
                  <a:lnTo>
                    <a:pt x="738" y="10888"/>
                  </a:lnTo>
                  <a:lnTo>
                    <a:pt x="770" y="10896"/>
                  </a:lnTo>
                  <a:lnTo>
                    <a:pt x="802" y="10903"/>
                  </a:lnTo>
                  <a:lnTo>
                    <a:pt x="834" y="10909"/>
                  </a:lnTo>
                  <a:lnTo>
                    <a:pt x="867" y="10913"/>
                  </a:lnTo>
                  <a:lnTo>
                    <a:pt x="901" y="10917"/>
                  </a:lnTo>
                  <a:lnTo>
                    <a:pt x="934" y="10919"/>
                  </a:lnTo>
                  <a:lnTo>
                    <a:pt x="967" y="10920"/>
                  </a:lnTo>
                  <a:lnTo>
                    <a:pt x="15189" y="10920"/>
                  </a:lnTo>
                  <a:close/>
                  <a:moveTo>
                    <a:pt x="8078" y="6283"/>
                  </a:moveTo>
                  <a:lnTo>
                    <a:pt x="9465" y="5153"/>
                  </a:lnTo>
                  <a:lnTo>
                    <a:pt x="10168" y="4580"/>
                  </a:lnTo>
                  <a:lnTo>
                    <a:pt x="15460" y="44"/>
                  </a:lnTo>
                  <a:lnTo>
                    <a:pt x="15428" y="34"/>
                  </a:lnTo>
                  <a:lnTo>
                    <a:pt x="15395" y="26"/>
                  </a:lnTo>
                  <a:lnTo>
                    <a:pt x="15361" y="19"/>
                  </a:lnTo>
                  <a:lnTo>
                    <a:pt x="15327" y="12"/>
                  </a:lnTo>
                  <a:lnTo>
                    <a:pt x="15294" y="7"/>
                  </a:lnTo>
                  <a:lnTo>
                    <a:pt x="15258" y="3"/>
                  </a:lnTo>
                  <a:lnTo>
                    <a:pt x="15224" y="1"/>
                  </a:lnTo>
                  <a:lnTo>
                    <a:pt x="15189" y="0"/>
                  </a:lnTo>
                  <a:lnTo>
                    <a:pt x="967" y="0"/>
                  </a:lnTo>
                  <a:lnTo>
                    <a:pt x="932" y="1"/>
                  </a:lnTo>
                  <a:lnTo>
                    <a:pt x="897" y="3"/>
                  </a:lnTo>
                  <a:lnTo>
                    <a:pt x="862" y="7"/>
                  </a:lnTo>
                  <a:lnTo>
                    <a:pt x="828" y="12"/>
                  </a:lnTo>
                  <a:lnTo>
                    <a:pt x="795" y="19"/>
                  </a:lnTo>
                  <a:lnTo>
                    <a:pt x="761" y="26"/>
                  </a:lnTo>
                  <a:lnTo>
                    <a:pt x="728" y="34"/>
                  </a:lnTo>
                  <a:lnTo>
                    <a:pt x="695" y="44"/>
                  </a:lnTo>
                  <a:lnTo>
                    <a:pt x="5991" y="4582"/>
                  </a:lnTo>
                  <a:lnTo>
                    <a:pt x="6693" y="5155"/>
                  </a:lnTo>
                  <a:lnTo>
                    <a:pt x="8078" y="628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10388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2000">
                <a:solidFill>
                  <a:prstClr val="black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279525" y="1450595"/>
            <a:ext cx="9794875" cy="4297362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Trebuchet MS" panose="020B0603020202020204" pitchFamily="34" charset="0"/>
              </a:defRPr>
            </a:lvl1pPr>
            <a:lvl2pPr>
              <a:defRPr sz="2400">
                <a:latin typeface="Trebuchet MS" panose="020B0603020202020204" pitchFamily="34" charset="0"/>
              </a:defRPr>
            </a:lvl2pPr>
            <a:lvl3pPr>
              <a:defRPr sz="1800">
                <a:latin typeface="Trebuchet MS" panose="020B0603020202020204" pitchFamily="34" charset="0"/>
              </a:defRPr>
            </a:lvl3pPr>
            <a:lvl4pPr>
              <a:defRPr sz="1600">
                <a:latin typeface="Trebuchet MS" panose="020B0603020202020204" pitchFamily="34" charset="0"/>
              </a:defRPr>
            </a:lvl4pPr>
            <a:lvl5pPr>
              <a:defRPr sz="160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21"/>
          <p:cNvSpPr>
            <a:spLocks noGrp="1"/>
          </p:cNvSpPr>
          <p:nvPr>
            <p:ph type="title"/>
          </p:nvPr>
        </p:nvSpPr>
        <p:spPr bwMode="auto">
          <a:xfrm>
            <a:off x="1345474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l">
              <a:defRPr sz="24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5325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5525" y="0"/>
            <a:ext cx="100647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863600" y="647700"/>
            <a:ext cx="11339513" cy="50800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6526213"/>
            <a:ext cx="3397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930275" y="6526213"/>
            <a:ext cx="1608138" cy="3698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1436" tIns="45718" rIns="91436" bIns="45718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id-ID">
                <a:solidFill>
                  <a:prstClr val="white"/>
                </a:solidFill>
                <a:ea typeface="+mn-ea"/>
                <a:cs typeface="+mn-cs"/>
              </a:rPr>
              <a:t>ddbaccelerator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3097213" y="6538913"/>
            <a:ext cx="1814512" cy="3698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1436" tIns="45718" rIns="91436" bIns="45718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id-ID">
                <a:solidFill>
                  <a:prstClr val="white"/>
                </a:solidFill>
                <a:ea typeface="+mn-ea"/>
                <a:cs typeface="+mn-cs"/>
              </a:rPr>
              <a:t>@ddbaccelerator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399088" y="6550025"/>
            <a:ext cx="3009900" cy="369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1436" tIns="45718" rIns="91436" bIns="45718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id-ID" dirty="0">
                <a:solidFill>
                  <a:prstClr val="white"/>
                </a:solidFill>
                <a:ea typeface="+mn-ea"/>
                <a:cs typeface="+mn-cs"/>
              </a:rPr>
              <a:t>support@ddbaccelerator.com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851900" y="6548438"/>
            <a:ext cx="2622550" cy="3698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1436" tIns="45718" rIns="91436" bIns="45718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id-ID">
                <a:solidFill>
                  <a:prstClr val="white"/>
                </a:solidFill>
                <a:ea typeface="+mn-ea"/>
                <a:cs typeface="+mn-cs"/>
              </a:rPr>
              <a:t>www.ddbaccelerator.com</a:t>
            </a:r>
          </a:p>
        </p:txBody>
      </p:sp>
      <p:pic>
        <p:nvPicPr>
          <p:cNvPr id="11" name="Picture 10" descr="https://g.twimg.com/Twitter_logo_blue.pn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5588" y="6534150"/>
            <a:ext cx="382587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Freeform 39"/>
          <p:cNvSpPr>
            <a:spLocks noEditPoints="1"/>
          </p:cNvSpPr>
          <p:nvPr userDrawn="1"/>
        </p:nvSpPr>
        <p:spPr bwMode="auto">
          <a:xfrm>
            <a:off x="8532813" y="6534150"/>
            <a:ext cx="347662" cy="323850"/>
          </a:xfrm>
          <a:custGeom>
            <a:avLst/>
            <a:gdLst>
              <a:gd name="T0" fmla="*/ 2147483646 w 16128"/>
              <a:gd name="T1" fmla="*/ 2147483646 h 16128"/>
              <a:gd name="T2" fmla="*/ 2147483646 w 16128"/>
              <a:gd name="T3" fmla="*/ 2147483646 h 16128"/>
              <a:gd name="T4" fmla="*/ 2147483646 w 16128"/>
              <a:gd name="T5" fmla="*/ 2147483646 h 16128"/>
              <a:gd name="T6" fmla="*/ 2147483646 w 16128"/>
              <a:gd name="T7" fmla="*/ 2147483646 h 16128"/>
              <a:gd name="T8" fmla="*/ 2147483646 w 16128"/>
              <a:gd name="T9" fmla="*/ 2147483646 h 16128"/>
              <a:gd name="T10" fmla="*/ 2147483646 w 16128"/>
              <a:gd name="T11" fmla="*/ 2147483646 h 16128"/>
              <a:gd name="T12" fmla="*/ 2147483646 w 16128"/>
              <a:gd name="T13" fmla="*/ 2147483646 h 16128"/>
              <a:gd name="T14" fmla="*/ 2147483646 w 16128"/>
              <a:gd name="T15" fmla="*/ 2147483646 h 16128"/>
              <a:gd name="T16" fmla="*/ 2147483646 w 16128"/>
              <a:gd name="T17" fmla="*/ 2147483646 h 16128"/>
              <a:gd name="T18" fmla="*/ 2147483646 w 16128"/>
              <a:gd name="T19" fmla="*/ 2147483646 h 16128"/>
              <a:gd name="T20" fmla="*/ 2147483646 w 16128"/>
              <a:gd name="T21" fmla="*/ 2147483646 h 16128"/>
              <a:gd name="T22" fmla="*/ 2147483646 w 16128"/>
              <a:gd name="T23" fmla="*/ 2147483646 h 16128"/>
              <a:gd name="T24" fmla="*/ 2147483646 w 16128"/>
              <a:gd name="T25" fmla="*/ 2147483646 h 16128"/>
              <a:gd name="T26" fmla="*/ 2147483646 w 16128"/>
              <a:gd name="T27" fmla="*/ 2147483646 h 16128"/>
              <a:gd name="T28" fmla="*/ 2147483646 w 16128"/>
              <a:gd name="T29" fmla="*/ 2147483646 h 16128"/>
              <a:gd name="T30" fmla="*/ 2147483646 w 16128"/>
              <a:gd name="T31" fmla="*/ 2147483646 h 16128"/>
              <a:gd name="T32" fmla="*/ 2147483646 w 16128"/>
              <a:gd name="T33" fmla="*/ 2147483646 h 16128"/>
              <a:gd name="T34" fmla="*/ 2147483646 w 16128"/>
              <a:gd name="T35" fmla="*/ 2147483646 h 16128"/>
              <a:gd name="T36" fmla="*/ 2147483646 w 16128"/>
              <a:gd name="T37" fmla="*/ 2147483646 h 16128"/>
              <a:gd name="T38" fmla="*/ 2147483646 w 16128"/>
              <a:gd name="T39" fmla="*/ 2147483646 h 16128"/>
              <a:gd name="T40" fmla="*/ 2147483646 w 16128"/>
              <a:gd name="T41" fmla="*/ 2147483646 h 16128"/>
              <a:gd name="T42" fmla="*/ 2147483646 w 16128"/>
              <a:gd name="T43" fmla="*/ 2147483646 h 16128"/>
              <a:gd name="T44" fmla="*/ 2147483646 w 16128"/>
              <a:gd name="T45" fmla="*/ 2147483646 h 16128"/>
              <a:gd name="T46" fmla="*/ 2147483646 w 16128"/>
              <a:gd name="T47" fmla="*/ 2147483646 h 16128"/>
              <a:gd name="T48" fmla="*/ 2147483646 w 16128"/>
              <a:gd name="T49" fmla="*/ 2147483646 h 16128"/>
              <a:gd name="T50" fmla="*/ 2147483646 w 16128"/>
              <a:gd name="T51" fmla="*/ 2147483646 h 16128"/>
              <a:gd name="T52" fmla="*/ 2147483646 w 16128"/>
              <a:gd name="T53" fmla="*/ 2147483646 h 16128"/>
              <a:gd name="T54" fmla="*/ 2147483646 w 16128"/>
              <a:gd name="T55" fmla="*/ 2147483646 h 16128"/>
              <a:gd name="T56" fmla="*/ 2147483646 w 16128"/>
              <a:gd name="T57" fmla="*/ 2147483646 h 16128"/>
              <a:gd name="T58" fmla="*/ 2147483646 w 16128"/>
              <a:gd name="T59" fmla="*/ 2147483646 h 16128"/>
              <a:gd name="T60" fmla="*/ 2147483646 w 16128"/>
              <a:gd name="T61" fmla="*/ 2147483646 h 16128"/>
              <a:gd name="T62" fmla="*/ 2147483646 w 16128"/>
              <a:gd name="T63" fmla="*/ 2147483646 h 16128"/>
              <a:gd name="T64" fmla="*/ 2147483646 w 16128"/>
              <a:gd name="T65" fmla="*/ 2147483646 h 16128"/>
              <a:gd name="T66" fmla="*/ 2147483646 w 16128"/>
              <a:gd name="T67" fmla="*/ 2147483646 h 16128"/>
              <a:gd name="T68" fmla="*/ 2147483646 w 16128"/>
              <a:gd name="T69" fmla="*/ 2147483646 h 16128"/>
              <a:gd name="T70" fmla="*/ 2147483646 w 16128"/>
              <a:gd name="T71" fmla="*/ 2147483646 h 16128"/>
              <a:gd name="T72" fmla="*/ 2147483646 w 16128"/>
              <a:gd name="T73" fmla="*/ 2147483646 h 16128"/>
              <a:gd name="T74" fmla="*/ 2147483646 w 16128"/>
              <a:gd name="T75" fmla="*/ 2147483646 h 16128"/>
              <a:gd name="T76" fmla="*/ 2147483646 w 16128"/>
              <a:gd name="T77" fmla="*/ 2147483646 h 16128"/>
              <a:gd name="T78" fmla="*/ 2147483646 w 16128"/>
              <a:gd name="T79" fmla="*/ 2147483646 h 16128"/>
              <a:gd name="T80" fmla="*/ 2147483646 w 16128"/>
              <a:gd name="T81" fmla="*/ 2147483646 h 16128"/>
              <a:gd name="T82" fmla="*/ 2147483646 w 16128"/>
              <a:gd name="T83" fmla="*/ 2147483646 h 16128"/>
              <a:gd name="T84" fmla="*/ 2147483646 w 16128"/>
              <a:gd name="T85" fmla="*/ 2147483646 h 16128"/>
              <a:gd name="T86" fmla="*/ 2147483646 w 16128"/>
              <a:gd name="T87" fmla="*/ 2147483646 h 16128"/>
              <a:gd name="T88" fmla="*/ 2147483646 w 16128"/>
              <a:gd name="T89" fmla="*/ 2147483646 h 16128"/>
              <a:gd name="T90" fmla="*/ 2147483646 w 16128"/>
              <a:gd name="T91" fmla="*/ 2147483646 h 16128"/>
              <a:gd name="T92" fmla="*/ 2147483646 w 16128"/>
              <a:gd name="T93" fmla="*/ 2147483646 h 16128"/>
              <a:gd name="T94" fmla="*/ 2147483646 w 16128"/>
              <a:gd name="T95" fmla="*/ 2147483646 h 16128"/>
              <a:gd name="T96" fmla="*/ 2147483646 w 16128"/>
              <a:gd name="T97" fmla="*/ 2147483646 h 16128"/>
              <a:gd name="T98" fmla="*/ 2147483646 w 16128"/>
              <a:gd name="T99" fmla="*/ 2147483646 h 16128"/>
              <a:gd name="T100" fmla="*/ 2147483646 w 16128"/>
              <a:gd name="T101" fmla="*/ 2147483646 h 16128"/>
              <a:gd name="T102" fmla="*/ 2147483646 w 16128"/>
              <a:gd name="T103" fmla="*/ 2147483646 h 16128"/>
              <a:gd name="T104" fmla="*/ 2147483646 w 16128"/>
              <a:gd name="T105" fmla="*/ 2147483646 h 16128"/>
              <a:gd name="T106" fmla="*/ 2147483646 w 16128"/>
              <a:gd name="T107" fmla="*/ 2147483646 h 16128"/>
              <a:gd name="T108" fmla="*/ 2147483646 w 16128"/>
              <a:gd name="T109" fmla="*/ 2147483646 h 16128"/>
              <a:gd name="T110" fmla="*/ 2147483646 w 16128"/>
              <a:gd name="T111" fmla="*/ 2147483646 h 16128"/>
              <a:gd name="T112" fmla="*/ 2147483646 w 16128"/>
              <a:gd name="T113" fmla="*/ 2147483646 h 16128"/>
              <a:gd name="T114" fmla="*/ 2147483646 w 16128"/>
              <a:gd name="T115" fmla="*/ 2147483646 h 16128"/>
              <a:gd name="T116" fmla="*/ 2147483646 w 16128"/>
              <a:gd name="T117" fmla="*/ 2147483646 h 16128"/>
              <a:gd name="T118" fmla="*/ 2147483646 w 16128"/>
              <a:gd name="T119" fmla="*/ 2147483646 h 16128"/>
              <a:gd name="T120" fmla="*/ 2147483646 w 16128"/>
              <a:gd name="T121" fmla="*/ 2147483646 h 16128"/>
              <a:gd name="T122" fmla="*/ 2147483646 w 16128"/>
              <a:gd name="T123" fmla="*/ 2147483646 h 16128"/>
              <a:gd name="T124" fmla="*/ 2147483646 w 16128"/>
              <a:gd name="T125" fmla="*/ 2147483646 h 1612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128" h="16128">
                <a:moveTo>
                  <a:pt x="8064" y="0"/>
                </a:moveTo>
                <a:lnTo>
                  <a:pt x="7649" y="10"/>
                </a:lnTo>
                <a:lnTo>
                  <a:pt x="7239" y="41"/>
                </a:lnTo>
                <a:lnTo>
                  <a:pt x="6836" y="93"/>
                </a:lnTo>
                <a:lnTo>
                  <a:pt x="6439" y="164"/>
                </a:lnTo>
                <a:lnTo>
                  <a:pt x="6049" y="254"/>
                </a:lnTo>
                <a:lnTo>
                  <a:pt x="5666" y="363"/>
                </a:lnTo>
                <a:lnTo>
                  <a:pt x="5291" y="489"/>
                </a:lnTo>
                <a:lnTo>
                  <a:pt x="4925" y="634"/>
                </a:lnTo>
                <a:lnTo>
                  <a:pt x="4568" y="795"/>
                </a:lnTo>
                <a:lnTo>
                  <a:pt x="4220" y="974"/>
                </a:lnTo>
                <a:lnTo>
                  <a:pt x="3883" y="1167"/>
                </a:lnTo>
                <a:lnTo>
                  <a:pt x="3555" y="1377"/>
                </a:lnTo>
                <a:lnTo>
                  <a:pt x="3239" y="1602"/>
                </a:lnTo>
                <a:lnTo>
                  <a:pt x="2934" y="1842"/>
                </a:lnTo>
                <a:lnTo>
                  <a:pt x="2642" y="2095"/>
                </a:lnTo>
                <a:lnTo>
                  <a:pt x="2362" y="2362"/>
                </a:lnTo>
                <a:lnTo>
                  <a:pt x="2095" y="2642"/>
                </a:lnTo>
                <a:lnTo>
                  <a:pt x="1842" y="2934"/>
                </a:lnTo>
                <a:lnTo>
                  <a:pt x="1602" y="3239"/>
                </a:lnTo>
                <a:lnTo>
                  <a:pt x="1377" y="3555"/>
                </a:lnTo>
                <a:lnTo>
                  <a:pt x="1167" y="3883"/>
                </a:lnTo>
                <a:lnTo>
                  <a:pt x="974" y="4220"/>
                </a:lnTo>
                <a:lnTo>
                  <a:pt x="795" y="4568"/>
                </a:lnTo>
                <a:lnTo>
                  <a:pt x="634" y="4925"/>
                </a:lnTo>
                <a:lnTo>
                  <a:pt x="489" y="5291"/>
                </a:lnTo>
                <a:lnTo>
                  <a:pt x="363" y="5666"/>
                </a:lnTo>
                <a:lnTo>
                  <a:pt x="254" y="6049"/>
                </a:lnTo>
                <a:lnTo>
                  <a:pt x="164" y="6439"/>
                </a:lnTo>
                <a:lnTo>
                  <a:pt x="93" y="6836"/>
                </a:lnTo>
                <a:lnTo>
                  <a:pt x="41" y="7239"/>
                </a:lnTo>
                <a:lnTo>
                  <a:pt x="10" y="7649"/>
                </a:lnTo>
                <a:lnTo>
                  <a:pt x="0" y="8064"/>
                </a:lnTo>
                <a:lnTo>
                  <a:pt x="10" y="8479"/>
                </a:lnTo>
                <a:lnTo>
                  <a:pt x="41" y="8889"/>
                </a:lnTo>
                <a:lnTo>
                  <a:pt x="93" y="9292"/>
                </a:lnTo>
                <a:lnTo>
                  <a:pt x="164" y="9689"/>
                </a:lnTo>
                <a:lnTo>
                  <a:pt x="254" y="10079"/>
                </a:lnTo>
                <a:lnTo>
                  <a:pt x="363" y="10462"/>
                </a:lnTo>
                <a:lnTo>
                  <a:pt x="489" y="10837"/>
                </a:lnTo>
                <a:lnTo>
                  <a:pt x="634" y="11203"/>
                </a:lnTo>
                <a:lnTo>
                  <a:pt x="795" y="11560"/>
                </a:lnTo>
                <a:lnTo>
                  <a:pt x="974" y="11908"/>
                </a:lnTo>
                <a:lnTo>
                  <a:pt x="1167" y="12245"/>
                </a:lnTo>
                <a:lnTo>
                  <a:pt x="1377" y="12573"/>
                </a:lnTo>
                <a:lnTo>
                  <a:pt x="1602" y="12888"/>
                </a:lnTo>
                <a:lnTo>
                  <a:pt x="1842" y="13194"/>
                </a:lnTo>
                <a:lnTo>
                  <a:pt x="2095" y="13486"/>
                </a:lnTo>
                <a:lnTo>
                  <a:pt x="2362" y="13766"/>
                </a:lnTo>
                <a:lnTo>
                  <a:pt x="2642" y="14033"/>
                </a:lnTo>
                <a:lnTo>
                  <a:pt x="2934" y="14286"/>
                </a:lnTo>
                <a:lnTo>
                  <a:pt x="3239" y="14526"/>
                </a:lnTo>
                <a:lnTo>
                  <a:pt x="3555" y="14751"/>
                </a:lnTo>
                <a:lnTo>
                  <a:pt x="3883" y="14961"/>
                </a:lnTo>
                <a:lnTo>
                  <a:pt x="4220" y="15154"/>
                </a:lnTo>
                <a:lnTo>
                  <a:pt x="4568" y="15333"/>
                </a:lnTo>
                <a:lnTo>
                  <a:pt x="4925" y="15494"/>
                </a:lnTo>
                <a:lnTo>
                  <a:pt x="5291" y="15639"/>
                </a:lnTo>
                <a:lnTo>
                  <a:pt x="5666" y="15765"/>
                </a:lnTo>
                <a:lnTo>
                  <a:pt x="6049" y="15874"/>
                </a:lnTo>
                <a:lnTo>
                  <a:pt x="6439" y="15964"/>
                </a:lnTo>
                <a:lnTo>
                  <a:pt x="6836" y="16035"/>
                </a:lnTo>
                <a:lnTo>
                  <a:pt x="7239" y="16087"/>
                </a:lnTo>
                <a:lnTo>
                  <a:pt x="7649" y="16118"/>
                </a:lnTo>
                <a:lnTo>
                  <a:pt x="8064" y="16128"/>
                </a:lnTo>
                <a:lnTo>
                  <a:pt x="8479" y="16118"/>
                </a:lnTo>
                <a:lnTo>
                  <a:pt x="8889" y="16087"/>
                </a:lnTo>
                <a:lnTo>
                  <a:pt x="9292" y="16035"/>
                </a:lnTo>
                <a:lnTo>
                  <a:pt x="9689" y="15964"/>
                </a:lnTo>
                <a:lnTo>
                  <a:pt x="10079" y="15874"/>
                </a:lnTo>
                <a:lnTo>
                  <a:pt x="10462" y="15765"/>
                </a:lnTo>
                <a:lnTo>
                  <a:pt x="10837" y="15639"/>
                </a:lnTo>
                <a:lnTo>
                  <a:pt x="11203" y="15494"/>
                </a:lnTo>
                <a:lnTo>
                  <a:pt x="11560" y="15333"/>
                </a:lnTo>
                <a:lnTo>
                  <a:pt x="11908" y="15154"/>
                </a:lnTo>
                <a:lnTo>
                  <a:pt x="12245" y="14961"/>
                </a:lnTo>
                <a:lnTo>
                  <a:pt x="12573" y="14751"/>
                </a:lnTo>
                <a:lnTo>
                  <a:pt x="12889" y="14526"/>
                </a:lnTo>
                <a:lnTo>
                  <a:pt x="13194" y="14286"/>
                </a:lnTo>
                <a:lnTo>
                  <a:pt x="13486" y="14033"/>
                </a:lnTo>
                <a:lnTo>
                  <a:pt x="13766" y="13766"/>
                </a:lnTo>
                <a:lnTo>
                  <a:pt x="14033" y="13486"/>
                </a:lnTo>
                <a:lnTo>
                  <a:pt x="14286" y="13194"/>
                </a:lnTo>
                <a:lnTo>
                  <a:pt x="14526" y="12888"/>
                </a:lnTo>
                <a:lnTo>
                  <a:pt x="14751" y="12573"/>
                </a:lnTo>
                <a:lnTo>
                  <a:pt x="14961" y="12245"/>
                </a:lnTo>
                <a:lnTo>
                  <a:pt x="15154" y="11908"/>
                </a:lnTo>
                <a:lnTo>
                  <a:pt x="15333" y="11560"/>
                </a:lnTo>
                <a:lnTo>
                  <a:pt x="15494" y="11203"/>
                </a:lnTo>
                <a:lnTo>
                  <a:pt x="15639" y="10837"/>
                </a:lnTo>
                <a:lnTo>
                  <a:pt x="15765" y="10462"/>
                </a:lnTo>
                <a:lnTo>
                  <a:pt x="15874" y="10079"/>
                </a:lnTo>
                <a:lnTo>
                  <a:pt x="15964" y="9689"/>
                </a:lnTo>
                <a:lnTo>
                  <a:pt x="16035" y="9292"/>
                </a:lnTo>
                <a:lnTo>
                  <a:pt x="16087" y="8889"/>
                </a:lnTo>
                <a:lnTo>
                  <a:pt x="16118" y="8479"/>
                </a:lnTo>
                <a:lnTo>
                  <a:pt x="16128" y="8064"/>
                </a:lnTo>
                <a:lnTo>
                  <a:pt x="16118" y="7649"/>
                </a:lnTo>
                <a:lnTo>
                  <a:pt x="16087" y="7239"/>
                </a:lnTo>
                <a:lnTo>
                  <a:pt x="16035" y="6836"/>
                </a:lnTo>
                <a:lnTo>
                  <a:pt x="15964" y="6439"/>
                </a:lnTo>
                <a:lnTo>
                  <a:pt x="15874" y="6049"/>
                </a:lnTo>
                <a:lnTo>
                  <a:pt x="15765" y="5666"/>
                </a:lnTo>
                <a:lnTo>
                  <a:pt x="15639" y="5291"/>
                </a:lnTo>
                <a:lnTo>
                  <a:pt x="15494" y="4925"/>
                </a:lnTo>
                <a:lnTo>
                  <a:pt x="15333" y="4568"/>
                </a:lnTo>
                <a:lnTo>
                  <a:pt x="15154" y="4220"/>
                </a:lnTo>
                <a:lnTo>
                  <a:pt x="14961" y="3883"/>
                </a:lnTo>
                <a:lnTo>
                  <a:pt x="14751" y="3555"/>
                </a:lnTo>
                <a:lnTo>
                  <a:pt x="14526" y="3239"/>
                </a:lnTo>
                <a:lnTo>
                  <a:pt x="14286" y="2934"/>
                </a:lnTo>
                <a:lnTo>
                  <a:pt x="14033" y="2642"/>
                </a:lnTo>
                <a:lnTo>
                  <a:pt x="13766" y="2362"/>
                </a:lnTo>
                <a:lnTo>
                  <a:pt x="13486" y="2095"/>
                </a:lnTo>
                <a:lnTo>
                  <a:pt x="13194" y="1842"/>
                </a:lnTo>
                <a:lnTo>
                  <a:pt x="12889" y="1602"/>
                </a:lnTo>
                <a:lnTo>
                  <a:pt x="12573" y="1377"/>
                </a:lnTo>
                <a:lnTo>
                  <a:pt x="12245" y="1167"/>
                </a:lnTo>
                <a:lnTo>
                  <a:pt x="11908" y="974"/>
                </a:lnTo>
                <a:lnTo>
                  <a:pt x="11560" y="795"/>
                </a:lnTo>
                <a:lnTo>
                  <a:pt x="11203" y="634"/>
                </a:lnTo>
                <a:lnTo>
                  <a:pt x="10837" y="489"/>
                </a:lnTo>
                <a:lnTo>
                  <a:pt x="10462" y="363"/>
                </a:lnTo>
                <a:lnTo>
                  <a:pt x="10079" y="254"/>
                </a:lnTo>
                <a:lnTo>
                  <a:pt x="9689" y="164"/>
                </a:lnTo>
                <a:lnTo>
                  <a:pt x="9292" y="93"/>
                </a:lnTo>
                <a:lnTo>
                  <a:pt x="8889" y="41"/>
                </a:lnTo>
                <a:lnTo>
                  <a:pt x="8479" y="10"/>
                </a:lnTo>
                <a:lnTo>
                  <a:pt x="8064" y="0"/>
                </a:lnTo>
                <a:close/>
                <a:moveTo>
                  <a:pt x="9888" y="5193"/>
                </a:moveTo>
                <a:lnTo>
                  <a:pt x="9879" y="5196"/>
                </a:lnTo>
                <a:lnTo>
                  <a:pt x="9872" y="5197"/>
                </a:lnTo>
                <a:lnTo>
                  <a:pt x="9865" y="5198"/>
                </a:lnTo>
                <a:lnTo>
                  <a:pt x="9859" y="5198"/>
                </a:lnTo>
                <a:lnTo>
                  <a:pt x="9854" y="5198"/>
                </a:lnTo>
                <a:lnTo>
                  <a:pt x="9850" y="5197"/>
                </a:lnTo>
                <a:lnTo>
                  <a:pt x="9847" y="5195"/>
                </a:lnTo>
                <a:lnTo>
                  <a:pt x="9844" y="5193"/>
                </a:lnTo>
                <a:lnTo>
                  <a:pt x="9842" y="5190"/>
                </a:lnTo>
                <a:lnTo>
                  <a:pt x="9840" y="5187"/>
                </a:lnTo>
                <a:lnTo>
                  <a:pt x="9839" y="5183"/>
                </a:lnTo>
                <a:lnTo>
                  <a:pt x="9839" y="5179"/>
                </a:lnTo>
                <a:lnTo>
                  <a:pt x="9839" y="5170"/>
                </a:lnTo>
                <a:lnTo>
                  <a:pt x="9841" y="5159"/>
                </a:lnTo>
                <a:lnTo>
                  <a:pt x="9848" y="5136"/>
                </a:lnTo>
                <a:lnTo>
                  <a:pt x="9857" y="5111"/>
                </a:lnTo>
                <a:lnTo>
                  <a:pt x="9861" y="5097"/>
                </a:lnTo>
                <a:lnTo>
                  <a:pt x="9865" y="5085"/>
                </a:lnTo>
                <a:lnTo>
                  <a:pt x="9867" y="5073"/>
                </a:lnTo>
                <a:lnTo>
                  <a:pt x="9868" y="5063"/>
                </a:lnTo>
                <a:lnTo>
                  <a:pt x="9881" y="5063"/>
                </a:lnTo>
                <a:lnTo>
                  <a:pt x="9906" y="5064"/>
                </a:lnTo>
                <a:lnTo>
                  <a:pt x="9937" y="5064"/>
                </a:lnTo>
                <a:lnTo>
                  <a:pt x="9967" y="5063"/>
                </a:lnTo>
                <a:lnTo>
                  <a:pt x="9980" y="5061"/>
                </a:lnTo>
                <a:lnTo>
                  <a:pt x="9991" y="5060"/>
                </a:lnTo>
                <a:lnTo>
                  <a:pt x="9995" y="5058"/>
                </a:lnTo>
                <a:lnTo>
                  <a:pt x="9999" y="5057"/>
                </a:lnTo>
                <a:lnTo>
                  <a:pt x="10001" y="5056"/>
                </a:lnTo>
                <a:lnTo>
                  <a:pt x="10003" y="5054"/>
                </a:lnTo>
                <a:lnTo>
                  <a:pt x="10003" y="5052"/>
                </a:lnTo>
                <a:lnTo>
                  <a:pt x="10002" y="5050"/>
                </a:lnTo>
                <a:lnTo>
                  <a:pt x="9999" y="5047"/>
                </a:lnTo>
                <a:lnTo>
                  <a:pt x="9996" y="5045"/>
                </a:lnTo>
                <a:lnTo>
                  <a:pt x="9983" y="5039"/>
                </a:lnTo>
                <a:lnTo>
                  <a:pt x="9964" y="5032"/>
                </a:lnTo>
                <a:lnTo>
                  <a:pt x="9962" y="5011"/>
                </a:lnTo>
                <a:lnTo>
                  <a:pt x="9960" y="4993"/>
                </a:lnTo>
                <a:lnTo>
                  <a:pt x="9958" y="4975"/>
                </a:lnTo>
                <a:lnTo>
                  <a:pt x="9954" y="4960"/>
                </a:lnTo>
                <a:lnTo>
                  <a:pt x="9950" y="4946"/>
                </a:lnTo>
                <a:lnTo>
                  <a:pt x="9945" y="4934"/>
                </a:lnTo>
                <a:lnTo>
                  <a:pt x="9939" y="4924"/>
                </a:lnTo>
                <a:lnTo>
                  <a:pt x="9932" y="4915"/>
                </a:lnTo>
                <a:lnTo>
                  <a:pt x="9924" y="4907"/>
                </a:lnTo>
                <a:lnTo>
                  <a:pt x="9915" y="4900"/>
                </a:lnTo>
                <a:lnTo>
                  <a:pt x="9904" y="4895"/>
                </a:lnTo>
                <a:lnTo>
                  <a:pt x="9892" y="4891"/>
                </a:lnTo>
                <a:lnTo>
                  <a:pt x="9877" y="4887"/>
                </a:lnTo>
                <a:lnTo>
                  <a:pt x="9862" y="4885"/>
                </a:lnTo>
                <a:lnTo>
                  <a:pt x="9845" y="4884"/>
                </a:lnTo>
                <a:lnTo>
                  <a:pt x="9826" y="4883"/>
                </a:lnTo>
                <a:lnTo>
                  <a:pt x="9826" y="4870"/>
                </a:lnTo>
                <a:lnTo>
                  <a:pt x="9825" y="4858"/>
                </a:lnTo>
                <a:lnTo>
                  <a:pt x="9824" y="4847"/>
                </a:lnTo>
                <a:lnTo>
                  <a:pt x="9822" y="4837"/>
                </a:lnTo>
                <a:lnTo>
                  <a:pt x="9817" y="4821"/>
                </a:lnTo>
                <a:lnTo>
                  <a:pt x="9811" y="4807"/>
                </a:lnTo>
                <a:lnTo>
                  <a:pt x="9805" y="4793"/>
                </a:lnTo>
                <a:lnTo>
                  <a:pt x="9798" y="4776"/>
                </a:lnTo>
                <a:lnTo>
                  <a:pt x="9795" y="4766"/>
                </a:lnTo>
                <a:lnTo>
                  <a:pt x="9792" y="4754"/>
                </a:lnTo>
                <a:lnTo>
                  <a:pt x="9789" y="4741"/>
                </a:lnTo>
                <a:lnTo>
                  <a:pt x="9787" y="4727"/>
                </a:lnTo>
                <a:lnTo>
                  <a:pt x="9785" y="4715"/>
                </a:lnTo>
                <a:lnTo>
                  <a:pt x="9785" y="4705"/>
                </a:lnTo>
                <a:lnTo>
                  <a:pt x="9785" y="4697"/>
                </a:lnTo>
                <a:lnTo>
                  <a:pt x="9786" y="4690"/>
                </a:lnTo>
                <a:lnTo>
                  <a:pt x="9787" y="4684"/>
                </a:lnTo>
                <a:lnTo>
                  <a:pt x="9789" y="4679"/>
                </a:lnTo>
                <a:lnTo>
                  <a:pt x="9792" y="4675"/>
                </a:lnTo>
                <a:lnTo>
                  <a:pt x="9795" y="4672"/>
                </a:lnTo>
                <a:lnTo>
                  <a:pt x="9798" y="4670"/>
                </a:lnTo>
                <a:lnTo>
                  <a:pt x="9802" y="4668"/>
                </a:lnTo>
                <a:lnTo>
                  <a:pt x="9807" y="4667"/>
                </a:lnTo>
                <a:lnTo>
                  <a:pt x="9811" y="4666"/>
                </a:lnTo>
                <a:lnTo>
                  <a:pt x="9822" y="4666"/>
                </a:lnTo>
                <a:lnTo>
                  <a:pt x="9833" y="4666"/>
                </a:lnTo>
                <a:lnTo>
                  <a:pt x="9845" y="4666"/>
                </a:lnTo>
                <a:lnTo>
                  <a:pt x="9857" y="4665"/>
                </a:lnTo>
                <a:lnTo>
                  <a:pt x="9864" y="4664"/>
                </a:lnTo>
                <a:lnTo>
                  <a:pt x="9870" y="4663"/>
                </a:lnTo>
                <a:lnTo>
                  <a:pt x="9876" y="4661"/>
                </a:lnTo>
                <a:lnTo>
                  <a:pt x="9882" y="4658"/>
                </a:lnTo>
                <a:lnTo>
                  <a:pt x="9888" y="4654"/>
                </a:lnTo>
                <a:lnTo>
                  <a:pt x="9894" y="4650"/>
                </a:lnTo>
                <a:lnTo>
                  <a:pt x="9900" y="4644"/>
                </a:lnTo>
                <a:lnTo>
                  <a:pt x="9905" y="4638"/>
                </a:lnTo>
                <a:lnTo>
                  <a:pt x="9910" y="4630"/>
                </a:lnTo>
                <a:lnTo>
                  <a:pt x="9914" y="4621"/>
                </a:lnTo>
                <a:lnTo>
                  <a:pt x="9918" y="4610"/>
                </a:lnTo>
                <a:lnTo>
                  <a:pt x="9922" y="4597"/>
                </a:lnTo>
                <a:lnTo>
                  <a:pt x="9936" y="4598"/>
                </a:lnTo>
                <a:lnTo>
                  <a:pt x="9947" y="4601"/>
                </a:lnTo>
                <a:lnTo>
                  <a:pt x="9951" y="4602"/>
                </a:lnTo>
                <a:lnTo>
                  <a:pt x="9954" y="4604"/>
                </a:lnTo>
                <a:lnTo>
                  <a:pt x="9957" y="4606"/>
                </a:lnTo>
                <a:lnTo>
                  <a:pt x="9959" y="4608"/>
                </a:lnTo>
                <a:lnTo>
                  <a:pt x="9961" y="4610"/>
                </a:lnTo>
                <a:lnTo>
                  <a:pt x="9961" y="4613"/>
                </a:lnTo>
                <a:lnTo>
                  <a:pt x="9962" y="4615"/>
                </a:lnTo>
                <a:lnTo>
                  <a:pt x="9962" y="4618"/>
                </a:lnTo>
                <a:lnTo>
                  <a:pt x="9960" y="4624"/>
                </a:lnTo>
                <a:lnTo>
                  <a:pt x="9957" y="4630"/>
                </a:lnTo>
                <a:lnTo>
                  <a:pt x="9952" y="4636"/>
                </a:lnTo>
                <a:lnTo>
                  <a:pt x="9947" y="4641"/>
                </a:lnTo>
                <a:lnTo>
                  <a:pt x="9941" y="4647"/>
                </a:lnTo>
                <a:lnTo>
                  <a:pt x="9935" y="4651"/>
                </a:lnTo>
                <a:lnTo>
                  <a:pt x="9929" y="4655"/>
                </a:lnTo>
                <a:lnTo>
                  <a:pt x="9923" y="4659"/>
                </a:lnTo>
                <a:lnTo>
                  <a:pt x="9918" y="4661"/>
                </a:lnTo>
                <a:lnTo>
                  <a:pt x="9914" y="4661"/>
                </a:lnTo>
                <a:lnTo>
                  <a:pt x="9916" y="4663"/>
                </a:lnTo>
                <a:lnTo>
                  <a:pt x="9918" y="4666"/>
                </a:lnTo>
                <a:lnTo>
                  <a:pt x="9919" y="4669"/>
                </a:lnTo>
                <a:lnTo>
                  <a:pt x="9920" y="4673"/>
                </a:lnTo>
                <a:lnTo>
                  <a:pt x="9919" y="4683"/>
                </a:lnTo>
                <a:lnTo>
                  <a:pt x="9918" y="4694"/>
                </a:lnTo>
                <a:lnTo>
                  <a:pt x="9914" y="4717"/>
                </a:lnTo>
                <a:lnTo>
                  <a:pt x="9911" y="4736"/>
                </a:lnTo>
                <a:lnTo>
                  <a:pt x="9925" y="4735"/>
                </a:lnTo>
                <a:lnTo>
                  <a:pt x="9937" y="4733"/>
                </a:lnTo>
                <a:lnTo>
                  <a:pt x="9948" y="4731"/>
                </a:lnTo>
                <a:lnTo>
                  <a:pt x="9958" y="4727"/>
                </a:lnTo>
                <a:lnTo>
                  <a:pt x="9966" y="4723"/>
                </a:lnTo>
                <a:lnTo>
                  <a:pt x="9974" y="4718"/>
                </a:lnTo>
                <a:lnTo>
                  <a:pt x="9981" y="4713"/>
                </a:lnTo>
                <a:lnTo>
                  <a:pt x="9988" y="4708"/>
                </a:lnTo>
                <a:lnTo>
                  <a:pt x="10000" y="4698"/>
                </a:lnTo>
                <a:lnTo>
                  <a:pt x="10014" y="4687"/>
                </a:lnTo>
                <a:lnTo>
                  <a:pt x="10022" y="4683"/>
                </a:lnTo>
                <a:lnTo>
                  <a:pt x="10030" y="4678"/>
                </a:lnTo>
                <a:lnTo>
                  <a:pt x="10039" y="4675"/>
                </a:lnTo>
                <a:lnTo>
                  <a:pt x="10049" y="4672"/>
                </a:lnTo>
                <a:lnTo>
                  <a:pt x="10046" y="4684"/>
                </a:lnTo>
                <a:lnTo>
                  <a:pt x="10042" y="4696"/>
                </a:lnTo>
                <a:lnTo>
                  <a:pt x="10036" y="4706"/>
                </a:lnTo>
                <a:lnTo>
                  <a:pt x="10031" y="4715"/>
                </a:lnTo>
                <a:lnTo>
                  <a:pt x="10019" y="4733"/>
                </a:lnTo>
                <a:lnTo>
                  <a:pt x="10008" y="4749"/>
                </a:lnTo>
                <a:lnTo>
                  <a:pt x="10004" y="4756"/>
                </a:lnTo>
                <a:lnTo>
                  <a:pt x="10002" y="4764"/>
                </a:lnTo>
                <a:lnTo>
                  <a:pt x="10001" y="4771"/>
                </a:lnTo>
                <a:lnTo>
                  <a:pt x="10002" y="4779"/>
                </a:lnTo>
                <a:lnTo>
                  <a:pt x="10006" y="4788"/>
                </a:lnTo>
                <a:lnTo>
                  <a:pt x="10012" y="4797"/>
                </a:lnTo>
                <a:lnTo>
                  <a:pt x="10022" y="4806"/>
                </a:lnTo>
                <a:lnTo>
                  <a:pt x="10035" y="4817"/>
                </a:lnTo>
                <a:lnTo>
                  <a:pt x="10050" y="4829"/>
                </a:lnTo>
                <a:lnTo>
                  <a:pt x="10065" y="4842"/>
                </a:lnTo>
                <a:lnTo>
                  <a:pt x="10078" y="4857"/>
                </a:lnTo>
                <a:lnTo>
                  <a:pt x="10089" y="4871"/>
                </a:lnTo>
                <a:lnTo>
                  <a:pt x="10094" y="4878"/>
                </a:lnTo>
                <a:lnTo>
                  <a:pt x="10098" y="4886"/>
                </a:lnTo>
                <a:lnTo>
                  <a:pt x="10101" y="4894"/>
                </a:lnTo>
                <a:lnTo>
                  <a:pt x="10103" y="4902"/>
                </a:lnTo>
                <a:lnTo>
                  <a:pt x="10105" y="4910"/>
                </a:lnTo>
                <a:lnTo>
                  <a:pt x="10105" y="4919"/>
                </a:lnTo>
                <a:lnTo>
                  <a:pt x="10104" y="4927"/>
                </a:lnTo>
                <a:lnTo>
                  <a:pt x="10101" y="4936"/>
                </a:lnTo>
                <a:lnTo>
                  <a:pt x="10110" y="4936"/>
                </a:lnTo>
                <a:lnTo>
                  <a:pt x="10119" y="4937"/>
                </a:lnTo>
                <a:lnTo>
                  <a:pt x="10127" y="4939"/>
                </a:lnTo>
                <a:lnTo>
                  <a:pt x="10135" y="4941"/>
                </a:lnTo>
                <a:lnTo>
                  <a:pt x="10142" y="4943"/>
                </a:lnTo>
                <a:lnTo>
                  <a:pt x="10150" y="4946"/>
                </a:lnTo>
                <a:lnTo>
                  <a:pt x="10156" y="4949"/>
                </a:lnTo>
                <a:lnTo>
                  <a:pt x="10162" y="4953"/>
                </a:lnTo>
                <a:lnTo>
                  <a:pt x="10168" y="4957"/>
                </a:lnTo>
                <a:lnTo>
                  <a:pt x="10173" y="4962"/>
                </a:lnTo>
                <a:lnTo>
                  <a:pt x="10177" y="4967"/>
                </a:lnTo>
                <a:lnTo>
                  <a:pt x="10182" y="4973"/>
                </a:lnTo>
                <a:lnTo>
                  <a:pt x="10189" y="4986"/>
                </a:lnTo>
                <a:lnTo>
                  <a:pt x="10195" y="5000"/>
                </a:lnTo>
                <a:lnTo>
                  <a:pt x="10199" y="5015"/>
                </a:lnTo>
                <a:lnTo>
                  <a:pt x="10202" y="5031"/>
                </a:lnTo>
                <a:lnTo>
                  <a:pt x="10204" y="5048"/>
                </a:lnTo>
                <a:lnTo>
                  <a:pt x="10205" y="5067"/>
                </a:lnTo>
                <a:lnTo>
                  <a:pt x="10204" y="5086"/>
                </a:lnTo>
                <a:lnTo>
                  <a:pt x="10202" y="5107"/>
                </a:lnTo>
                <a:lnTo>
                  <a:pt x="10200" y="5127"/>
                </a:lnTo>
                <a:lnTo>
                  <a:pt x="10197" y="5148"/>
                </a:lnTo>
                <a:lnTo>
                  <a:pt x="10215" y="5148"/>
                </a:lnTo>
                <a:lnTo>
                  <a:pt x="10228" y="5148"/>
                </a:lnTo>
                <a:lnTo>
                  <a:pt x="10233" y="5147"/>
                </a:lnTo>
                <a:lnTo>
                  <a:pt x="10238" y="5146"/>
                </a:lnTo>
                <a:lnTo>
                  <a:pt x="10241" y="5145"/>
                </a:lnTo>
                <a:lnTo>
                  <a:pt x="10244" y="5143"/>
                </a:lnTo>
                <a:lnTo>
                  <a:pt x="10246" y="5140"/>
                </a:lnTo>
                <a:lnTo>
                  <a:pt x="10247" y="5137"/>
                </a:lnTo>
                <a:lnTo>
                  <a:pt x="10248" y="5132"/>
                </a:lnTo>
                <a:lnTo>
                  <a:pt x="10249" y="5127"/>
                </a:lnTo>
                <a:lnTo>
                  <a:pt x="10249" y="5114"/>
                </a:lnTo>
                <a:lnTo>
                  <a:pt x="10249" y="5095"/>
                </a:lnTo>
                <a:lnTo>
                  <a:pt x="10259" y="5098"/>
                </a:lnTo>
                <a:lnTo>
                  <a:pt x="10267" y="5102"/>
                </a:lnTo>
                <a:lnTo>
                  <a:pt x="10275" y="5107"/>
                </a:lnTo>
                <a:lnTo>
                  <a:pt x="10280" y="5112"/>
                </a:lnTo>
                <a:lnTo>
                  <a:pt x="10284" y="5117"/>
                </a:lnTo>
                <a:lnTo>
                  <a:pt x="10287" y="5122"/>
                </a:lnTo>
                <a:lnTo>
                  <a:pt x="10289" y="5127"/>
                </a:lnTo>
                <a:lnTo>
                  <a:pt x="10289" y="5133"/>
                </a:lnTo>
                <a:lnTo>
                  <a:pt x="10289" y="5138"/>
                </a:lnTo>
                <a:lnTo>
                  <a:pt x="10287" y="5143"/>
                </a:lnTo>
                <a:lnTo>
                  <a:pt x="10283" y="5147"/>
                </a:lnTo>
                <a:lnTo>
                  <a:pt x="10279" y="5151"/>
                </a:lnTo>
                <a:lnTo>
                  <a:pt x="10274" y="5154"/>
                </a:lnTo>
                <a:lnTo>
                  <a:pt x="10266" y="5157"/>
                </a:lnTo>
                <a:lnTo>
                  <a:pt x="10258" y="5158"/>
                </a:lnTo>
                <a:lnTo>
                  <a:pt x="10249" y="5159"/>
                </a:lnTo>
                <a:lnTo>
                  <a:pt x="10245" y="5168"/>
                </a:lnTo>
                <a:lnTo>
                  <a:pt x="10239" y="5176"/>
                </a:lnTo>
                <a:lnTo>
                  <a:pt x="10233" y="5184"/>
                </a:lnTo>
                <a:lnTo>
                  <a:pt x="10227" y="5191"/>
                </a:lnTo>
                <a:lnTo>
                  <a:pt x="10221" y="5198"/>
                </a:lnTo>
                <a:lnTo>
                  <a:pt x="10214" y="5204"/>
                </a:lnTo>
                <a:lnTo>
                  <a:pt x="10206" y="5210"/>
                </a:lnTo>
                <a:lnTo>
                  <a:pt x="10199" y="5215"/>
                </a:lnTo>
                <a:lnTo>
                  <a:pt x="10183" y="5224"/>
                </a:lnTo>
                <a:lnTo>
                  <a:pt x="10166" y="5233"/>
                </a:lnTo>
                <a:lnTo>
                  <a:pt x="10147" y="5239"/>
                </a:lnTo>
                <a:lnTo>
                  <a:pt x="10128" y="5244"/>
                </a:lnTo>
                <a:lnTo>
                  <a:pt x="10109" y="5247"/>
                </a:lnTo>
                <a:lnTo>
                  <a:pt x="10089" y="5250"/>
                </a:lnTo>
                <a:lnTo>
                  <a:pt x="10070" y="5252"/>
                </a:lnTo>
                <a:lnTo>
                  <a:pt x="10050" y="5253"/>
                </a:lnTo>
                <a:lnTo>
                  <a:pt x="10011" y="5254"/>
                </a:lnTo>
                <a:lnTo>
                  <a:pt x="9974" y="5254"/>
                </a:lnTo>
                <a:lnTo>
                  <a:pt x="9974" y="5241"/>
                </a:lnTo>
                <a:lnTo>
                  <a:pt x="9973" y="5228"/>
                </a:lnTo>
                <a:lnTo>
                  <a:pt x="9972" y="5217"/>
                </a:lnTo>
                <a:lnTo>
                  <a:pt x="9970" y="5209"/>
                </a:lnTo>
                <a:lnTo>
                  <a:pt x="9968" y="5201"/>
                </a:lnTo>
                <a:lnTo>
                  <a:pt x="9965" y="5195"/>
                </a:lnTo>
                <a:lnTo>
                  <a:pt x="9962" y="5190"/>
                </a:lnTo>
                <a:lnTo>
                  <a:pt x="9958" y="5187"/>
                </a:lnTo>
                <a:lnTo>
                  <a:pt x="9952" y="5184"/>
                </a:lnTo>
                <a:lnTo>
                  <a:pt x="9946" y="5183"/>
                </a:lnTo>
                <a:lnTo>
                  <a:pt x="9939" y="5182"/>
                </a:lnTo>
                <a:lnTo>
                  <a:pt x="9932" y="5183"/>
                </a:lnTo>
                <a:lnTo>
                  <a:pt x="9912" y="5187"/>
                </a:lnTo>
                <a:lnTo>
                  <a:pt x="9888" y="5193"/>
                </a:lnTo>
                <a:close/>
                <a:moveTo>
                  <a:pt x="9889" y="5286"/>
                </a:moveTo>
                <a:lnTo>
                  <a:pt x="9889" y="5290"/>
                </a:lnTo>
                <a:lnTo>
                  <a:pt x="9887" y="5295"/>
                </a:lnTo>
                <a:lnTo>
                  <a:pt x="9884" y="5299"/>
                </a:lnTo>
                <a:lnTo>
                  <a:pt x="9881" y="5303"/>
                </a:lnTo>
                <a:lnTo>
                  <a:pt x="9877" y="5307"/>
                </a:lnTo>
                <a:lnTo>
                  <a:pt x="9872" y="5310"/>
                </a:lnTo>
                <a:lnTo>
                  <a:pt x="9867" y="5312"/>
                </a:lnTo>
                <a:lnTo>
                  <a:pt x="9862" y="5314"/>
                </a:lnTo>
                <a:lnTo>
                  <a:pt x="9856" y="5315"/>
                </a:lnTo>
                <a:lnTo>
                  <a:pt x="9851" y="5315"/>
                </a:lnTo>
                <a:lnTo>
                  <a:pt x="9845" y="5315"/>
                </a:lnTo>
                <a:lnTo>
                  <a:pt x="9840" y="5313"/>
                </a:lnTo>
                <a:lnTo>
                  <a:pt x="9836" y="5311"/>
                </a:lnTo>
                <a:lnTo>
                  <a:pt x="9832" y="5307"/>
                </a:lnTo>
                <a:lnTo>
                  <a:pt x="9829" y="5302"/>
                </a:lnTo>
                <a:lnTo>
                  <a:pt x="9826" y="5296"/>
                </a:lnTo>
                <a:lnTo>
                  <a:pt x="9830" y="5297"/>
                </a:lnTo>
                <a:lnTo>
                  <a:pt x="9833" y="5297"/>
                </a:lnTo>
                <a:lnTo>
                  <a:pt x="9835" y="5297"/>
                </a:lnTo>
                <a:lnTo>
                  <a:pt x="9837" y="5296"/>
                </a:lnTo>
                <a:lnTo>
                  <a:pt x="9838" y="5294"/>
                </a:lnTo>
                <a:lnTo>
                  <a:pt x="9838" y="5292"/>
                </a:lnTo>
                <a:lnTo>
                  <a:pt x="9837" y="5289"/>
                </a:lnTo>
                <a:lnTo>
                  <a:pt x="9836" y="5286"/>
                </a:lnTo>
                <a:lnTo>
                  <a:pt x="9850" y="5286"/>
                </a:lnTo>
                <a:lnTo>
                  <a:pt x="9863" y="5286"/>
                </a:lnTo>
                <a:lnTo>
                  <a:pt x="9876" y="5286"/>
                </a:lnTo>
                <a:lnTo>
                  <a:pt x="9889" y="5286"/>
                </a:lnTo>
                <a:close/>
                <a:moveTo>
                  <a:pt x="10684" y="6122"/>
                </a:moveTo>
                <a:lnTo>
                  <a:pt x="10687" y="6135"/>
                </a:lnTo>
                <a:lnTo>
                  <a:pt x="10691" y="6145"/>
                </a:lnTo>
                <a:lnTo>
                  <a:pt x="10694" y="6153"/>
                </a:lnTo>
                <a:lnTo>
                  <a:pt x="10697" y="6159"/>
                </a:lnTo>
                <a:lnTo>
                  <a:pt x="10699" y="6163"/>
                </a:lnTo>
                <a:lnTo>
                  <a:pt x="10702" y="6165"/>
                </a:lnTo>
                <a:lnTo>
                  <a:pt x="10704" y="6165"/>
                </a:lnTo>
                <a:lnTo>
                  <a:pt x="10706" y="6164"/>
                </a:lnTo>
                <a:lnTo>
                  <a:pt x="10708" y="6161"/>
                </a:lnTo>
                <a:lnTo>
                  <a:pt x="10710" y="6156"/>
                </a:lnTo>
                <a:lnTo>
                  <a:pt x="10712" y="6150"/>
                </a:lnTo>
                <a:lnTo>
                  <a:pt x="10713" y="6142"/>
                </a:lnTo>
                <a:lnTo>
                  <a:pt x="10715" y="6124"/>
                </a:lnTo>
                <a:lnTo>
                  <a:pt x="10715" y="6100"/>
                </a:lnTo>
                <a:lnTo>
                  <a:pt x="10719" y="6101"/>
                </a:lnTo>
                <a:lnTo>
                  <a:pt x="10723" y="6102"/>
                </a:lnTo>
                <a:lnTo>
                  <a:pt x="10726" y="6105"/>
                </a:lnTo>
                <a:lnTo>
                  <a:pt x="10729" y="6108"/>
                </a:lnTo>
                <a:lnTo>
                  <a:pt x="10732" y="6114"/>
                </a:lnTo>
                <a:lnTo>
                  <a:pt x="10735" y="6119"/>
                </a:lnTo>
                <a:lnTo>
                  <a:pt x="10738" y="6124"/>
                </a:lnTo>
                <a:lnTo>
                  <a:pt x="10740" y="6131"/>
                </a:lnTo>
                <a:lnTo>
                  <a:pt x="10743" y="6145"/>
                </a:lnTo>
                <a:lnTo>
                  <a:pt x="10745" y="6160"/>
                </a:lnTo>
                <a:lnTo>
                  <a:pt x="10745" y="6177"/>
                </a:lnTo>
                <a:lnTo>
                  <a:pt x="10744" y="6193"/>
                </a:lnTo>
                <a:lnTo>
                  <a:pt x="10742" y="6201"/>
                </a:lnTo>
                <a:lnTo>
                  <a:pt x="10740" y="6209"/>
                </a:lnTo>
                <a:lnTo>
                  <a:pt x="10738" y="6217"/>
                </a:lnTo>
                <a:lnTo>
                  <a:pt x="10735" y="6224"/>
                </a:lnTo>
                <a:lnTo>
                  <a:pt x="10731" y="6231"/>
                </a:lnTo>
                <a:lnTo>
                  <a:pt x="10727" y="6239"/>
                </a:lnTo>
                <a:lnTo>
                  <a:pt x="10723" y="6245"/>
                </a:lnTo>
                <a:lnTo>
                  <a:pt x="10718" y="6250"/>
                </a:lnTo>
                <a:lnTo>
                  <a:pt x="10712" y="6254"/>
                </a:lnTo>
                <a:lnTo>
                  <a:pt x="10705" y="6258"/>
                </a:lnTo>
                <a:lnTo>
                  <a:pt x="10698" y="6261"/>
                </a:lnTo>
                <a:lnTo>
                  <a:pt x="10690" y="6263"/>
                </a:lnTo>
                <a:lnTo>
                  <a:pt x="10682" y="6264"/>
                </a:lnTo>
                <a:lnTo>
                  <a:pt x="10673" y="6264"/>
                </a:lnTo>
                <a:lnTo>
                  <a:pt x="10663" y="6262"/>
                </a:lnTo>
                <a:lnTo>
                  <a:pt x="10652" y="6259"/>
                </a:lnTo>
                <a:lnTo>
                  <a:pt x="10649" y="6217"/>
                </a:lnTo>
                <a:lnTo>
                  <a:pt x="10644" y="6172"/>
                </a:lnTo>
                <a:lnTo>
                  <a:pt x="10644" y="6162"/>
                </a:lnTo>
                <a:lnTo>
                  <a:pt x="10646" y="6153"/>
                </a:lnTo>
                <a:lnTo>
                  <a:pt x="10649" y="6144"/>
                </a:lnTo>
                <a:lnTo>
                  <a:pt x="10653" y="6137"/>
                </a:lnTo>
                <a:lnTo>
                  <a:pt x="10655" y="6134"/>
                </a:lnTo>
                <a:lnTo>
                  <a:pt x="10658" y="6131"/>
                </a:lnTo>
                <a:lnTo>
                  <a:pt x="10661" y="6128"/>
                </a:lnTo>
                <a:lnTo>
                  <a:pt x="10665" y="6126"/>
                </a:lnTo>
                <a:lnTo>
                  <a:pt x="10669" y="6124"/>
                </a:lnTo>
                <a:lnTo>
                  <a:pt x="10673" y="6123"/>
                </a:lnTo>
                <a:lnTo>
                  <a:pt x="10678" y="6122"/>
                </a:lnTo>
                <a:lnTo>
                  <a:pt x="10684" y="6122"/>
                </a:lnTo>
                <a:close/>
                <a:moveTo>
                  <a:pt x="10663" y="5973"/>
                </a:moveTo>
                <a:lnTo>
                  <a:pt x="10680" y="5980"/>
                </a:lnTo>
                <a:lnTo>
                  <a:pt x="10694" y="5984"/>
                </a:lnTo>
                <a:lnTo>
                  <a:pt x="10700" y="5986"/>
                </a:lnTo>
                <a:lnTo>
                  <a:pt x="10706" y="5986"/>
                </a:lnTo>
                <a:lnTo>
                  <a:pt x="10711" y="5986"/>
                </a:lnTo>
                <a:lnTo>
                  <a:pt x="10715" y="5984"/>
                </a:lnTo>
                <a:lnTo>
                  <a:pt x="10719" y="5982"/>
                </a:lnTo>
                <a:lnTo>
                  <a:pt x="10722" y="5980"/>
                </a:lnTo>
                <a:lnTo>
                  <a:pt x="10724" y="5977"/>
                </a:lnTo>
                <a:lnTo>
                  <a:pt x="10726" y="5973"/>
                </a:lnTo>
                <a:lnTo>
                  <a:pt x="10727" y="5969"/>
                </a:lnTo>
                <a:lnTo>
                  <a:pt x="10727" y="5964"/>
                </a:lnTo>
                <a:lnTo>
                  <a:pt x="10727" y="5958"/>
                </a:lnTo>
                <a:lnTo>
                  <a:pt x="10726" y="5952"/>
                </a:lnTo>
                <a:lnTo>
                  <a:pt x="10736" y="5956"/>
                </a:lnTo>
                <a:lnTo>
                  <a:pt x="10744" y="5961"/>
                </a:lnTo>
                <a:lnTo>
                  <a:pt x="10746" y="5964"/>
                </a:lnTo>
                <a:lnTo>
                  <a:pt x="10748" y="5966"/>
                </a:lnTo>
                <a:lnTo>
                  <a:pt x="10750" y="5969"/>
                </a:lnTo>
                <a:lnTo>
                  <a:pt x="10751" y="5972"/>
                </a:lnTo>
                <a:lnTo>
                  <a:pt x="10752" y="5978"/>
                </a:lnTo>
                <a:lnTo>
                  <a:pt x="10750" y="5986"/>
                </a:lnTo>
                <a:lnTo>
                  <a:pt x="10748" y="5993"/>
                </a:lnTo>
                <a:lnTo>
                  <a:pt x="10744" y="6000"/>
                </a:lnTo>
                <a:lnTo>
                  <a:pt x="10734" y="6016"/>
                </a:lnTo>
                <a:lnTo>
                  <a:pt x="10722" y="6033"/>
                </a:lnTo>
                <a:lnTo>
                  <a:pt x="10717" y="6042"/>
                </a:lnTo>
                <a:lnTo>
                  <a:pt x="10712" y="6051"/>
                </a:lnTo>
                <a:lnTo>
                  <a:pt x="10708" y="6060"/>
                </a:lnTo>
                <a:lnTo>
                  <a:pt x="10705" y="6069"/>
                </a:lnTo>
                <a:lnTo>
                  <a:pt x="10694" y="6057"/>
                </a:lnTo>
                <a:lnTo>
                  <a:pt x="10687" y="6047"/>
                </a:lnTo>
                <a:lnTo>
                  <a:pt x="10682" y="6038"/>
                </a:lnTo>
                <a:lnTo>
                  <a:pt x="10679" y="6028"/>
                </a:lnTo>
                <a:lnTo>
                  <a:pt x="10673" y="6006"/>
                </a:lnTo>
                <a:lnTo>
                  <a:pt x="10663" y="5973"/>
                </a:lnTo>
                <a:close/>
                <a:moveTo>
                  <a:pt x="10768" y="6503"/>
                </a:moveTo>
                <a:lnTo>
                  <a:pt x="10768" y="6495"/>
                </a:lnTo>
                <a:lnTo>
                  <a:pt x="10768" y="6486"/>
                </a:lnTo>
                <a:lnTo>
                  <a:pt x="10768" y="6478"/>
                </a:lnTo>
                <a:lnTo>
                  <a:pt x="10768" y="6470"/>
                </a:lnTo>
                <a:lnTo>
                  <a:pt x="10776" y="6473"/>
                </a:lnTo>
                <a:lnTo>
                  <a:pt x="10784" y="6477"/>
                </a:lnTo>
                <a:lnTo>
                  <a:pt x="10792" y="6483"/>
                </a:lnTo>
                <a:lnTo>
                  <a:pt x="10801" y="6491"/>
                </a:lnTo>
                <a:lnTo>
                  <a:pt x="10810" y="6500"/>
                </a:lnTo>
                <a:lnTo>
                  <a:pt x="10819" y="6510"/>
                </a:lnTo>
                <a:lnTo>
                  <a:pt x="10828" y="6521"/>
                </a:lnTo>
                <a:lnTo>
                  <a:pt x="10837" y="6533"/>
                </a:lnTo>
                <a:lnTo>
                  <a:pt x="10855" y="6560"/>
                </a:lnTo>
                <a:lnTo>
                  <a:pt x="10874" y="6591"/>
                </a:lnTo>
                <a:lnTo>
                  <a:pt x="10892" y="6624"/>
                </a:lnTo>
                <a:lnTo>
                  <a:pt x="10910" y="6658"/>
                </a:lnTo>
                <a:lnTo>
                  <a:pt x="10926" y="6692"/>
                </a:lnTo>
                <a:lnTo>
                  <a:pt x="10940" y="6726"/>
                </a:lnTo>
                <a:lnTo>
                  <a:pt x="10953" y="6760"/>
                </a:lnTo>
                <a:lnTo>
                  <a:pt x="10964" y="6792"/>
                </a:lnTo>
                <a:lnTo>
                  <a:pt x="10972" y="6820"/>
                </a:lnTo>
                <a:lnTo>
                  <a:pt x="10978" y="6846"/>
                </a:lnTo>
                <a:lnTo>
                  <a:pt x="10980" y="6857"/>
                </a:lnTo>
                <a:lnTo>
                  <a:pt x="10981" y="6868"/>
                </a:lnTo>
                <a:lnTo>
                  <a:pt x="10981" y="6877"/>
                </a:lnTo>
                <a:lnTo>
                  <a:pt x="10980" y="6884"/>
                </a:lnTo>
                <a:lnTo>
                  <a:pt x="11002" y="6884"/>
                </a:lnTo>
                <a:lnTo>
                  <a:pt x="11024" y="6883"/>
                </a:lnTo>
                <a:lnTo>
                  <a:pt x="11047" y="6881"/>
                </a:lnTo>
                <a:lnTo>
                  <a:pt x="11067" y="6880"/>
                </a:lnTo>
                <a:lnTo>
                  <a:pt x="11087" y="6880"/>
                </a:lnTo>
                <a:lnTo>
                  <a:pt x="11105" y="6880"/>
                </a:lnTo>
                <a:lnTo>
                  <a:pt x="11123" y="6881"/>
                </a:lnTo>
                <a:lnTo>
                  <a:pt x="11138" y="6884"/>
                </a:lnTo>
                <a:lnTo>
                  <a:pt x="11139" y="6890"/>
                </a:lnTo>
                <a:lnTo>
                  <a:pt x="11140" y="6896"/>
                </a:lnTo>
                <a:lnTo>
                  <a:pt x="11142" y="6902"/>
                </a:lnTo>
                <a:lnTo>
                  <a:pt x="11144" y="6907"/>
                </a:lnTo>
                <a:lnTo>
                  <a:pt x="11147" y="6912"/>
                </a:lnTo>
                <a:lnTo>
                  <a:pt x="11150" y="6917"/>
                </a:lnTo>
                <a:lnTo>
                  <a:pt x="11156" y="6922"/>
                </a:lnTo>
                <a:lnTo>
                  <a:pt x="11160" y="6926"/>
                </a:lnTo>
                <a:lnTo>
                  <a:pt x="11171" y="6934"/>
                </a:lnTo>
                <a:lnTo>
                  <a:pt x="11183" y="6941"/>
                </a:lnTo>
                <a:lnTo>
                  <a:pt x="11196" y="6947"/>
                </a:lnTo>
                <a:lnTo>
                  <a:pt x="11210" y="6952"/>
                </a:lnTo>
                <a:lnTo>
                  <a:pt x="11225" y="6957"/>
                </a:lnTo>
                <a:lnTo>
                  <a:pt x="11241" y="6961"/>
                </a:lnTo>
                <a:lnTo>
                  <a:pt x="11256" y="6964"/>
                </a:lnTo>
                <a:lnTo>
                  <a:pt x="11271" y="6966"/>
                </a:lnTo>
                <a:lnTo>
                  <a:pt x="11301" y="6970"/>
                </a:lnTo>
                <a:lnTo>
                  <a:pt x="11326" y="6971"/>
                </a:lnTo>
                <a:lnTo>
                  <a:pt x="11343" y="6972"/>
                </a:lnTo>
                <a:lnTo>
                  <a:pt x="11363" y="6972"/>
                </a:lnTo>
                <a:lnTo>
                  <a:pt x="11385" y="6972"/>
                </a:lnTo>
                <a:lnTo>
                  <a:pt x="11411" y="6970"/>
                </a:lnTo>
                <a:lnTo>
                  <a:pt x="11436" y="6968"/>
                </a:lnTo>
                <a:lnTo>
                  <a:pt x="11463" y="6965"/>
                </a:lnTo>
                <a:lnTo>
                  <a:pt x="11490" y="6961"/>
                </a:lnTo>
                <a:lnTo>
                  <a:pt x="11516" y="6955"/>
                </a:lnTo>
                <a:lnTo>
                  <a:pt x="11543" y="6948"/>
                </a:lnTo>
                <a:lnTo>
                  <a:pt x="11567" y="6940"/>
                </a:lnTo>
                <a:lnTo>
                  <a:pt x="11578" y="6935"/>
                </a:lnTo>
                <a:lnTo>
                  <a:pt x="11588" y="6930"/>
                </a:lnTo>
                <a:lnTo>
                  <a:pt x="11598" y="6924"/>
                </a:lnTo>
                <a:lnTo>
                  <a:pt x="11608" y="6918"/>
                </a:lnTo>
                <a:lnTo>
                  <a:pt x="11616" y="6912"/>
                </a:lnTo>
                <a:lnTo>
                  <a:pt x="11624" y="6905"/>
                </a:lnTo>
                <a:lnTo>
                  <a:pt x="11630" y="6898"/>
                </a:lnTo>
                <a:lnTo>
                  <a:pt x="11636" y="6890"/>
                </a:lnTo>
                <a:lnTo>
                  <a:pt x="11640" y="6881"/>
                </a:lnTo>
                <a:lnTo>
                  <a:pt x="11643" y="6872"/>
                </a:lnTo>
                <a:lnTo>
                  <a:pt x="11645" y="6861"/>
                </a:lnTo>
                <a:lnTo>
                  <a:pt x="11646" y="6851"/>
                </a:lnTo>
                <a:lnTo>
                  <a:pt x="11659" y="6852"/>
                </a:lnTo>
                <a:lnTo>
                  <a:pt x="11670" y="6853"/>
                </a:lnTo>
                <a:lnTo>
                  <a:pt x="11681" y="6856"/>
                </a:lnTo>
                <a:lnTo>
                  <a:pt x="11691" y="6859"/>
                </a:lnTo>
                <a:lnTo>
                  <a:pt x="11701" y="6864"/>
                </a:lnTo>
                <a:lnTo>
                  <a:pt x="11711" y="6870"/>
                </a:lnTo>
                <a:lnTo>
                  <a:pt x="11719" y="6876"/>
                </a:lnTo>
                <a:lnTo>
                  <a:pt x="11727" y="6883"/>
                </a:lnTo>
                <a:lnTo>
                  <a:pt x="11734" y="6891"/>
                </a:lnTo>
                <a:lnTo>
                  <a:pt x="11741" y="6900"/>
                </a:lnTo>
                <a:lnTo>
                  <a:pt x="11746" y="6909"/>
                </a:lnTo>
                <a:lnTo>
                  <a:pt x="11750" y="6920"/>
                </a:lnTo>
                <a:lnTo>
                  <a:pt x="11752" y="6931"/>
                </a:lnTo>
                <a:lnTo>
                  <a:pt x="11754" y="6942"/>
                </a:lnTo>
                <a:lnTo>
                  <a:pt x="11754" y="6955"/>
                </a:lnTo>
                <a:lnTo>
                  <a:pt x="11752" y="6968"/>
                </a:lnTo>
                <a:lnTo>
                  <a:pt x="11795" y="6971"/>
                </a:lnTo>
                <a:lnTo>
                  <a:pt x="11860" y="6975"/>
                </a:lnTo>
                <a:lnTo>
                  <a:pt x="11898" y="6978"/>
                </a:lnTo>
                <a:lnTo>
                  <a:pt x="11939" y="6981"/>
                </a:lnTo>
                <a:lnTo>
                  <a:pt x="11981" y="6985"/>
                </a:lnTo>
                <a:lnTo>
                  <a:pt x="12023" y="6990"/>
                </a:lnTo>
                <a:lnTo>
                  <a:pt x="12065" y="6997"/>
                </a:lnTo>
                <a:lnTo>
                  <a:pt x="12103" y="7004"/>
                </a:lnTo>
                <a:lnTo>
                  <a:pt x="12121" y="7007"/>
                </a:lnTo>
                <a:lnTo>
                  <a:pt x="12137" y="7012"/>
                </a:lnTo>
                <a:lnTo>
                  <a:pt x="12153" y="7016"/>
                </a:lnTo>
                <a:lnTo>
                  <a:pt x="12168" y="7021"/>
                </a:lnTo>
                <a:lnTo>
                  <a:pt x="12181" y="7026"/>
                </a:lnTo>
                <a:lnTo>
                  <a:pt x="12193" y="7032"/>
                </a:lnTo>
                <a:lnTo>
                  <a:pt x="12202" y="7038"/>
                </a:lnTo>
                <a:lnTo>
                  <a:pt x="12210" y="7044"/>
                </a:lnTo>
                <a:lnTo>
                  <a:pt x="12215" y="7051"/>
                </a:lnTo>
                <a:lnTo>
                  <a:pt x="12218" y="7058"/>
                </a:lnTo>
                <a:lnTo>
                  <a:pt x="12219" y="7066"/>
                </a:lnTo>
                <a:lnTo>
                  <a:pt x="12218" y="7074"/>
                </a:lnTo>
                <a:lnTo>
                  <a:pt x="12223" y="7074"/>
                </a:lnTo>
                <a:lnTo>
                  <a:pt x="12229" y="7075"/>
                </a:lnTo>
                <a:lnTo>
                  <a:pt x="12234" y="7076"/>
                </a:lnTo>
                <a:lnTo>
                  <a:pt x="12239" y="7078"/>
                </a:lnTo>
                <a:lnTo>
                  <a:pt x="12248" y="7083"/>
                </a:lnTo>
                <a:lnTo>
                  <a:pt x="12257" y="7090"/>
                </a:lnTo>
                <a:lnTo>
                  <a:pt x="12265" y="7098"/>
                </a:lnTo>
                <a:lnTo>
                  <a:pt x="12272" y="7107"/>
                </a:lnTo>
                <a:lnTo>
                  <a:pt x="12280" y="7117"/>
                </a:lnTo>
                <a:lnTo>
                  <a:pt x="12288" y="7127"/>
                </a:lnTo>
                <a:lnTo>
                  <a:pt x="12295" y="7137"/>
                </a:lnTo>
                <a:lnTo>
                  <a:pt x="12302" y="7147"/>
                </a:lnTo>
                <a:lnTo>
                  <a:pt x="12310" y="7156"/>
                </a:lnTo>
                <a:lnTo>
                  <a:pt x="12318" y="7164"/>
                </a:lnTo>
                <a:lnTo>
                  <a:pt x="12326" y="7170"/>
                </a:lnTo>
                <a:lnTo>
                  <a:pt x="12335" y="7176"/>
                </a:lnTo>
                <a:lnTo>
                  <a:pt x="12340" y="7177"/>
                </a:lnTo>
                <a:lnTo>
                  <a:pt x="12345" y="7179"/>
                </a:lnTo>
                <a:lnTo>
                  <a:pt x="12350" y="7180"/>
                </a:lnTo>
                <a:lnTo>
                  <a:pt x="12356" y="7180"/>
                </a:lnTo>
                <a:lnTo>
                  <a:pt x="12355" y="7187"/>
                </a:lnTo>
                <a:lnTo>
                  <a:pt x="12354" y="7195"/>
                </a:lnTo>
                <a:lnTo>
                  <a:pt x="12355" y="7203"/>
                </a:lnTo>
                <a:lnTo>
                  <a:pt x="12355" y="7212"/>
                </a:lnTo>
                <a:lnTo>
                  <a:pt x="12358" y="7231"/>
                </a:lnTo>
                <a:lnTo>
                  <a:pt x="12363" y="7253"/>
                </a:lnTo>
                <a:lnTo>
                  <a:pt x="12369" y="7274"/>
                </a:lnTo>
                <a:lnTo>
                  <a:pt x="12377" y="7296"/>
                </a:lnTo>
                <a:lnTo>
                  <a:pt x="12386" y="7318"/>
                </a:lnTo>
                <a:lnTo>
                  <a:pt x="12395" y="7339"/>
                </a:lnTo>
                <a:lnTo>
                  <a:pt x="12406" y="7360"/>
                </a:lnTo>
                <a:lnTo>
                  <a:pt x="12419" y="7381"/>
                </a:lnTo>
                <a:lnTo>
                  <a:pt x="12431" y="7398"/>
                </a:lnTo>
                <a:lnTo>
                  <a:pt x="12443" y="7414"/>
                </a:lnTo>
                <a:lnTo>
                  <a:pt x="12450" y="7420"/>
                </a:lnTo>
                <a:lnTo>
                  <a:pt x="12456" y="7426"/>
                </a:lnTo>
                <a:lnTo>
                  <a:pt x="12462" y="7432"/>
                </a:lnTo>
                <a:lnTo>
                  <a:pt x="12468" y="7436"/>
                </a:lnTo>
                <a:lnTo>
                  <a:pt x="12475" y="7440"/>
                </a:lnTo>
                <a:lnTo>
                  <a:pt x="12481" y="7442"/>
                </a:lnTo>
                <a:lnTo>
                  <a:pt x="12487" y="7444"/>
                </a:lnTo>
                <a:lnTo>
                  <a:pt x="12493" y="7444"/>
                </a:lnTo>
                <a:lnTo>
                  <a:pt x="12494" y="7457"/>
                </a:lnTo>
                <a:lnTo>
                  <a:pt x="12495" y="7470"/>
                </a:lnTo>
                <a:lnTo>
                  <a:pt x="12497" y="7485"/>
                </a:lnTo>
                <a:lnTo>
                  <a:pt x="12500" y="7501"/>
                </a:lnTo>
                <a:lnTo>
                  <a:pt x="12504" y="7516"/>
                </a:lnTo>
                <a:lnTo>
                  <a:pt x="12508" y="7532"/>
                </a:lnTo>
                <a:lnTo>
                  <a:pt x="12514" y="7548"/>
                </a:lnTo>
                <a:lnTo>
                  <a:pt x="12520" y="7564"/>
                </a:lnTo>
                <a:lnTo>
                  <a:pt x="12526" y="7579"/>
                </a:lnTo>
                <a:lnTo>
                  <a:pt x="12533" y="7595"/>
                </a:lnTo>
                <a:lnTo>
                  <a:pt x="12542" y="7609"/>
                </a:lnTo>
                <a:lnTo>
                  <a:pt x="12551" y="7624"/>
                </a:lnTo>
                <a:lnTo>
                  <a:pt x="12559" y="7637"/>
                </a:lnTo>
                <a:lnTo>
                  <a:pt x="12569" y="7648"/>
                </a:lnTo>
                <a:lnTo>
                  <a:pt x="12579" y="7658"/>
                </a:lnTo>
                <a:lnTo>
                  <a:pt x="12589" y="7667"/>
                </a:lnTo>
                <a:lnTo>
                  <a:pt x="12595" y="7685"/>
                </a:lnTo>
                <a:lnTo>
                  <a:pt x="12603" y="7705"/>
                </a:lnTo>
                <a:lnTo>
                  <a:pt x="12612" y="7726"/>
                </a:lnTo>
                <a:lnTo>
                  <a:pt x="12623" y="7750"/>
                </a:lnTo>
                <a:lnTo>
                  <a:pt x="12634" y="7774"/>
                </a:lnTo>
                <a:lnTo>
                  <a:pt x="12647" y="7799"/>
                </a:lnTo>
                <a:lnTo>
                  <a:pt x="12661" y="7824"/>
                </a:lnTo>
                <a:lnTo>
                  <a:pt x="12676" y="7849"/>
                </a:lnTo>
                <a:lnTo>
                  <a:pt x="12692" y="7873"/>
                </a:lnTo>
                <a:lnTo>
                  <a:pt x="12708" y="7898"/>
                </a:lnTo>
                <a:lnTo>
                  <a:pt x="12724" y="7920"/>
                </a:lnTo>
                <a:lnTo>
                  <a:pt x="12741" y="7941"/>
                </a:lnTo>
                <a:lnTo>
                  <a:pt x="12758" y="7961"/>
                </a:lnTo>
                <a:lnTo>
                  <a:pt x="12775" y="7978"/>
                </a:lnTo>
                <a:lnTo>
                  <a:pt x="12784" y="7986"/>
                </a:lnTo>
                <a:lnTo>
                  <a:pt x="12794" y="7993"/>
                </a:lnTo>
                <a:lnTo>
                  <a:pt x="12802" y="7999"/>
                </a:lnTo>
                <a:lnTo>
                  <a:pt x="12811" y="8006"/>
                </a:lnTo>
                <a:lnTo>
                  <a:pt x="12808" y="8013"/>
                </a:lnTo>
                <a:lnTo>
                  <a:pt x="12805" y="8020"/>
                </a:lnTo>
                <a:lnTo>
                  <a:pt x="12803" y="8026"/>
                </a:lnTo>
                <a:lnTo>
                  <a:pt x="12802" y="8033"/>
                </a:lnTo>
                <a:lnTo>
                  <a:pt x="12802" y="8040"/>
                </a:lnTo>
                <a:lnTo>
                  <a:pt x="12802" y="8046"/>
                </a:lnTo>
                <a:lnTo>
                  <a:pt x="12803" y="8053"/>
                </a:lnTo>
                <a:lnTo>
                  <a:pt x="12804" y="8060"/>
                </a:lnTo>
                <a:lnTo>
                  <a:pt x="12808" y="8073"/>
                </a:lnTo>
                <a:lnTo>
                  <a:pt x="12814" y="8085"/>
                </a:lnTo>
                <a:lnTo>
                  <a:pt x="12821" y="8098"/>
                </a:lnTo>
                <a:lnTo>
                  <a:pt x="12829" y="8111"/>
                </a:lnTo>
                <a:lnTo>
                  <a:pt x="12847" y="8137"/>
                </a:lnTo>
                <a:lnTo>
                  <a:pt x="12866" y="8163"/>
                </a:lnTo>
                <a:lnTo>
                  <a:pt x="12875" y="8176"/>
                </a:lnTo>
                <a:lnTo>
                  <a:pt x="12883" y="8189"/>
                </a:lnTo>
                <a:lnTo>
                  <a:pt x="12890" y="8203"/>
                </a:lnTo>
                <a:lnTo>
                  <a:pt x="12895" y="8217"/>
                </a:lnTo>
                <a:lnTo>
                  <a:pt x="12894" y="8221"/>
                </a:lnTo>
                <a:lnTo>
                  <a:pt x="12896" y="8234"/>
                </a:lnTo>
                <a:lnTo>
                  <a:pt x="12901" y="8252"/>
                </a:lnTo>
                <a:lnTo>
                  <a:pt x="12907" y="8275"/>
                </a:lnTo>
                <a:lnTo>
                  <a:pt x="12917" y="8297"/>
                </a:lnTo>
                <a:lnTo>
                  <a:pt x="12926" y="8317"/>
                </a:lnTo>
                <a:lnTo>
                  <a:pt x="12932" y="8326"/>
                </a:lnTo>
                <a:lnTo>
                  <a:pt x="12937" y="8334"/>
                </a:lnTo>
                <a:lnTo>
                  <a:pt x="12943" y="8340"/>
                </a:lnTo>
                <a:lnTo>
                  <a:pt x="12948" y="8344"/>
                </a:lnTo>
                <a:lnTo>
                  <a:pt x="12949" y="8351"/>
                </a:lnTo>
                <a:lnTo>
                  <a:pt x="12950" y="8360"/>
                </a:lnTo>
                <a:lnTo>
                  <a:pt x="12952" y="8370"/>
                </a:lnTo>
                <a:lnTo>
                  <a:pt x="12955" y="8382"/>
                </a:lnTo>
                <a:lnTo>
                  <a:pt x="12963" y="8407"/>
                </a:lnTo>
                <a:lnTo>
                  <a:pt x="12974" y="8435"/>
                </a:lnTo>
                <a:lnTo>
                  <a:pt x="12987" y="8466"/>
                </a:lnTo>
                <a:lnTo>
                  <a:pt x="13002" y="8497"/>
                </a:lnTo>
                <a:lnTo>
                  <a:pt x="13019" y="8531"/>
                </a:lnTo>
                <a:lnTo>
                  <a:pt x="13037" y="8563"/>
                </a:lnTo>
                <a:lnTo>
                  <a:pt x="13057" y="8594"/>
                </a:lnTo>
                <a:lnTo>
                  <a:pt x="13077" y="8624"/>
                </a:lnTo>
                <a:lnTo>
                  <a:pt x="13097" y="8652"/>
                </a:lnTo>
                <a:lnTo>
                  <a:pt x="13117" y="8676"/>
                </a:lnTo>
                <a:lnTo>
                  <a:pt x="13127" y="8687"/>
                </a:lnTo>
                <a:lnTo>
                  <a:pt x="13137" y="8696"/>
                </a:lnTo>
                <a:lnTo>
                  <a:pt x="13147" y="8705"/>
                </a:lnTo>
                <a:lnTo>
                  <a:pt x="13156" y="8712"/>
                </a:lnTo>
                <a:lnTo>
                  <a:pt x="13165" y="8717"/>
                </a:lnTo>
                <a:lnTo>
                  <a:pt x="13175" y="8721"/>
                </a:lnTo>
                <a:lnTo>
                  <a:pt x="13184" y="8724"/>
                </a:lnTo>
                <a:lnTo>
                  <a:pt x="13192" y="8725"/>
                </a:lnTo>
                <a:lnTo>
                  <a:pt x="13192" y="8731"/>
                </a:lnTo>
                <a:lnTo>
                  <a:pt x="13190" y="8738"/>
                </a:lnTo>
                <a:lnTo>
                  <a:pt x="13187" y="8744"/>
                </a:lnTo>
                <a:lnTo>
                  <a:pt x="13183" y="8749"/>
                </a:lnTo>
                <a:lnTo>
                  <a:pt x="13175" y="8760"/>
                </a:lnTo>
                <a:lnTo>
                  <a:pt x="13168" y="8768"/>
                </a:lnTo>
                <a:lnTo>
                  <a:pt x="13165" y="8771"/>
                </a:lnTo>
                <a:lnTo>
                  <a:pt x="13165" y="8774"/>
                </a:lnTo>
                <a:lnTo>
                  <a:pt x="13168" y="8777"/>
                </a:lnTo>
                <a:lnTo>
                  <a:pt x="13172" y="8780"/>
                </a:lnTo>
                <a:lnTo>
                  <a:pt x="13179" y="8782"/>
                </a:lnTo>
                <a:lnTo>
                  <a:pt x="13190" y="8784"/>
                </a:lnTo>
                <a:lnTo>
                  <a:pt x="13205" y="8786"/>
                </a:lnTo>
                <a:lnTo>
                  <a:pt x="13223" y="8788"/>
                </a:lnTo>
                <a:lnTo>
                  <a:pt x="13248" y="8788"/>
                </a:lnTo>
                <a:lnTo>
                  <a:pt x="13287" y="8785"/>
                </a:lnTo>
                <a:lnTo>
                  <a:pt x="13307" y="8782"/>
                </a:lnTo>
                <a:lnTo>
                  <a:pt x="13324" y="8779"/>
                </a:lnTo>
                <a:lnTo>
                  <a:pt x="13331" y="8777"/>
                </a:lnTo>
                <a:lnTo>
                  <a:pt x="13336" y="8774"/>
                </a:lnTo>
                <a:lnTo>
                  <a:pt x="13339" y="8771"/>
                </a:lnTo>
                <a:lnTo>
                  <a:pt x="13340" y="8768"/>
                </a:lnTo>
                <a:lnTo>
                  <a:pt x="13376" y="8767"/>
                </a:lnTo>
                <a:lnTo>
                  <a:pt x="13413" y="8765"/>
                </a:lnTo>
                <a:lnTo>
                  <a:pt x="13454" y="8762"/>
                </a:lnTo>
                <a:lnTo>
                  <a:pt x="13494" y="8758"/>
                </a:lnTo>
                <a:lnTo>
                  <a:pt x="13534" y="8751"/>
                </a:lnTo>
                <a:lnTo>
                  <a:pt x="13574" y="8744"/>
                </a:lnTo>
                <a:lnTo>
                  <a:pt x="13593" y="8739"/>
                </a:lnTo>
                <a:lnTo>
                  <a:pt x="13612" y="8735"/>
                </a:lnTo>
                <a:lnTo>
                  <a:pt x="13629" y="8730"/>
                </a:lnTo>
                <a:lnTo>
                  <a:pt x="13647" y="8725"/>
                </a:lnTo>
                <a:lnTo>
                  <a:pt x="13646" y="8737"/>
                </a:lnTo>
                <a:lnTo>
                  <a:pt x="13645" y="8750"/>
                </a:lnTo>
                <a:lnTo>
                  <a:pt x="13644" y="8762"/>
                </a:lnTo>
                <a:lnTo>
                  <a:pt x="13642" y="8774"/>
                </a:lnTo>
                <a:lnTo>
                  <a:pt x="13636" y="8796"/>
                </a:lnTo>
                <a:lnTo>
                  <a:pt x="13629" y="8818"/>
                </a:lnTo>
                <a:lnTo>
                  <a:pt x="13621" y="8839"/>
                </a:lnTo>
                <a:lnTo>
                  <a:pt x="13612" y="8859"/>
                </a:lnTo>
                <a:lnTo>
                  <a:pt x="13602" y="8880"/>
                </a:lnTo>
                <a:lnTo>
                  <a:pt x="13592" y="8900"/>
                </a:lnTo>
                <a:lnTo>
                  <a:pt x="13583" y="8920"/>
                </a:lnTo>
                <a:lnTo>
                  <a:pt x="13574" y="8940"/>
                </a:lnTo>
                <a:lnTo>
                  <a:pt x="13566" y="8961"/>
                </a:lnTo>
                <a:lnTo>
                  <a:pt x="13559" y="8981"/>
                </a:lnTo>
                <a:lnTo>
                  <a:pt x="13556" y="8992"/>
                </a:lnTo>
                <a:lnTo>
                  <a:pt x="13554" y="9003"/>
                </a:lnTo>
                <a:lnTo>
                  <a:pt x="13552" y="9015"/>
                </a:lnTo>
                <a:lnTo>
                  <a:pt x="13551" y="9026"/>
                </a:lnTo>
                <a:lnTo>
                  <a:pt x="13550" y="9038"/>
                </a:lnTo>
                <a:lnTo>
                  <a:pt x="13550" y="9050"/>
                </a:lnTo>
                <a:lnTo>
                  <a:pt x="13551" y="9062"/>
                </a:lnTo>
                <a:lnTo>
                  <a:pt x="13552" y="9074"/>
                </a:lnTo>
                <a:lnTo>
                  <a:pt x="13538" y="9075"/>
                </a:lnTo>
                <a:lnTo>
                  <a:pt x="13528" y="9078"/>
                </a:lnTo>
                <a:lnTo>
                  <a:pt x="13523" y="9080"/>
                </a:lnTo>
                <a:lnTo>
                  <a:pt x="13519" y="9082"/>
                </a:lnTo>
                <a:lnTo>
                  <a:pt x="13516" y="9084"/>
                </a:lnTo>
                <a:lnTo>
                  <a:pt x="13513" y="9087"/>
                </a:lnTo>
                <a:lnTo>
                  <a:pt x="13508" y="9093"/>
                </a:lnTo>
                <a:lnTo>
                  <a:pt x="13504" y="9100"/>
                </a:lnTo>
                <a:lnTo>
                  <a:pt x="13503" y="9108"/>
                </a:lnTo>
                <a:lnTo>
                  <a:pt x="13502" y="9117"/>
                </a:lnTo>
                <a:lnTo>
                  <a:pt x="13505" y="9152"/>
                </a:lnTo>
                <a:lnTo>
                  <a:pt x="13509" y="9180"/>
                </a:lnTo>
                <a:lnTo>
                  <a:pt x="13500" y="9186"/>
                </a:lnTo>
                <a:lnTo>
                  <a:pt x="13492" y="9193"/>
                </a:lnTo>
                <a:lnTo>
                  <a:pt x="13485" y="9199"/>
                </a:lnTo>
                <a:lnTo>
                  <a:pt x="13478" y="9207"/>
                </a:lnTo>
                <a:lnTo>
                  <a:pt x="13466" y="9222"/>
                </a:lnTo>
                <a:lnTo>
                  <a:pt x="13455" y="9238"/>
                </a:lnTo>
                <a:lnTo>
                  <a:pt x="13443" y="9254"/>
                </a:lnTo>
                <a:lnTo>
                  <a:pt x="13430" y="9270"/>
                </a:lnTo>
                <a:lnTo>
                  <a:pt x="13422" y="9278"/>
                </a:lnTo>
                <a:lnTo>
                  <a:pt x="13413" y="9284"/>
                </a:lnTo>
                <a:lnTo>
                  <a:pt x="13403" y="9291"/>
                </a:lnTo>
                <a:lnTo>
                  <a:pt x="13393" y="9297"/>
                </a:lnTo>
                <a:lnTo>
                  <a:pt x="13392" y="9302"/>
                </a:lnTo>
                <a:lnTo>
                  <a:pt x="13391" y="9309"/>
                </a:lnTo>
                <a:lnTo>
                  <a:pt x="13389" y="9315"/>
                </a:lnTo>
                <a:lnTo>
                  <a:pt x="13387" y="9321"/>
                </a:lnTo>
                <a:lnTo>
                  <a:pt x="13380" y="9335"/>
                </a:lnTo>
                <a:lnTo>
                  <a:pt x="13371" y="9348"/>
                </a:lnTo>
                <a:lnTo>
                  <a:pt x="13360" y="9363"/>
                </a:lnTo>
                <a:lnTo>
                  <a:pt x="13347" y="9377"/>
                </a:lnTo>
                <a:lnTo>
                  <a:pt x="13334" y="9393"/>
                </a:lnTo>
                <a:lnTo>
                  <a:pt x="13319" y="9408"/>
                </a:lnTo>
                <a:lnTo>
                  <a:pt x="13289" y="9437"/>
                </a:lnTo>
                <a:lnTo>
                  <a:pt x="13260" y="9465"/>
                </a:lnTo>
                <a:lnTo>
                  <a:pt x="13246" y="9478"/>
                </a:lnTo>
                <a:lnTo>
                  <a:pt x="13234" y="9490"/>
                </a:lnTo>
                <a:lnTo>
                  <a:pt x="13224" y="9501"/>
                </a:lnTo>
                <a:lnTo>
                  <a:pt x="13215" y="9512"/>
                </a:lnTo>
                <a:lnTo>
                  <a:pt x="13206" y="9524"/>
                </a:lnTo>
                <a:lnTo>
                  <a:pt x="13194" y="9536"/>
                </a:lnTo>
                <a:lnTo>
                  <a:pt x="13181" y="9550"/>
                </a:lnTo>
                <a:lnTo>
                  <a:pt x="13166" y="9563"/>
                </a:lnTo>
                <a:lnTo>
                  <a:pt x="13136" y="9593"/>
                </a:lnTo>
                <a:lnTo>
                  <a:pt x="13104" y="9624"/>
                </a:lnTo>
                <a:lnTo>
                  <a:pt x="13088" y="9640"/>
                </a:lnTo>
                <a:lnTo>
                  <a:pt x="13073" y="9656"/>
                </a:lnTo>
                <a:lnTo>
                  <a:pt x="13059" y="9672"/>
                </a:lnTo>
                <a:lnTo>
                  <a:pt x="13047" y="9688"/>
                </a:lnTo>
                <a:lnTo>
                  <a:pt x="13034" y="9703"/>
                </a:lnTo>
                <a:lnTo>
                  <a:pt x="13025" y="9718"/>
                </a:lnTo>
                <a:lnTo>
                  <a:pt x="13021" y="9726"/>
                </a:lnTo>
                <a:lnTo>
                  <a:pt x="13018" y="9733"/>
                </a:lnTo>
                <a:lnTo>
                  <a:pt x="13015" y="9740"/>
                </a:lnTo>
                <a:lnTo>
                  <a:pt x="13013" y="9747"/>
                </a:lnTo>
                <a:lnTo>
                  <a:pt x="13011" y="9747"/>
                </a:lnTo>
                <a:lnTo>
                  <a:pt x="13008" y="9750"/>
                </a:lnTo>
                <a:lnTo>
                  <a:pt x="13004" y="9754"/>
                </a:lnTo>
                <a:lnTo>
                  <a:pt x="12992" y="9766"/>
                </a:lnTo>
                <a:lnTo>
                  <a:pt x="12977" y="9783"/>
                </a:lnTo>
                <a:lnTo>
                  <a:pt x="12939" y="9825"/>
                </a:lnTo>
                <a:lnTo>
                  <a:pt x="12896" y="9875"/>
                </a:lnTo>
                <a:lnTo>
                  <a:pt x="12876" y="9902"/>
                </a:lnTo>
                <a:lnTo>
                  <a:pt x="12857" y="9927"/>
                </a:lnTo>
                <a:lnTo>
                  <a:pt x="12840" y="9950"/>
                </a:lnTo>
                <a:lnTo>
                  <a:pt x="12827" y="9971"/>
                </a:lnTo>
                <a:lnTo>
                  <a:pt x="12822" y="9981"/>
                </a:lnTo>
                <a:lnTo>
                  <a:pt x="12818" y="9990"/>
                </a:lnTo>
                <a:lnTo>
                  <a:pt x="12815" y="9997"/>
                </a:lnTo>
                <a:lnTo>
                  <a:pt x="12813" y="10003"/>
                </a:lnTo>
                <a:lnTo>
                  <a:pt x="12813" y="10009"/>
                </a:lnTo>
                <a:lnTo>
                  <a:pt x="12814" y="10012"/>
                </a:lnTo>
                <a:lnTo>
                  <a:pt x="12817" y="10015"/>
                </a:lnTo>
                <a:lnTo>
                  <a:pt x="12822" y="10016"/>
                </a:lnTo>
                <a:lnTo>
                  <a:pt x="12819" y="10052"/>
                </a:lnTo>
                <a:lnTo>
                  <a:pt x="12812" y="10113"/>
                </a:lnTo>
                <a:lnTo>
                  <a:pt x="12808" y="10151"/>
                </a:lnTo>
                <a:lnTo>
                  <a:pt x="12804" y="10190"/>
                </a:lnTo>
                <a:lnTo>
                  <a:pt x="12800" y="10232"/>
                </a:lnTo>
                <a:lnTo>
                  <a:pt x="12797" y="10275"/>
                </a:lnTo>
                <a:lnTo>
                  <a:pt x="12796" y="10316"/>
                </a:lnTo>
                <a:lnTo>
                  <a:pt x="12795" y="10355"/>
                </a:lnTo>
                <a:lnTo>
                  <a:pt x="12796" y="10374"/>
                </a:lnTo>
                <a:lnTo>
                  <a:pt x="12797" y="10392"/>
                </a:lnTo>
                <a:lnTo>
                  <a:pt x="12798" y="10410"/>
                </a:lnTo>
                <a:lnTo>
                  <a:pt x="12800" y="10425"/>
                </a:lnTo>
                <a:lnTo>
                  <a:pt x="12803" y="10440"/>
                </a:lnTo>
                <a:lnTo>
                  <a:pt x="12806" y="10453"/>
                </a:lnTo>
                <a:lnTo>
                  <a:pt x="12810" y="10464"/>
                </a:lnTo>
                <a:lnTo>
                  <a:pt x="12815" y="10474"/>
                </a:lnTo>
                <a:lnTo>
                  <a:pt x="12821" y="10481"/>
                </a:lnTo>
                <a:lnTo>
                  <a:pt x="12827" y="10487"/>
                </a:lnTo>
                <a:lnTo>
                  <a:pt x="12834" y="10491"/>
                </a:lnTo>
                <a:lnTo>
                  <a:pt x="12843" y="10492"/>
                </a:lnTo>
                <a:lnTo>
                  <a:pt x="12846" y="10519"/>
                </a:lnTo>
                <a:lnTo>
                  <a:pt x="12854" y="10569"/>
                </a:lnTo>
                <a:lnTo>
                  <a:pt x="12865" y="10632"/>
                </a:lnTo>
                <a:lnTo>
                  <a:pt x="12876" y="10702"/>
                </a:lnTo>
                <a:lnTo>
                  <a:pt x="12881" y="10736"/>
                </a:lnTo>
                <a:lnTo>
                  <a:pt x="12885" y="10769"/>
                </a:lnTo>
                <a:lnTo>
                  <a:pt x="12888" y="10801"/>
                </a:lnTo>
                <a:lnTo>
                  <a:pt x="12889" y="10828"/>
                </a:lnTo>
                <a:lnTo>
                  <a:pt x="12889" y="10840"/>
                </a:lnTo>
                <a:lnTo>
                  <a:pt x="12889" y="10851"/>
                </a:lnTo>
                <a:lnTo>
                  <a:pt x="12888" y="10860"/>
                </a:lnTo>
                <a:lnTo>
                  <a:pt x="12886" y="10869"/>
                </a:lnTo>
                <a:lnTo>
                  <a:pt x="12884" y="10875"/>
                </a:lnTo>
                <a:lnTo>
                  <a:pt x="12881" y="10880"/>
                </a:lnTo>
                <a:lnTo>
                  <a:pt x="12878" y="10883"/>
                </a:lnTo>
                <a:lnTo>
                  <a:pt x="12874" y="10884"/>
                </a:lnTo>
                <a:lnTo>
                  <a:pt x="12873" y="10905"/>
                </a:lnTo>
                <a:lnTo>
                  <a:pt x="12871" y="10925"/>
                </a:lnTo>
                <a:lnTo>
                  <a:pt x="12867" y="10944"/>
                </a:lnTo>
                <a:lnTo>
                  <a:pt x="12862" y="10962"/>
                </a:lnTo>
                <a:lnTo>
                  <a:pt x="12857" y="10980"/>
                </a:lnTo>
                <a:lnTo>
                  <a:pt x="12851" y="10997"/>
                </a:lnTo>
                <a:lnTo>
                  <a:pt x="12844" y="11013"/>
                </a:lnTo>
                <a:lnTo>
                  <a:pt x="12837" y="11030"/>
                </a:lnTo>
                <a:lnTo>
                  <a:pt x="12824" y="11062"/>
                </a:lnTo>
                <a:lnTo>
                  <a:pt x="12812" y="11093"/>
                </a:lnTo>
                <a:lnTo>
                  <a:pt x="12807" y="11109"/>
                </a:lnTo>
                <a:lnTo>
                  <a:pt x="12804" y="11125"/>
                </a:lnTo>
                <a:lnTo>
                  <a:pt x="12801" y="11141"/>
                </a:lnTo>
                <a:lnTo>
                  <a:pt x="12801" y="11159"/>
                </a:lnTo>
                <a:lnTo>
                  <a:pt x="12771" y="11176"/>
                </a:lnTo>
                <a:lnTo>
                  <a:pt x="12740" y="11192"/>
                </a:lnTo>
                <a:lnTo>
                  <a:pt x="12726" y="11200"/>
                </a:lnTo>
                <a:lnTo>
                  <a:pt x="12714" y="11210"/>
                </a:lnTo>
                <a:lnTo>
                  <a:pt x="12708" y="11215"/>
                </a:lnTo>
                <a:lnTo>
                  <a:pt x="12703" y="11220"/>
                </a:lnTo>
                <a:lnTo>
                  <a:pt x="12698" y="11226"/>
                </a:lnTo>
                <a:lnTo>
                  <a:pt x="12694" y="11233"/>
                </a:lnTo>
                <a:lnTo>
                  <a:pt x="12689" y="11233"/>
                </a:lnTo>
                <a:lnTo>
                  <a:pt x="12683" y="11234"/>
                </a:lnTo>
                <a:lnTo>
                  <a:pt x="12677" y="11236"/>
                </a:lnTo>
                <a:lnTo>
                  <a:pt x="12672" y="11239"/>
                </a:lnTo>
                <a:lnTo>
                  <a:pt x="12661" y="11245"/>
                </a:lnTo>
                <a:lnTo>
                  <a:pt x="12651" y="11254"/>
                </a:lnTo>
                <a:lnTo>
                  <a:pt x="12642" y="11265"/>
                </a:lnTo>
                <a:lnTo>
                  <a:pt x="12634" y="11276"/>
                </a:lnTo>
                <a:lnTo>
                  <a:pt x="12626" y="11289"/>
                </a:lnTo>
                <a:lnTo>
                  <a:pt x="12618" y="11302"/>
                </a:lnTo>
                <a:lnTo>
                  <a:pt x="12604" y="11327"/>
                </a:lnTo>
                <a:lnTo>
                  <a:pt x="12591" y="11349"/>
                </a:lnTo>
                <a:lnTo>
                  <a:pt x="12585" y="11358"/>
                </a:lnTo>
                <a:lnTo>
                  <a:pt x="12579" y="11365"/>
                </a:lnTo>
                <a:lnTo>
                  <a:pt x="12576" y="11367"/>
                </a:lnTo>
                <a:lnTo>
                  <a:pt x="12573" y="11369"/>
                </a:lnTo>
                <a:lnTo>
                  <a:pt x="12571" y="11370"/>
                </a:lnTo>
                <a:lnTo>
                  <a:pt x="12568" y="11371"/>
                </a:lnTo>
                <a:lnTo>
                  <a:pt x="12567" y="11397"/>
                </a:lnTo>
                <a:lnTo>
                  <a:pt x="12566" y="11425"/>
                </a:lnTo>
                <a:lnTo>
                  <a:pt x="12564" y="11450"/>
                </a:lnTo>
                <a:lnTo>
                  <a:pt x="12561" y="11475"/>
                </a:lnTo>
                <a:lnTo>
                  <a:pt x="12554" y="11525"/>
                </a:lnTo>
                <a:lnTo>
                  <a:pt x="12547" y="11575"/>
                </a:lnTo>
                <a:lnTo>
                  <a:pt x="12539" y="11625"/>
                </a:lnTo>
                <a:lnTo>
                  <a:pt x="12531" y="11678"/>
                </a:lnTo>
                <a:lnTo>
                  <a:pt x="12528" y="11706"/>
                </a:lnTo>
                <a:lnTo>
                  <a:pt x="12526" y="11734"/>
                </a:lnTo>
                <a:lnTo>
                  <a:pt x="12525" y="11763"/>
                </a:lnTo>
                <a:lnTo>
                  <a:pt x="12525" y="11794"/>
                </a:lnTo>
                <a:lnTo>
                  <a:pt x="12525" y="11795"/>
                </a:lnTo>
                <a:lnTo>
                  <a:pt x="12526" y="11797"/>
                </a:lnTo>
                <a:lnTo>
                  <a:pt x="12525" y="11800"/>
                </a:lnTo>
                <a:lnTo>
                  <a:pt x="12524" y="11804"/>
                </a:lnTo>
                <a:lnTo>
                  <a:pt x="12521" y="11816"/>
                </a:lnTo>
                <a:lnTo>
                  <a:pt x="12516" y="11831"/>
                </a:lnTo>
                <a:lnTo>
                  <a:pt x="12503" y="11870"/>
                </a:lnTo>
                <a:lnTo>
                  <a:pt x="12487" y="11915"/>
                </a:lnTo>
                <a:lnTo>
                  <a:pt x="12470" y="11961"/>
                </a:lnTo>
                <a:lnTo>
                  <a:pt x="12455" y="12001"/>
                </a:lnTo>
                <a:lnTo>
                  <a:pt x="12445" y="12032"/>
                </a:lnTo>
                <a:lnTo>
                  <a:pt x="12441" y="12048"/>
                </a:lnTo>
                <a:lnTo>
                  <a:pt x="12425" y="12059"/>
                </a:lnTo>
                <a:lnTo>
                  <a:pt x="12406" y="12074"/>
                </a:lnTo>
                <a:lnTo>
                  <a:pt x="12386" y="12090"/>
                </a:lnTo>
                <a:lnTo>
                  <a:pt x="12364" y="12109"/>
                </a:lnTo>
                <a:lnTo>
                  <a:pt x="12342" y="12130"/>
                </a:lnTo>
                <a:lnTo>
                  <a:pt x="12319" y="12152"/>
                </a:lnTo>
                <a:lnTo>
                  <a:pt x="12297" y="12176"/>
                </a:lnTo>
                <a:lnTo>
                  <a:pt x="12273" y="12200"/>
                </a:lnTo>
                <a:lnTo>
                  <a:pt x="12252" y="12225"/>
                </a:lnTo>
                <a:lnTo>
                  <a:pt x="12232" y="12250"/>
                </a:lnTo>
                <a:lnTo>
                  <a:pt x="12213" y="12275"/>
                </a:lnTo>
                <a:lnTo>
                  <a:pt x="12197" y="12300"/>
                </a:lnTo>
                <a:lnTo>
                  <a:pt x="12190" y="12312"/>
                </a:lnTo>
                <a:lnTo>
                  <a:pt x="12184" y="12324"/>
                </a:lnTo>
                <a:lnTo>
                  <a:pt x="12179" y="12335"/>
                </a:lnTo>
                <a:lnTo>
                  <a:pt x="12174" y="12346"/>
                </a:lnTo>
                <a:lnTo>
                  <a:pt x="12170" y="12357"/>
                </a:lnTo>
                <a:lnTo>
                  <a:pt x="12168" y="12367"/>
                </a:lnTo>
                <a:lnTo>
                  <a:pt x="12166" y="12377"/>
                </a:lnTo>
                <a:lnTo>
                  <a:pt x="12166" y="12386"/>
                </a:lnTo>
                <a:lnTo>
                  <a:pt x="12160" y="12395"/>
                </a:lnTo>
                <a:lnTo>
                  <a:pt x="12143" y="12418"/>
                </a:lnTo>
                <a:lnTo>
                  <a:pt x="12120" y="12450"/>
                </a:lnTo>
                <a:lnTo>
                  <a:pt x="12094" y="12487"/>
                </a:lnTo>
                <a:lnTo>
                  <a:pt x="12066" y="12526"/>
                </a:lnTo>
                <a:lnTo>
                  <a:pt x="12041" y="12563"/>
                </a:lnTo>
                <a:lnTo>
                  <a:pt x="12019" y="12591"/>
                </a:lnTo>
                <a:lnTo>
                  <a:pt x="12006" y="12609"/>
                </a:lnTo>
                <a:lnTo>
                  <a:pt x="11979" y="12611"/>
                </a:lnTo>
                <a:lnTo>
                  <a:pt x="11933" y="12619"/>
                </a:lnTo>
                <a:lnTo>
                  <a:pt x="11874" y="12629"/>
                </a:lnTo>
                <a:lnTo>
                  <a:pt x="11811" y="12642"/>
                </a:lnTo>
                <a:lnTo>
                  <a:pt x="11779" y="12649"/>
                </a:lnTo>
                <a:lnTo>
                  <a:pt x="11749" y="12656"/>
                </a:lnTo>
                <a:lnTo>
                  <a:pt x="11722" y="12664"/>
                </a:lnTo>
                <a:lnTo>
                  <a:pt x="11697" y="12670"/>
                </a:lnTo>
                <a:lnTo>
                  <a:pt x="11676" y="12677"/>
                </a:lnTo>
                <a:lnTo>
                  <a:pt x="11661" y="12683"/>
                </a:lnTo>
                <a:lnTo>
                  <a:pt x="11654" y="12686"/>
                </a:lnTo>
                <a:lnTo>
                  <a:pt x="11650" y="12689"/>
                </a:lnTo>
                <a:lnTo>
                  <a:pt x="11647" y="12691"/>
                </a:lnTo>
                <a:lnTo>
                  <a:pt x="11646" y="12694"/>
                </a:lnTo>
                <a:lnTo>
                  <a:pt x="11632" y="12694"/>
                </a:lnTo>
                <a:lnTo>
                  <a:pt x="11616" y="12696"/>
                </a:lnTo>
                <a:lnTo>
                  <a:pt x="11598" y="12698"/>
                </a:lnTo>
                <a:lnTo>
                  <a:pt x="11579" y="12701"/>
                </a:lnTo>
                <a:lnTo>
                  <a:pt x="11538" y="12707"/>
                </a:lnTo>
                <a:lnTo>
                  <a:pt x="11494" y="12713"/>
                </a:lnTo>
                <a:lnTo>
                  <a:pt x="11472" y="12714"/>
                </a:lnTo>
                <a:lnTo>
                  <a:pt x="11452" y="12715"/>
                </a:lnTo>
                <a:lnTo>
                  <a:pt x="11432" y="12714"/>
                </a:lnTo>
                <a:lnTo>
                  <a:pt x="11414" y="12712"/>
                </a:lnTo>
                <a:lnTo>
                  <a:pt x="11406" y="12710"/>
                </a:lnTo>
                <a:lnTo>
                  <a:pt x="11397" y="12708"/>
                </a:lnTo>
                <a:lnTo>
                  <a:pt x="11389" y="12706"/>
                </a:lnTo>
                <a:lnTo>
                  <a:pt x="11382" y="12702"/>
                </a:lnTo>
                <a:lnTo>
                  <a:pt x="11376" y="12699"/>
                </a:lnTo>
                <a:lnTo>
                  <a:pt x="11370" y="12694"/>
                </a:lnTo>
                <a:lnTo>
                  <a:pt x="11365" y="12689"/>
                </a:lnTo>
                <a:lnTo>
                  <a:pt x="11361" y="12683"/>
                </a:lnTo>
                <a:lnTo>
                  <a:pt x="11360" y="12671"/>
                </a:lnTo>
                <a:lnTo>
                  <a:pt x="11359" y="12657"/>
                </a:lnTo>
                <a:lnTo>
                  <a:pt x="11357" y="12643"/>
                </a:lnTo>
                <a:lnTo>
                  <a:pt x="11355" y="12629"/>
                </a:lnTo>
                <a:lnTo>
                  <a:pt x="11349" y="12601"/>
                </a:lnTo>
                <a:lnTo>
                  <a:pt x="11342" y="12571"/>
                </a:lnTo>
                <a:lnTo>
                  <a:pt x="11334" y="12540"/>
                </a:lnTo>
                <a:lnTo>
                  <a:pt x="11327" y="12506"/>
                </a:lnTo>
                <a:lnTo>
                  <a:pt x="11325" y="12490"/>
                </a:lnTo>
                <a:lnTo>
                  <a:pt x="11322" y="12474"/>
                </a:lnTo>
                <a:lnTo>
                  <a:pt x="11320" y="12457"/>
                </a:lnTo>
                <a:lnTo>
                  <a:pt x="11319" y="12440"/>
                </a:lnTo>
                <a:lnTo>
                  <a:pt x="11316" y="12440"/>
                </a:lnTo>
                <a:lnTo>
                  <a:pt x="11313" y="12438"/>
                </a:lnTo>
                <a:lnTo>
                  <a:pt x="11310" y="12437"/>
                </a:lnTo>
                <a:lnTo>
                  <a:pt x="11308" y="12434"/>
                </a:lnTo>
                <a:lnTo>
                  <a:pt x="11303" y="12427"/>
                </a:lnTo>
                <a:lnTo>
                  <a:pt x="11298" y="12419"/>
                </a:lnTo>
                <a:lnTo>
                  <a:pt x="11291" y="12396"/>
                </a:lnTo>
                <a:lnTo>
                  <a:pt x="11283" y="12371"/>
                </a:lnTo>
                <a:lnTo>
                  <a:pt x="11275" y="12346"/>
                </a:lnTo>
                <a:lnTo>
                  <a:pt x="11266" y="12324"/>
                </a:lnTo>
                <a:lnTo>
                  <a:pt x="11262" y="12315"/>
                </a:lnTo>
                <a:lnTo>
                  <a:pt x="11256" y="12308"/>
                </a:lnTo>
                <a:lnTo>
                  <a:pt x="11254" y="12306"/>
                </a:lnTo>
                <a:lnTo>
                  <a:pt x="11251" y="12304"/>
                </a:lnTo>
                <a:lnTo>
                  <a:pt x="11248" y="12303"/>
                </a:lnTo>
                <a:lnTo>
                  <a:pt x="11244" y="12303"/>
                </a:lnTo>
                <a:lnTo>
                  <a:pt x="11242" y="12293"/>
                </a:lnTo>
                <a:lnTo>
                  <a:pt x="11236" y="12275"/>
                </a:lnTo>
                <a:lnTo>
                  <a:pt x="11226" y="12251"/>
                </a:lnTo>
                <a:lnTo>
                  <a:pt x="11214" y="12222"/>
                </a:lnTo>
                <a:lnTo>
                  <a:pt x="11183" y="12151"/>
                </a:lnTo>
                <a:lnTo>
                  <a:pt x="11147" y="12074"/>
                </a:lnTo>
                <a:lnTo>
                  <a:pt x="11130" y="12036"/>
                </a:lnTo>
                <a:lnTo>
                  <a:pt x="11114" y="11997"/>
                </a:lnTo>
                <a:lnTo>
                  <a:pt x="11100" y="11963"/>
                </a:lnTo>
                <a:lnTo>
                  <a:pt x="11088" y="11932"/>
                </a:lnTo>
                <a:lnTo>
                  <a:pt x="11079" y="11905"/>
                </a:lnTo>
                <a:lnTo>
                  <a:pt x="11073" y="11885"/>
                </a:lnTo>
                <a:lnTo>
                  <a:pt x="11072" y="11878"/>
                </a:lnTo>
                <a:lnTo>
                  <a:pt x="11072" y="11872"/>
                </a:lnTo>
                <a:lnTo>
                  <a:pt x="11073" y="11869"/>
                </a:lnTo>
                <a:lnTo>
                  <a:pt x="11075" y="11868"/>
                </a:lnTo>
                <a:lnTo>
                  <a:pt x="11074" y="11848"/>
                </a:lnTo>
                <a:lnTo>
                  <a:pt x="11070" y="11822"/>
                </a:lnTo>
                <a:lnTo>
                  <a:pt x="11064" y="11793"/>
                </a:lnTo>
                <a:lnTo>
                  <a:pt x="11057" y="11762"/>
                </a:lnTo>
                <a:lnTo>
                  <a:pt x="11049" y="11734"/>
                </a:lnTo>
                <a:lnTo>
                  <a:pt x="11043" y="11710"/>
                </a:lnTo>
                <a:lnTo>
                  <a:pt x="11040" y="11701"/>
                </a:lnTo>
                <a:lnTo>
                  <a:pt x="11037" y="11694"/>
                </a:lnTo>
                <a:lnTo>
                  <a:pt x="11035" y="11690"/>
                </a:lnTo>
                <a:lnTo>
                  <a:pt x="11033" y="11688"/>
                </a:lnTo>
                <a:lnTo>
                  <a:pt x="11033" y="11675"/>
                </a:lnTo>
                <a:lnTo>
                  <a:pt x="11032" y="11661"/>
                </a:lnTo>
                <a:lnTo>
                  <a:pt x="11031" y="11647"/>
                </a:lnTo>
                <a:lnTo>
                  <a:pt x="11029" y="11634"/>
                </a:lnTo>
                <a:lnTo>
                  <a:pt x="11023" y="11608"/>
                </a:lnTo>
                <a:lnTo>
                  <a:pt x="11016" y="11583"/>
                </a:lnTo>
                <a:lnTo>
                  <a:pt x="11008" y="11557"/>
                </a:lnTo>
                <a:lnTo>
                  <a:pt x="10999" y="11533"/>
                </a:lnTo>
                <a:lnTo>
                  <a:pt x="10989" y="11507"/>
                </a:lnTo>
                <a:lnTo>
                  <a:pt x="10980" y="11483"/>
                </a:lnTo>
                <a:lnTo>
                  <a:pt x="10970" y="11458"/>
                </a:lnTo>
                <a:lnTo>
                  <a:pt x="10960" y="11434"/>
                </a:lnTo>
                <a:lnTo>
                  <a:pt x="10951" y="11410"/>
                </a:lnTo>
                <a:lnTo>
                  <a:pt x="10943" y="11385"/>
                </a:lnTo>
                <a:lnTo>
                  <a:pt x="10937" y="11360"/>
                </a:lnTo>
                <a:lnTo>
                  <a:pt x="10932" y="11336"/>
                </a:lnTo>
                <a:lnTo>
                  <a:pt x="10930" y="11324"/>
                </a:lnTo>
                <a:lnTo>
                  <a:pt x="10928" y="11311"/>
                </a:lnTo>
                <a:lnTo>
                  <a:pt x="10927" y="11299"/>
                </a:lnTo>
                <a:lnTo>
                  <a:pt x="10927" y="11286"/>
                </a:lnTo>
                <a:lnTo>
                  <a:pt x="10924" y="11286"/>
                </a:lnTo>
                <a:lnTo>
                  <a:pt x="10921" y="11283"/>
                </a:lnTo>
                <a:lnTo>
                  <a:pt x="10918" y="11279"/>
                </a:lnTo>
                <a:lnTo>
                  <a:pt x="10914" y="11273"/>
                </a:lnTo>
                <a:lnTo>
                  <a:pt x="10907" y="11258"/>
                </a:lnTo>
                <a:lnTo>
                  <a:pt x="10900" y="11239"/>
                </a:lnTo>
                <a:lnTo>
                  <a:pt x="10891" y="11217"/>
                </a:lnTo>
                <a:lnTo>
                  <a:pt x="10884" y="11192"/>
                </a:lnTo>
                <a:lnTo>
                  <a:pt x="10877" y="11166"/>
                </a:lnTo>
                <a:lnTo>
                  <a:pt x="10871" y="11137"/>
                </a:lnTo>
                <a:lnTo>
                  <a:pt x="10865" y="11110"/>
                </a:lnTo>
                <a:lnTo>
                  <a:pt x="10861" y="11083"/>
                </a:lnTo>
                <a:lnTo>
                  <a:pt x="10857" y="11059"/>
                </a:lnTo>
                <a:lnTo>
                  <a:pt x="10855" y="11036"/>
                </a:lnTo>
                <a:lnTo>
                  <a:pt x="10854" y="11017"/>
                </a:lnTo>
                <a:lnTo>
                  <a:pt x="10855" y="11002"/>
                </a:lnTo>
                <a:lnTo>
                  <a:pt x="10857" y="10997"/>
                </a:lnTo>
                <a:lnTo>
                  <a:pt x="10858" y="10993"/>
                </a:lnTo>
                <a:lnTo>
                  <a:pt x="10861" y="10990"/>
                </a:lnTo>
                <a:lnTo>
                  <a:pt x="10863" y="10990"/>
                </a:lnTo>
                <a:lnTo>
                  <a:pt x="10864" y="10961"/>
                </a:lnTo>
                <a:lnTo>
                  <a:pt x="10866" y="10934"/>
                </a:lnTo>
                <a:lnTo>
                  <a:pt x="10868" y="10908"/>
                </a:lnTo>
                <a:lnTo>
                  <a:pt x="10872" y="10881"/>
                </a:lnTo>
                <a:lnTo>
                  <a:pt x="10876" y="10856"/>
                </a:lnTo>
                <a:lnTo>
                  <a:pt x="10882" y="10831"/>
                </a:lnTo>
                <a:lnTo>
                  <a:pt x="10887" y="10807"/>
                </a:lnTo>
                <a:lnTo>
                  <a:pt x="10893" y="10782"/>
                </a:lnTo>
                <a:lnTo>
                  <a:pt x="10907" y="10731"/>
                </a:lnTo>
                <a:lnTo>
                  <a:pt x="10919" y="10679"/>
                </a:lnTo>
                <a:lnTo>
                  <a:pt x="10925" y="10651"/>
                </a:lnTo>
                <a:lnTo>
                  <a:pt x="10931" y="10622"/>
                </a:lnTo>
                <a:lnTo>
                  <a:pt x="10936" y="10592"/>
                </a:lnTo>
                <a:lnTo>
                  <a:pt x="10941" y="10560"/>
                </a:lnTo>
                <a:lnTo>
                  <a:pt x="10944" y="10526"/>
                </a:lnTo>
                <a:lnTo>
                  <a:pt x="10947" y="10492"/>
                </a:lnTo>
                <a:lnTo>
                  <a:pt x="10948" y="10461"/>
                </a:lnTo>
                <a:lnTo>
                  <a:pt x="10948" y="10431"/>
                </a:lnTo>
                <a:lnTo>
                  <a:pt x="10948" y="10402"/>
                </a:lnTo>
                <a:lnTo>
                  <a:pt x="10946" y="10373"/>
                </a:lnTo>
                <a:lnTo>
                  <a:pt x="10943" y="10346"/>
                </a:lnTo>
                <a:lnTo>
                  <a:pt x="10940" y="10320"/>
                </a:lnTo>
                <a:lnTo>
                  <a:pt x="10935" y="10295"/>
                </a:lnTo>
                <a:lnTo>
                  <a:pt x="10931" y="10270"/>
                </a:lnTo>
                <a:lnTo>
                  <a:pt x="10926" y="10244"/>
                </a:lnTo>
                <a:lnTo>
                  <a:pt x="10920" y="10220"/>
                </a:lnTo>
                <a:lnTo>
                  <a:pt x="10908" y="10171"/>
                </a:lnTo>
                <a:lnTo>
                  <a:pt x="10895" y="10121"/>
                </a:lnTo>
                <a:lnTo>
                  <a:pt x="10891" y="10120"/>
                </a:lnTo>
                <a:lnTo>
                  <a:pt x="10886" y="10117"/>
                </a:lnTo>
                <a:lnTo>
                  <a:pt x="10881" y="10112"/>
                </a:lnTo>
                <a:lnTo>
                  <a:pt x="10875" y="10105"/>
                </a:lnTo>
                <a:lnTo>
                  <a:pt x="10862" y="10088"/>
                </a:lnTo>
                <a:lnTo>
                  <a:pt x="10848" y="10068"/>
                </a:lnTo>
                <a:lnTo>
                  <a:pt x="10835" y="10047"/>
                </a:lnTo>
                <a:lnTo>
                  <a:pt x="10824" y="10026"/>
                </a:lnTo>
                <a:lnTo>
                  <a:pt x="10815" y="10007"/>
                </a:lnTo>
                <a:lnTo>
                  <a:pt x="10811" y="9995"/>
                </a:lnTo>
                <a:lnTo>
                  <a:pt x="10795" y="9983"/>
                </a:lnTo>
                <a:lnTo>
                  <a:pt x="10781" y="9971"/>
                </a:lnTo>
                <a:lnTo>
                  <a:pt x="10768" y="9958"/>
                </a:lnTo>
                <a:lnTo>
                  <a:pt x="10756" y="9943"/>
                </a:lnTo>
                <a:lnTo>
                  <a:pt x="10746" y="9928"/>
                </a:lnTo>
                <a:lnTo>
                  <a:pt x="10736" y="9911"/>
                </a:lnTo>
                <a:lnTo>
                  <a:pt x="10728" y="9894"/>
                </a:lnTo>
                <a:lnTo>
                  <a:pt x="10720" y="9876"/>
                </a:lnTo>
                <a:lnTo>
                  <a:pt x="10714" y="9857"/>
                </a:lnTo>
                <a:lnTo>
                  <a:pt x="10709" y="9839"/>
                </a:lnTo>
                <a:lnTo>
                  <a:pt x="10704" y="9819"/>
                </a:lnTo>
                <a:lnTo>
                  <a:pt x="10701" y="9800"/>
                </a:lnTo>
                <a:lnTo>
                  <a:pt x="10698" y="9780"/>
                </a:lnTo>
                <a:lnTo>
                  <a:pt x="10696" y="9759"/>
                </a:lnTo>
                <a:lnTo>
                  <a:pt x="10695" y="9740"/>
                </a:lnTo>
                <a:lnTo>
                  <a:pt x="10694" y="9720"/>
                </a:lnTo>
                <a:lnTo>
                  <a:pt x="10699" y="9713"/>
                </a:lnTo>
                <a:lnTo>
                  <a:pt x="10704" y="9706"/>
                </a:lnTo>
                <a:lnTo>
                  <a:pt x="10709" y="9698"/>
                </a:lnTo>
                <a:lnTo>
                  <a:pt x="10713" y="9689"/>
                </a:lnTo>
                <a:lnTo>
                  <a:pt x="10722" y="9668"/>
                </a:lnTo>
                <a:lnTo>
                  <a:pt x="10729" y="9645"/>
                </a:lnTo>
                <a:lnTo>
                  <a:pt x="10736" y="9619"/>
                </a:lnTo>
                <a:lnTo>
                  <a:pt x="10742" y="9592"/>
                </a:lnTo>
                <a:lnTo>
                  <a:pt x="10747" y="9564"/>
                </a:lnTo>
                <a:lnTo>
                  <a:pt x="10752" y="9536"/>
                </a:lnTo>
                <a:lnTo>
                  <a:pt x="10755" y="9506"/>
                </a:lnTo>
                <a:lnTo>
                  <a:pt x="10758" y="9477"/>
                </a:lnTo>
                <a:lnTo>
                  <a:pt x="10760" y="9449"/>
                </a:lnTo>
                <a:lnTo>
                  <a:pt x="10761" y="9423"/>
                </a:lnTo>
                <a:lnTo>
                  <a:pt x="10761" y="9398"/>
                </a:lnTo>
                <a:lnTo>
                  <a:pt x="10761" y="9375"/>
                </a:lnTo>
                <a:lnTo>
                  <a:pt x="10759" y="9355"/>
                </a:lnTo>
                <a:lnTo>
                  <a:pt x="10757" y="9339"/>
                </a:lnTo>
                <a:lnTo>
                  <a:pt x="10738" y="9330"/>
                </a:lnTo>
                <a:lnTo>
                  <a:pt x="10720" y="9323"/>
                </a:lnTo>
                <a:lnTo>
                  <a:pt x="10704" y="9317"/>
                </a:lnTo>
                <a:lnTo>
                  <a:pt x="10688" y="9312"/>
                </a:lnTo>
                <a:lnTo>
                  <a:pt x="10673" y="9309"/>
                </a:lnTo>
                <a:lnTo>
                  <a:pt x="10658" y="9306"/>
                </a:lnTo>
                <a:lnTo>
                  <a:pt x="10643" y="9305"/>
                </a:lnTo>
                <a:lnTo>
                  <a:pt x="10628" y="9304"/>
                </a:lnTo>
                <a:lnTo>
                  <a:pt x="10599" y="9304"/>
                </a:lnTo>
                <a:lnTo>
                  <a:pt x="10568" y="9305"/>
                </a:lnTo>
                <a:lnTo>
                  <a:pt x="10533" y="9306"/>
                </a:lnTo>
                <a:lnTo>
                  <a:pt x="10493" y="9307"/>
                </a:lnTo>
                <a:lnTo>
                  <a:pt x="10485" y="9295"/>
                </a:lnTo>
                <a:lnTo>
                  <a:pt x="10476" y="9284"/>
                </a:lnTo>
                <a:lnTo>
                  <a:pt x="10464" y="9274"/>
                </a:lnTo>
                <a:lnTo>
                  <a:pt x="10451" y="9266"/>
                </a:lnTo>
                <a:lnTo>
                  <a:pt x="10435" y="9257"/>
                </a:lnTo>
                <a:lnTo>
                  <a:pt x="10418" y="9251"/>
                </a:lnTo>
                <a:lnTo>
                  <a:pt x="10400" y="9245"/>
                </a:lnTo>
                <a:lnTo>
                  <a:pt x="10379" y="9241"/>
                </a:lnTo>
                <a:lnTo>
                  <a:pt x="10359" y="9237"/>
                </a:lnTo>
                <a:lnTo>
                  <a:pt x="10337" y="9234"/>
                </a:lnTo>
                <a:lnTo>
                  <a:pt x="10314" y="9231"/>
                </a:lnTo>
                <a:lnTo>
                  <a:pt x="10290" y="9230"/>
                </a:lnTo>
                <a:lnTo>
                  <a:pt x="10264" y="9229"/>
                </a:lnTo>
                <a:lnTo>
                  <a:pt x="10239" y="9228"/>
                </a:lnTo>
                <a:lnTo>
                  <a:pt x="10214" y="9228"/>
                </a:lnTo>
                <a:lnTo>
                  <a:pt x="10188" y="9229"/>
                </a:lnTo>
                <a:lnTo>
                  <a:pt x="10135" y="9231"/>
                </a:lnTo>
                <a:lnTo>
                  <a:pt x="10083" y="9234"/>
                </a:lnTo>
                <a:lnTo>
                  <a:pt x="10033" y="9238"/>
                </a:lnTo>
                <a:lnTo>
                  <a:pt x="9984" y="9243"/>
                </a:lnTo>
                <a:lnTo>
                  <a:pt x="9940" y="9247"/>
                </a:lnTo>
                <a:lnTo>
                  <a:pt x="9900" y="9250"/>
                </a:lnTo>
                <a:lnTo>
                  <a:pt x="9864" y="9253"/>
                </a:lnTo>
                <a:lnTo>
                  <a:pt x="9836" y="9254"/>
                </a:lnTo>
                <a:lnTo>
                  <a:pt x="9836" y="9260"/>
                </a:lnTo>
                <a:lnTo>
                  <a:pt x="9833" y="9267"/>
                </a:lnTo>
                <a:lnTo>
                  <a:pt x="9829" y="9271"/>
                </a:lnTo>
                <a:lnTo>
                  <a:pt x="9823" y="9275"/>
                </a:lnTo>
                <a:lnTo>
                  <a:pt x="9816" y="9278"/>
                </a:lnTo>
                <a:lnTo>
                  <a:pt x="9807" y="9281"/>
                </a:lnTo>
                <a:lnTo>
                  <a:pt x="9797" y="9282"/>
                </a:lnTo>
                <a:lnTo>
                  <a:pt x="9787" y="9283"/>
                </a:lnTo>
                <a:lnTo>
                  <a:pt x="9775" y="9283"/>
                </a:lnTo>
                <a:lnTo>
                  <a:pt x="9761" y="9283"/>
                </a:lnTo>
                <a:lnTo>
                  <a:pt x="9748" y="9281"/>
                </a:lnTo>
                <a:lnTo>
                  <a:pt x="9734" y="9280"/>
                </a:lnTo>
                <a:lnTo>
                  <a:pt x="9704" y="9275"/>
                </a:lnTo>
                <a:lnTo>
                  <a:pt x="9674" y="9268"/>
                </a:lnTo>
                <a:lnTo>
                  <a:pt x="9642" y="9259"/>
                </a:lnTo>
                <a:lnTo>
                  <a:pt x="9611" y="9249"/>
                </a:lnTo>
                <a:lnTo>
                  <a:pt x="9582" y="9238"/>
                </a:lnTo>
                <a:lnTo>
                  <a:pt x="9555" y="9227"/>
                </a:lnTo>
                <a:lnTo>
                  <a:pt x="9543" y="9221"/>
                </a:lnTo>
                <a:lnTo>
                  <a:pt x="9531" y="9215"/>
                </a:lnTo>
                <a:lnTo>
                  <a:pt x="9521" y="9209"/>
                </a:lnTo>
                <a:lnTo>
                  <a:pt x="9511" y="9203"/>
                </a:lnTo>
                <a:lnTo>
                  <a:pt x="9503" y="9197"/>
                </a:lnTo>
                <a:lnTo>
                  <a:pt x="9496" y="9191"/>
                </a:lnTo>
                <a:lnTo>
                  <a:pt x="9491" y="9186"/>
                </a:lnTo>
                <a:lnTo>
                  <a:pt x="9487" y="9180"/>
                </a:lnTo>
                <a:lnTo>
                  <a:pt x="9480" y="9179"/>
                </a:lnTo>
                <a:lnTo>
                  <a:pt x="9472" y="9178"/>
                </a:lnTo>
                <a:lnTo>
                  <a:pt x="9464" y="9176"/>
                </a:lnTo>
                <a:lnTo>
                  <a:pt x="9455" y="9173"/>
                </a:lnTo>
                <a:lnTo>
                  <a:pt x="9446" y="9169"/>
                </a:lnTo>
                <a:lnTo>
                  <a:pt x="9437" y="9164"/>
                </a:lnTo>
                <a:lnTo>
                  <a:pt x="9428" y="9159"/>
                </a:lnTo>
                <a:lnTo>
                  <a:pt x="9418" y="9153"/>
                </a:lnTo>
                <a:lnTo>
                  <a:pt x="9399" y="9139"/>
                </a:lnTo>
                <a:lnTo>
                  <a:pt x="9379" y="9123"/>
                </a:lnTo>
                <a:lnTo>
                  <a:pt x="9360" y="9106"/>
                </a:lnTo>
                <a:lnTo>
                  <a:pt x="9342" y="9087"/>
                </a:lnTo>
                <a:lnTo>
                  <a:pt x="9324" y="9068"/>
                </a:lnTo>
                <a:lnTo>
                  <a:pt x="9308" y="9048"/>
                </a:lnTo>
                <a:lnTo>
                  <a:pt x="9293" y="9028"/>
                </a:lnTo>
                <a:lnTo>
                  <a:pt x="9280" y="9007"/>
                </a:lnTo>
                <a:lnTo>
                  <a:pt x="9270" y="8987"/>
                </a:lnTo>
                <a:lnTo>
                  <a:pt x="9262" y="8969"/>
                </a:lnTo>
                <a:lnTo>
                  <a:pt x="9258" y="8960"/>
                </a:lnTo>
                <a:lnTo>
                  <a:pt x="9256" y="8952"/>
                </a:lnTo>
                <a:lnTo>
                  <a:pt x="9255" y="8944"/>
                </a:lnTo>
                <a:lnTo>
                  <a:pt x="9254" y="8937"/>
                </a:lnTo>
                <a:lnTo>
                  <a:pt x="9246" y="8931"/>
                </a:lnTo>
                <a:lnTo>
                  <a:pt x="9238" y="8923"/>
                </a:lnTo>
                <a:lnTo>
                  <a:pt x="9229" y="8915"/>
                </a:lnTo>
                <a:lnTo>
                  <a:pt x="9220" y="8906"/>
                </a:lnTo>
                <a:lnTo>
                  <a:pt x="9202" y="8884"/>
                </a:lnTo>
                <a:lnTo>
                  <a:pt x="9184" y="8858"/>
                </a:lnTo>
                <a:lnTo>
                  <a:pt x="9166" y="8830"/>
                </a:lnTo>
                <a:lnTo>
                  <a:pt x="9147" y="8799"/>
                </a:lnTo>
                <a:lnTo>
                  <a:pt x="9129" y="8767"/>
                </a:lnTo>
                <a:lnTo>
                  <a:pt x="9111" y="8733"/>
                </a:lnTo>
                <a:lnTo>
                  <a:pt x="9095" y="8700"/>
                </a:lnTo>
                <a:lnTo>
                  <a:pt x="9080" y="8666"/>
                </a:lnTo>
                <a:lnTo>
                  <a:pt x="9067" y="8634"/>
                </a:lnTo>
                <a:lnTo>
                  <a:pt x="9056" y="8602"/>
                </a:lnTo>
                <a:lnTo>
                  <a:pt x="9046" y="8573"/>
                </a:lnTo>
                <a:lnTo>
                  <a:pt x="9039" y="8546"/>
                </a:lnTo>
                <a:lnTo>
                  <a:pt x="9037" y="8534"/>
                </a:lnTo>
                <a:lnTo>
                  <a:pt x="9035" y="8523"/>
                </a:lnTo>
                <a:lnTo>
                  <a:pt x="9033" y="8512"/>
                </a:lnTo>
                <a:lnTo>
                  <a:pt x="9033" y="8502"/>
                </a:lnTo>
                <a:lnTo>
                  <a:pt x="9026" y="8498"/>
                </a:lnTo>
                <a:lnTo>
                  <a:pt x="9020" y="8494"/>
                </a:lnTo>
                <a:lnTo>
                  <a:pt x="9015" y="8489"/>
                </a:lnTo>
                <a:lnTo>
                  <a:pt x="9010" y="8484"/>
                </a:lnTo>
                <a:lnTo>
                  <a:pt x="9004" y="8478"/>
                </a:lnTo>
                <a:lnTo>
                  <a:pt x="9000" y="8472"/>
                </a:lnTo>
                <a:lnTo>
                  <a:pt x="8997" y="8465"/>
                </a:lnTo>
                <a:lnTo>
                  <a:pt x="8994" y="8459"/>
                </a:lnTo>
                <a:lnTo>
                  <a:pt x="8989" y="8444"/>
                </a:lnTo>
                <a:lnTo>
                  <a:pt x="8986" y="8429"/>
                </a:lnTo>
                <a:lnTo>
                  <a:pt x="8984" y="8414"/>
                </a:lnTo>
                <a:lnTo>
                  <a:pt x="8984" y="8399"/>
                </a:lnTo>
                <a:lnTo>
                  <a:pt x="8985" y="8384"/>
                </a:lnTo>
                <a:lnTo>
                  <a:pt x="8988" y="8369"/>
                </a:lnTo>
                <a:lnTo>
                  <a:pt x="8991" y="8357"/>
                </a:lnTo>
                <a:lnTo>
                  <a:pt x="8996" y="8345"/>
                </a:lnTo>
                <a:lnTo>
                  <a:pt x="9001" y="8336"/>
                </a:lnTo>
                <a:lnTo>
                  <a:pt x="9007" y="8329"/>
                </a:lnTo>
                <a:lnTo>
                  <a:pt x="9011" y="8326"/>
                </a:lnTo>
                <a:lnTo>
                  <a:pt x="9015" y="8324"/>
                </a:lnTo>
                <a:lnTo>
                  <a:pt x="9019" y="8323"/>
                </a:lnTo>
                <a:lnTo>
                  <a:pt x="9022" y="8323"/>
                </a:lnTo>
                <a:lnTo>
                  <a:pt x="9024" y="8314"/>
                </a:lnTo>
                <a:lnTo>
                  <a:pt x="9024" y="8304"/>
                </a:lnTo>
                <a:lnTo>
                  <a:pt x="9024" y="8293"/>
                </a:lnTo>
                <a:lnTo>
                  <a:pt x="9022" y="8280"/>
                </a:lnTo>
                <a:lnTo>
                  <a:pt x="9018" y="8249"/>
                </a:lnTo>
                <a:lnTo>
                  <a:pt x="9011" y="8218"/>
                </a:lnTo>
                <a:lnTo>
                  <a:pt x="9002" y="8185"/>
                </a:lnTo>
                <a:lnTo>
                  <a:pt x="8994" y="8153"/>
                </a:lnTo>
                <a:lnTo>
                  <a:pt x="8986" y="8123"/>
                </a:lnTo>
                <a:lnTo>
                  <a:pt x="8978" y="8098"/>
                </a:lnTo>
                <a:lnTo>
                  <a:pt x="8977" y="8090"/>
                </a:lnTo>
                <a:lnTo>
                  <a:pt x="8977" y="8081"/>
                </a:lnTo>
                <a:lnTo>
                  <a:pt x="8978" y="8073"/>
                </a:lnTo>
                <a:lnTo>
                  <a:pt x="8980" y="8064"/>
                </a:lnTo>
                <a:lnTo>
                  <a:pt x="8986" y="8047"/>
                </a:lnTo>
                <a:lnTo>
                  <a:pt x="8995" y="8029"/>
                </a:lnTo>
                <a:lnTo>
                  <a:pt x="9004" y="8010"/>
                </a:lnTo>
                <a:lnTo>
                  <a:pt x="9014" y="7991"/>
                </a:lnTo>
                <a:lnTo>
                  <a:pt x="9017" y="7981"/>
                </a:lnTo>
                <a:lnTo>
                  <a:pt x="9020" y="7972"/>
                </a:lnTo>
                <a:lnTo>
                  <a:pt x="9022" y="7962"/>
                </a:lnTo>
                <a:lnTo>
                  <a:pt x="9022" y="7952"/>
                </a:lnTo>
                <a:lnTo>
                  <a:pt x="9023" y="7901"/>
                </a:lnTo>
                <a:lnTo>
                  <a:pt x="9024" y="7854"/>
                </a:lnTo>
                <a:lnTo>
                  <a:pt x="9026" y="7832"/>
                </a:lnTo>
                <a:lnTo>
                  <a:pt x="9028" y="7811"/>
                </a:lnTo>
                <a:lnTo>
                  <a:pt x="9031" y="7791"/>
                </a:lnTo>
                <a:lnTo>
                  <a:pt x="9034" y="7770"/>
                </a:lnTo>
                <a:lnTo>
                  <a:pt x="9039" y="7748"/>
                </a:lnTo>
                <a:lnTo>
                  <a:pt x="9045" y="7727"/>
                </a:lnTo>
                <a:lnTo>
                  <a:pt x="9052" y="7706"/>
                </a:lnTo>
                <a:lnTo>
                  <a:pt x="9060" y="7683"/>
                </a:lnTo>
                <a:lnTo>
                  <a:pt x="9069" y="7660"/>
                </a:lnTo>
                <a:lnTo>
                  <a:pt x="9080" y="7635"/>
                </a:lnTo>
                <a:lnTo>
                  <a:pt x="9093" y="7608"/>
                </a:lnTo>
                <a:lnTo>
                  <a:pt x="9107" y="7579"/>
                </a:lnTo>
                <a:lnTo>
                  <a:pt x="9117" y="7561"/>
                </a:lnTo>
                <a:lnTo>
                  <a:pt x="9128" y="7543"/>
                </a:lnTo>
                <a:lnTo>
                  <a:pt x="9139" y="7524"/>
                </a:lnTo>
                <a:lnTo>
                  <a:pt x="9150" y="7506"/>
                </a:lnTo>
                <a:lnTo>
                  <a:pt x="9161" y="7485"/>
                </a:lnTo>
                <a:lnTo>
                  <a:pt x="9172" y="7465"/>
                </a:lnTo>
                <a:lnTo>
                  <a:pt x="9182" y="7444"/>
                </a:lnTo>
                <a:lnTo>
                  <a:pt x="9191" y="7422"/>
                </a:lnTo>
                <a:lnTo>
                  <a:pt x="9199" y="7403"/>
                </a:lnTo>
                <a:lnTo>
                  <a:pt x="9206" y="7390"/>
                </a:lnTo>
                <a:lnTo>
                  <a:pt x="9213" y="7380"/>
                </a:lnTo>
                <a:lnTo>
                  <a:pt x="9219" y="7373"/>
                </a:lnTo>
                <a:lnTo>
                  <a:pt x="9226" y="7368"/>
                </a:lnTo>
                <a:lnTo>
                  <a:pt x="9231" y="7366"/>
                </a:lnTo>
                <a:lnTo>
                  <a:pt x="9237" y="7365"/>
                </a:lnTo>
                <a:lnTo>
                  <a:pt x="9243" y="7365"/>
                </a:lnTo>
                <a:lnTo>
                  <a:pt x="9249" y="7365"/>
                </a:lnTo>
                <a:lnTo>
                  <a:pt x="9256" y="7364"/>
                </a:lnTo>
                <a:lnTo>
                  <a:pt x="9264" y="7363"/>
                </a:lnTo>
                <a:lnTo>
                  <a:pt x="9271" y="7359"/>
                </a:lnTo>
                <a:lnTo>
                  <a:pt x="9279" y="7354"/>
                </a:lnTo>
                <a:lnTo>
                  <a:pt x="9288" y="7345"/>
                </a:lnTo>
                <a:lnTo>
                  <a:pt x="9297" y="7334"/>
                </a:lnTo>
                <a:lnTo>
                  <a:pt x="9308" y="7317"/>
                </a:lnTo>
                <a:lnTo>
                  <a:pt x="9318" y="7311"/>
                </a:lnTo>
                <a:lnTo>
                  <a:pt x="9328" y="7304"/>
                </a:lnTo>
                <a:lnTo>
                  <a:pt x="9337" y="7295"/>
                </a:lnTo>
                <a:lnTo>
                  <a:pt x="9346" y="7286"/>
                </a:lnTo>
                <a:lnTo>
                  <a:pt x="9364" y="7264"/>
                </a:lnTo>
                <a:lnTo>
                  <a:pt x="9381" y="7239"/>
                </a:lnTo>
                <a:lnTo>
                  <a:pt x="9399" y="7214"/>
                </a:lnTo>
                <a:lnTo>
                  <a:pt x="9417" y="7190"/>
                </a:lnTo>
                <a:lnTo>
                  <a:pt x="9426" y="7179"/>
                </a:lnTo>
                <a:lnTo>
                  <a:pt x="9435" y="7168"/>
                </a:lnTo>
                <a:lnTo>
                  <a:pt x="9445" y="7158"/>
                </a:lnTo>
                <a:lnTo>
                  <a:pt x="9456" y="7148"/>
                </a:lnTo>
                <a:lnTo>
                  <a:pt x="9464" y="7137"/>
                </a:lnTo>
                <a:lnTo>
                  <a:pt x="9470" y="7126"/>
                </a:lnTo>
                <a:lnTo>
                  <a:pt x="9472" y="7122"/>
                </a:lnTo>
                <a:lnTo>
                  <a:pt x="9474" y="7116"/>
                </a:lnTo>
                <a:lnTo>
                  <a:pt x="9475" y="7112"/>
                </a:lnTo>
                <a:lnTo>
                  <a:pt x="9475" y="7108"/>
                </a:lnTo>
                <a:lnTo>
                  <a:pt x="9475" y="7104"/>
                </a:lnTo>
                <a:lnTo>
                  <a:pt x="9474" y="7100"/>
                </a:lnTo>
                <a:lnTo>
                  <a:pt x="9473" y="7095"/>
                </a:lnTo>
                <a:lnTo>
                  <a:pt x="9471" y="7091"/>
                </a:lnTo>
                <a:lnTo>
                  <a:pt x="9465" y="7083"/>
                </a:lnTo>
                <a:lnTo>
                  <a:pt x="9456" y="7074"/>
                </a:lnTo>
                <a:lnTo>
                  <a:pt x="9459" y="7072"/>
                </a:lnTo>
                <a:lnTo>
                  <a:pt x="9463" y="7067"/>
                </a:lnTo>
                <a:lnTo>
                  <a:pt x="9467" y="7058"/>
                </a:lnTo>
                <a:lnTo>
                  <a:pt x="9472" y="7048"/>
                </a:lnTo>
                <a:lnTo>
                  <a:pt x="9484" y="7021"/>
                </a:lnTo>
                <a:lnTo>
                  <a:pt x="9497" y="6987"/>
                </a:lnTo>
                <a:lnTo>
                  <a:pt x="9509" y="6953"/>
                </a:lnTo>
                <a:lnTo>
                  <a:pt x="9521" y="6920"/>
                </a:lnTo>
                <a:lnTo>
                  <a:pt x="9525" y="6906"/>
                </a:lnTo>
                <a:lnTo>
                  <a:pt x="9528" y="6893"/>
                </a:lnTo>
                <a:lnTo>
                  <a:pt x="9530" y="6882"/>
                </a:lnTo>
                <a:lnTo>
                  <a:pt x="9530" y="6874"/>
                </a:lnTo>
                <a:lnTo>
                  <a:pt x="9555" y="6837"/>
                </a:lnTo>
                <a:lnTo>
                  <a:pt x="9570" y="6815"/>
                </a:lnTo>
                <a:lnTo>
                  <a:pt x="9575" y="6808"/>
                </a:lnTo>
                <a:lnTo>
                  <a:pt x="9578" y="6803"/>
                </a:lnTo>
                <a:lnTo>
                  <a:pt x="9581" y="6801"/>
                </a:lnTo>
                <a:lnTo>
                  <a:pt x="9583" y="6800"/>
                </a:lnTo>
                <a:lnTo>
                  <a:pt x="9588" y="6802"/>
                </a:lnTo>
                <a:lnTo>
                  <a:pt x="9596" y="6808"/>
                </a:lnTo>
                <a:lnTo>
                  <a:pt x="9602" y="6811"/>
                </a:lnTo>
                <a:lnTo>
                  <a:pt x="9611" y="6815"/>
                </a:lnTo>
                <a:lnTo>
                  <a:pt x="9622" y="6818"/>
                </a:lnTo>
                <a:lnTo>
                  <a:pt x="9635" y="6820"/>
                </a:lnTo>
                <a:lnTo>
                  <a:pt x="9662" y="6788"/>
                </a:lnTo>
                <a:lnTo>
                  <a:pt x="9693" y="6750"/>
                </a:lnTo>
                <a:lnTo>
                  <a:pt x="9701" y="6740"/>
                </a:lnTo>
                <a:lnTo>
                  <a:pt x="9709" y="6731"/>
                </a:lnTo>
                <a:lnTo>
                  <a:pt x="9718" y="6724"/>
                </a:lnTo>
                <a:lnTo>
                  <a:pt x="9727" y="6717"/>
                </a:lnTo>
                <a:lnTo>
                  <a:pt x="9736" y="6711"/>
                </a:lnTo>
                <a:lnTo>
                  <a:pt x="9744" y="6707"/>
                </a:lnTo>
                <a:lnTo>
                  <a:pt x="9753" y="6704"/>
                </a:lnTo>
                <a:lnTo>
                  <a:pt x="9762" y="6703"/>
                </a:lnTo>
                <a:lnTo>
                  <a:pt x="9767" y="6696"/>
                </a:lnTo>
                <a:lnTo>
                  <a:pt x="9772" y="6689"/>
                </a:lnTo>
                <a:lnTo>
                  <a:pt x="9778" y="6683"/>
                </a:lnTo>
                <a:lnTo>
                  <a:pt x="9784" y="6676"/>
                </a:lnTo>
                <a:lnTo>
                  <a:pt x="9790" y="6671"/>
                </a:lnTo>
                <a:lnTo>
                  <a:pt x="9797" y="6666"/>
                </a:lnTo>
                <a:lnTo>
                  <a:pt x="9805" y="6661"/>
                </a:lnTo>
                <a:lnTo>
                  <a:pt x="9812" y="6657"/>
                </a:lnTo>
                <a:lnTo>
                  <a:pt x="9820" y="6653"/>
                </a:lnTo>
                <a:lnTo>
                  <a:pt x="9828" y="6650"/>
                </a:lnTo>
                <a:lnTo>
                  <a:pt x="9837" y="6647"/>
                </a:lnTo>
                <a:lnTo>
                  <a:pt x="9845" y="6645"/>
                </a:lnTo>
                <a:lnTo>
                  <a:pt x="9862" y="6642"/>
                </a:lnTo>
                <a:lnTo>
                  <a:pt x="9879" y="6641"/>
                </a:lnTo>
                <a:lnTo>
                  <a:pt x="9879" y="6646"/>
                </a:lnTo>
                <a:lnTo>
                  <a:pt x="9880" y="6651"/>
                </a:lnTo>
                <a:lnTo>
                  <a:pt x="9883" y="6655"/>
                </a:lnTo>
                <a:lnTo>
                  <a:pt x="9886" y="6658"/>
                </a:lnTo>
                <a:lnTo>
                  <a:pt x="9890" y="6660"/>
                </a:lnTo>
                <a:lnTo>
                  <a:pt x="9895" y="6662"/>
                </a:lnTo>
                <a:lnTo>
                  <a:pt x="9901" y="6663"/>
                </a:lnTo>
                <a:lnTo>
                  <a:pt x="9907" y="6664"/>
                </a:lnTo>
                <a:lnTo>
                  <a:pt x="9920" y="6664"/>
                </a:lnTo>
                <a:lnTo>
                  <a:pt x="9935" y="6662"/>
                </a:lnTo>
                <a:lnTo>
                  <a:pt x="9951" y="6658"/>
                </a:lnTo>
                <a:lnTo>
                  <a:pt x="9967" y="6654"/>
                </a:lnTo>
                <a:lnTo>
                  <a:pt x="10001" y="6643"/>
                </a:lnTo>
                <a:lnTo>
                  <a:pt x="10033" y="6632"/>
                </a:lnTo>
                <a:lnTo>
                  <a:pt x="10056" y="6623"/>
                </a:lnTo>
                <a:lnTo>
                  <a:pt x="10070" y="6620"/>
                </a:lnTo>
                <a:lnTo>
                  <a:pt x="10073" y="6613"/>
                </a:lnTo>
                <a:lnTo>
                  <a:pt x="10077" y="6608"/>
                </a:lnTo>
                <a:lnTo>
                  <a:pt x="10082" y="6602"/>
                </a:lnTo>
                <a:lnTo>
                  <a:pt x="10088" y="6596"/>
                </a:lnTo>
                <a:lnTo>
                  <a:pt x="10101" y="6585"/>
                </a:lnTo>
                <a:lnTo>
                  <a:pt x="10117" y="6574"/>
                </a:lnTo>
                <a:lnTo>
                  <a:pt x="10135" y="6563"/>
                </a:lnTo>
                <a:lnTo>
                  <a:pt x="10155" y="6553"/>
                </a:lnTo>
                <a:lnTo>
                  <a:pt x="10175" y="6543"/>
                </a:lnTo>
                <a:lnTo>
                  <a:pt x="10196" y="6533"/>
                </a:lnTo>
                <a:lnTo>
                  <a:pt x="10217" y="6525"/>
                </a:lnTo>
                <a:lnTo>
                  <a:pt x="10238" y="6517"/>
                </a:lnTo>
                <a:lnTo>
                  <a:pt x="10258" y="6510"/>
                </a:lnTo>
                <a:lnTo>
                  <a:pt x="10278" y="6504"/>
                </a:lnTo>
                <a:lnTo>
                  <a:pt x="10296" y="6499"/>
                </a:lnTo>
                <a:lnTo>
                  <a:pt x="10311" y="6496"/>
                </a:lnTo>
                <a:lnTo>
                  <a:pt x="10324" y="6493"/>
                </a:lnTo>
                <a:lnTo>
                  <a:pt x="10334" y="6493"/>
                </a:lnTo>
                <a:lnTo>
                  <a:pt x="10335" y="6485"/>
                </a:lnTo>
                <a:lnTo>
                  <a:pt x="10338" y="6480"/>
                </a:lnTo>
                <a:lnTo>
                  <a:pt x="10343" y="6475"/>
                </a:lnTo>
                <a:lnTo>
                  <a:pt x="10350" y="6472"/>
                </a:lnTo>
                <a:lnTo>
                  <a:pt x="10359" y="6469"/>
                </a:lnTo>
                <a:lnTo>
                  <a:pt x="10369" y="6467"/>
                </a:lnTo>
                <a:lnTo>
                  <a:pt x="10380" y="6465"/>
                </a:lnTo>
                <a:lnTo>
                  <a:pt x="10393" y="6464"/>
                </a:lnTo>
                <a:lnTo>
                  <a:pt x="10423" y="6464"/>
                </a:lnTo>
                <a:lnTo>
                  <a:pt x="10456" y="6466"/>
                </a:lnTo>
                <a:lnTo>
                  <a:pt x="10491" y="6469"/>
                </a:lnTo>
                <a:lnTo>
                  <a:pt x="10529" y="6473"/>
                </a:lnTo>
                <a:lnTo>
                  <a:pt x="10605" y="6484"/>
                </a:lnTo>
                <a:lnTo>
                  <a:pt x="10676" y="6495"/>
                </a:lnTo>
                <a:lnTo>
                  <a:pt x="10706" y="6499"/>
                </a:lnTo>
                <a:lnTo>
                  <a:pt x="10732" y="6502"/>
                </a:lnTo>
                <a:lnTo>
                  <a:pt x="10753" y="6504"/>
                </a:lnTo>
                <a:lnTo>
                  <a:pt x="10768" y="6503"/>
                </a:lnTo>
                <a:close/>
                <a:moveTo>
                  <a:pt x="10938" y="6418"/>
                </a:moveTo>
                <a:lnTo>
                  <a:pt x="10941" y="6408"/>
                </a:lnTo>
                <a:lnTo>
                  <a:pt x="10945" y="6400"/>
                </a:lnTo>
                <a:lnTo>
                  <a:pt x="10949" y="6394"/>
                </a:lnTo>
                <a:lnTo>
                  <a:pt x="10953" y="6390"/>
                </a:lnTo>
                <a:lnTo>
                  <a:pt x="10958" y="6387"/>
                </a:lnTo>
                <a:lnTo>
                  <a:pt x="10963" y="6387"/>
                </a:lnTo>
                <a:lnTo>
                  <a:pt x="10969" y="6387"/>
                </a:lnTo>
                <a:lnTo>
                  <a:pt x="10974" y="6389"/>
                </a:lnTo>
                <a:lnTo>
                  <a:pt x="10999" y="6402"/>
                </a:lnTo>
                <a:lnTo>
                  <a:pt x="11026" y="6415"/>
                </a:lnTo>
                <a:lnTo>
                  <a:pt x="11040" y="6419"/>
                </a:lnTo>
                <a:lnTo>
                  <a:pt x="11052" y="6423"/>
                </a:lnTo>
                <a:lnTo>
                  <a:pt x="11061" y="6425"/>
                </a:lnTo>
                <a:lnTo>
                  <a:pt x="11069" y="6426"/>
                </a:lnTo>
                <a:lnTo>
                  <a:pt x="11076" y="6426"/>
                </a:lnTo>
                <a:lnTo>
                  <a:pt x="11081" y="6425"/>
                </a:lnTo>
                <a:lnTo>
                  <a:pt x="11086" y="6423"/>
                </a:lnTo>
                <a:lnTo>
                  <a:pt x="11090" y="6421"/>
                </a:lnTo>
                <a:lnTo>
                  <a:pt x="11098" y="6415"/>
                </a:lnTo>
                <a:lnTo>
                  <a:pt x="11107" y="6406"/>
                </a:lnTo>
                <a:lnTo>
                  <a:pt x="11113" y="6402"/>
                </a:lnTo>
                <a:lnTo>
                  <a:pt x="11120" y="6397"/>
                </a:lnTo>
                <a:lnTo>
                  <a:pt x="11128" y="6392"/>
                </a:lnTo>
                <a:lnTo>
                  <a:pt x="11138" y="6387"/>
                </a:lnTo>
                <a:lnTo>
                  <a:pt x="11138" y="6402"/>
                </a:lnTo>
                <a:lnTo>
                  <a:pt x="11137" y="6415"/>
                </a:lnTo>
                <a:lnTo>
                  <a:pt x="11136" y="6427"/>
                </a:lnTo>
                <a:lnTo>
                  <a:pt x="11134" y="6437"/>
                </a:lnTo>
                <a:lnTo>
                  <a:pt x="11132" y="6446"/>
                </a:lnTo>
                <a:lnTo>
                  <a:pt x="11129" y="6454"/>
                </a:lnTo>
                <a:lnTo>
                  <a:pt x="11125" y="6460"/>
                </a:lnTo>
                <a:lnTo>
                  <a:pt x="11121" y="6465"/>
                </a:lnTo>
                <a:lnTo>
                  <a:pt x="11117" y="6469"/>
                </a:lnTo>
                <a:lnTo>
                  <a:pt x="11113" y="6472"/>
                </a:lnTo>
                <a:lnTo>
                  <a:pt x="11108" y="6473"/>
                </a:lnTo>
                <a:lnTo>
                  <a:pt x="11102" y="6474"/>
                </a:lnTo>
                <a:lnTo>
                  <a:pt x="11096" y="6474"/>
                </a:lnTo>
                <a:lnTo>
                  <a:pt x="11090" y="6474"/>
                </a:lnTo>
                <a:lnTo>
                  <a:pt x="11084" y="6472"/>
                </a:lnTo>
                <a:lnTo>
                  <a:pt x="11077" y="6470"/>
                </a:lnTo>
                <a:lnTo>
                  <a:pt x="11047" y="6458"/>
                </a:lnTo>
                <a:lnTo>
                  <a:pt x="11012" y="6441"/>
                </a:lnTo>
                <a:lnTo>
                  <a:pt x="10994" y="6433"/>
                </a:lnTo>
                <a:lnTo>
                  <a:pt x="10976" y="6427"/>
                </a:lnTo>
                <a:lnTo>
                  <a:pt x="10966" y="6424"/>
                </a:lnTo>
                <a:lnTo>
                  <a:pt x="10957" y="6421"/>
                </a:lnTo>
                <a:lnTo>
                  <a:pt x="10947" y="6419"/>
                </a:lnTo>
                <a:lnTo>
                  <a:pt x="10938" y="6418"/>
                </a:lnTo>
                <a:close/>
                <a:moveTo>
                  <a:pt x="13446" y="10831"/>
                </a:moveTo>
                <a:lnTo>
                  <a:pt x="13446" y="10819"/>
                </a:lnTo>
                <a:lnTo>
                  <a:pt x="13447" y="10809"/>
                </a:lnTo>
                <a:lnTo>
                  <a:pt x="13449" y="10803"/>
                </a:lnTo>
                <a:lnTo>
                  <a:pt x="13452" y="10798"/>
                </a:lnTo>
                <a:lnTo>
                  <a:pt x="13462" y="10789"/>
                </a:lnTo>
                <a:lnTo>
                  <a:pt x="13477" y="10778"/>
                </a:lnTo>
                <a:lnTo>
                  <a:pt x="13481" y="10797"/>
                </a:lnTo>
                <a:lnTo>
                  <a:pt x="13485" y="10812"/>
                </a:lnTo>
                <a:lnTo>
                  <a:pt x="13486" y="10818"/>
                </a:lnTo>
                <a:lnTo>
                  <a:pt x="13486" y="10824"/>
                </a:lnTo>
                <a:lnTo>
                  <a:pt x="13486" y="10828"/>
                </a:lnTo>
                <a:lnTo>
                  <a:pt x="13485" y="10832"/>
                </a:lnTo>
                <a:lnTo>
                  <a:pt x="13484" y="10834"/>
                </a:lnTo>
                <a:lnTo>
                  <a:pt x="13482" y="10836"/>
                </a:lnTo>
                <a:lnTo>
                  <a:pt x="13479" y="10838"/>
                </a:lnTo>
                <a:lnTo>
                  <a:pt x="13474" y="10838"/>
                </a:lnTo>
                <a:lnTo>
                  <a:pt x="13463" y="10836"/>
                </a:lnTo>
                <a:lnTo>
                  <a:pt x="13446" y="10831"/>
                </a:lnTo>
                <a:close/>
                <a:moveTo>
                  <a:pt x="9520" y="5179"/>
                </a:moveTo>
                <a:lnTo>
                  <a:pt x="9509" y="5169"/>
                </a:lnTo>
                <a:lnTo>
                  <a:pt x="9503" y="5159"/>
                </a:lnTo>
                <a:lnTo>
                  <a:pt x="9498" y="5150"/>
                </a:lnTo>
                <a:lnTo>
                  <a:pt x="9495" y="5141"/>
                </a:lnTo>
                <a:lnTo>
                  <a:pt x="9494" y="5133"/>
                </a:lnTo>
                <a:lnTo>
                  <a:pt x="9494" y="5124"/>
                </a:lnTo>
                <a:lnTo>
                  <a:pt x="9495" y="5116"/>
                </a:lnTo>
                <a:lnTo>
                  <a:pt x="9498" y="5107"/>
                </a:lnTo>
                <a:lnTo>
                  <a:pt x="9505" y="5090"/>
                </a:lnTo>
                <a:lnTo>
                  <a:pt x="9515" y="5072"/>
                </a:lnTo>
                <a:lnTo>
                  <a:pt x="9520" y="5063"/>
                </a:lnTo>
                <a:lnTo>
                  <a:pt x="9524" y="5053"/>
                </a:lnTo>
                <a:lnTo>
                  <a:pt x="9528" y="5043"/>
                </a:lnTo>
                <a:lnTo>
                  <a:pt x="9530" y="5032"/>
                </a:lnTo>
                <a:lnTo>
                  <a:pt x="9522" y="5029"/>
                </a:lnTo>
                <a:lnTo>
                  <a:pt x="9515" y="5026"/>
                </a:lnTo>
                <a:lnTo>
                  <a:pt x="9508" y="5024"/>
                </a:lnTo>
                <a:lnTo>
                  <a:pt x="9504" y="5021"/>
                </a:lnTo>
                <a:lnTo>
                  <a:pt x="9502" y="5019"/>
                </a:lnTo>
                <a:lnTo>
                  <a:pt x="9501" y="5016"/>
                </a:lnTo>
                <a:lnTo>
                  <a:pt x="9501" y="5014"/>
                </a:lnTo>
                <a:lnTo>
                  <a:pt x="9502" y="5011"/>
                </a:lnTo>
                <a:lnTo>
                  <a:pt x="9508" y="5006"/>
                </a:lnTo>
                <a:lnTo>
                  <a:pt x="9519" y="5000"/>
                </a:lnTo>
                <a:lnTo>
                  <a:pt x="9531" y="4995"/>
                </a:lnTo>
                <a:lnTo>
                  <a:pt x="9546" y="4989"/>
                </a:lnTo>
                <a:lnTo>
                  <a:pt x="9578" y="4979"/>
                </a:lnTo>
                <a:lnTo>
                  <a:pt x="9609" y="4967"/>
                </a:lnTo>
                <a:lnTo>
                  <a:pt x="9623" y="4962"/>
                </a:lnTo>
                <a:lnTo>
                  <a:pt x="9634" y="4957"/>
                </a:lnTo>
                <a:lnTo>
                  <a:pt x="9638" y="4954"/>
                </a:lnTo>
                <a:lnTo>
                  <a:pt x="9643" y="4952"/>
                </a:lnTo>
                <a:lnTo>
                  <a:pt x="9645" y="4949"/>
                </a:lnTo>
                <a:lnTo>
                  <a:pt x="9647" y="4947"/>
                </a:lnTo>
                <a:lnTo>
                  <a:pt x="9640" y="4946"/>
                </a:lnTo>
                <a:lnTo>
                  <a:pt x="9633" y="4945"/>
                </a:lnTo>
                <a:lnTo>
                  <a:pt x="9627" y="4943"/>
                </a:lnTo>
                <a:lnTo>
                  <a:pt x="9622" y="4940"/>
                </a:lnTo>
                <a:lnTo>
                  <a:pt x="9617" y="4937"/>
                </a:lnTo>
                <a:lnTo>
                  <a:pt x="9612" y="4933"/>
                </a:lnTo>
                <a:lnTo>
                  <a:pt x="9608" y="4929"/>
                </a:lnTo>
                <a:lnTo>
                  <a:pt x="9605" y="4925"/>
                </a:lnTo>
                <a:lnTo>
                  <a:pt x="9602" y="4920"/>
                </a:lnTo>
                <a:lnTo>
                  <a:pt x="9599" y="4914"/>
                </a:lnTo>
                <a:lnTo>
                  <a:pt x="9597" y="4909"/>
                </a:lnTo>
                <a:lnTo>
                  <a:pt x="9596" y="4903"/>
                </a:lnTo>
                <a:lnTo>
                  <a:pt x="9596" y="4897"/>
                </a:lnTo>
                <a:lnTo>
                  <a:pt x="9597" y="4891"/>
                </a:lnTo>
                <a:lnTo>
                  <a:pt x="9598" y="4885"/>
                </a:lnTo>
                <a:lnTo>
                  <a:pt x="9600" y="4880"/>
                </a:lnTo>
                <a:lnTo>
                  <a:pt x="9603" y="4874"/>
                </a:lnTo>
                <a:lnTo>
                  <a:pt x="9606" y="4871"/>
                </a:lnTo>
                <a:lnTo>
                  <a:pt x="9610" y="4870"/>
                </a:lnTo>
                <a:lnTo>
                  <a:pt x="9613" y="4871"/>
                </a:lnTo>
                <a:lnTo>
                  <a:pt x="9622" y="4876"/>
                </a:lnTo>
                <a:lnTo>
                  <a:pt x="9631" y="4885"/>
                </a:lnTo>
                <a:lnTo>
                  <a:pt x="9642" y="4895"/>
                </a:lnTo>
                <a:lnTo>
                  <a:pt x="9653" y="4903"/>
                </a:lnTo>
                <a:lnTo>
                  <a:pt x="9659" y="4906"/>
                </a:lnTo>
                <a:lnTo>
                  <a:pt x="9665" y="4907"/>
                </a:lnTo>
                <a:lnTo>
                  <a:pt x="9672" y="4907"/>
                </a:lnTo>
                <a:lnTo>
                  <a:pt x="9678" y="4905"/>
                </a:lnTo>
                <a:lnTo>
                  <a:pt x="9696" y="4901"/>
                </a:lnTo>
                <a:lnTo>
                  <a:pt x="9715" y="4894"/>
                </a:lnTo>
                <a:lnTo>
                  <a:pt x="9725" y="4891"/>
                </a:lnTo>
                <a:lnTo>
                  <a:pt x="9734" y="4888"/>
                </a:lnTo>
                <a:lnTo>
                  <a:pt x="9743" y="4885"/>
                </a:lnTo>
                <a:lnTo>
                  <a:pt x="9752" y="4884"/>
                </a:lnTo>
                <a:lnTo>
                  <a:pt x="9755" y="4884"/>
                </a:lnTo>
                <a:lnTo>
                  <a:pt x="9759" y="4885"/>
                </a:lnTo>
                <a:lnTo>
                  <a:pt x="9762" y="4886"/>
                </a:lnTo>
                <a:lnTo>
                  <a:pt x="9766" y="4887"/>
                </a:lnTo>
                <a:lnTo>
                  <a:pt x="9768" y="4889"/>
                </a:lnTo>
                <a:lnTo>
                  <a:pt x="9770" y="4892"/>
                </a:lnTo>
                <a:lnTo>
                  <a:pt x="9772" y="4895"/>
                </a:lnTo>
                <a:lnTo>
                  <a:pt x="9773" y="4899"/>
                </a:lnTo>
                <a:lnTo>
                  <a:pt x="9774" y="4903"/>
                </a:lnTo>
                <a:lnTo>
                  <a:pt x="9774" y="4909"/>
                </a:lnTo>
                <a:lnTo>
                  <a:pt x="9774" y="4915"/>
                </a:lnTo>
                <a:lnTo>
                  <a:pt x="9773" y="4922"/>
                </a:lnTo>
                <a:lnTo>
                  <a:pt x="9769" y="4939"/>
                </a:lnTo>
                <a:lnTo>
                  <a:pt x="9761" y="4960"/>
                </a:lnTo>
                <a:lnTo>
                  <a:pt x="9753" y="4984"/>
                </a:lnTo>
                <a:lnTo>
                  <a:pt x="9745" y="5006"/>
                </a:lnTo>
                <a:lnTo>
                  <a:pt x="9736" y="5027"/>
                </a:lnTo>
                <a:lnTo>
                  <a:pt x="9727" y="5047"/>
                </a:lnTo>
                <a:lnTo>
                  <a:pt x="9718" y="5066"/>
                </a:lnTo>
                <a:lnTo>
                  <a:pt x="9707" y="5084"/>
                </a:lnTo>
                <a:lnTo>
                  <a:pt x="9696" y="5100"/>
                </a:lnTo>
                <a:lnTo>
                  <a:pt x="9684" y="5116"/>
                </a:lnTo>
                <a:lnTo>
                  <a:pt x="9677" y="5123"/>
                </a:lnTo>
                <a:lnTo>
                  <a:pt x="9670" y="5130"/>
                </a:lnTo>
                <a:lnTo>
                  <a:pt x="9662" y="5136"/>
                </a:lnTo>
                <a:lnTo>
                  <a:pt x="9654" y="5142"/>
                </a:lnTo>
                <a:lnTo>
                  <a:pt x="9646" y="5148"/>
                </a:lnTo>
                <a:lnTo>
                  <a:pt x="9636" y="5153"/>
                </a:lnTo>
                <a:lnTo>
                  <a:pt x="9627" y="5158"/>
                </a:lnTo>
                <a:lnTo>
                  <a:pt x="9617" y="5162"/>
                </a:lnTo>
                <a:lnTo>
                  <a:pt x="9607" y="5166"/>
                </a:lnTo>
                <a:lnTo>
                  <a:pt x="9596" y="5169"/>
                </a:lnTo>
                <a:lnTo>
                  <a:pt x="9585" y="5172"/>
                </a:lnTo>
                <a:lnTo>
                  <a:pt x="9573" y="5175"/>
                </a:lnTo>
                <a:lnTo>
                  <a:pt x="9561" y="5177"/>
                </a:lnTo>
                <a:lnTo>
                  <a:pt x="9548" y="5178"/>
                </a:lnTo>
                <a:lnTo>
                  <a:pt x="9534" y="5179"/>
                </a:lnTo>
                <a:lnTo>
                  <a:pt x="9520" y="5179"/>
                </a:lnTo>
                <a:close/>
                <a:moveTo>
                  <a:pt x="8577" y="3974"/>
                </a:moveTo>
                <a:lnTo>
                  <a:pt x="8596" y="3965"/>
                </a:lnTo>
                <a:lnTo>
                  <a:pt x="8640" y="3947"/>
                </a:lnTo>
                <a:lnTo>
                  <a:pt x="8664" y="3937"/>
                </a:lnTo>
                <a:lnTo>
                  <a:pt x="8687" y="3929"/>
                </a:lnTo>
                <a:lnTo>
                  <a:pt x="8704" y="3923"/>
                </a:lnTo>
                <a:lnTo>
                  <a:pt x="8715" y="3920"/>
                </a:lnTo>
                <a:lnTo>
                  <a:pt x="8714" y="3927"/>
                </a:lnTo>
                <a:lnTo>
                  <a:pt x="8712" y="3931"/>
                </a:lnTo>
                <a:lnTo>
                  <a:pt x="8709" y="3934"/>
                </a:lnTo>
                <a:lnTo>
                  <a:pt x="8707" y="3935"/>
                </a:lnTo>
                <a:lnTo>
                  <a:pt x="8707" y="3936"/>
                </a:lnTo>
                <a:lnTo>
                  <a:pt x="8709" y="3937"/>
                </a:lnTo>
                <a:lnTo>
                  <a:pt x="8715" y="3939"/>
                </a:lnTo>
                <a:lnTo>
                  <a:pt x="8725" y="3941"/>
                </a:lnTo>
                <a:lnTo>
                  <a:pt x="8727" y="3950"/>
                </a:lnTo>
                <a:lnTo>
                  <a:pt x="8727" y="3961"/>
                </a:lnTo>
                <a:lnTo>
                  <a:pt x="8727" y="3974"/>
                </a:lnTo>
                <a:lnTo>
                  <a:pt x="8727" y="3986"/>
                </a:lnTo>
                <a:lnTo>
                  <a:pt x="8725" y="4007"/>
                </a:lnTo>
                <a:lnTo>
                  <a:pt x="8725" y="4016"/>
                </a:lnTo>
                <a:lnTo>
                  <a:pt x="8726" y="4018"/>
                </a:lnTo>
                <a:lnTo>
                  <a:pt x="8727" y="4020"/>
                </a:lnTo>
                <a:lnTo>
                  <a:pt x="8729" y="4021"/>
                </a:lnTo>
                <a:lnTo>
                  <a:pt x="8732" y="4022"/>
                </a:lnTo>
                <a:lnTo>
                  <a:pt x="8740" y="4022"/>
                </a:lnTo>
                <a:lnTo>
                  <a:pt x="8751" y="4022"/>
                </a:lnTo>
                <a:lnTo>
                  <a:pt x="8779" y="4017"/>
                </a:lnTo>
                <a:lnTo>
                  <a:pt x="8810" y="4010"/>
                </a:lnTo>
                <a:lnTo>
                  <a:pt x="8842" y="4001"/>
                </a:lnTo>
                <a:lnTo>
                  <a:pt x="8872" y="3993"/>
                </a:lnTo>
                <a:lnTo>
                  <a:pt x="8897" y="3986"/>
                </a:lnTo>
                <a:lnTo>
                  <a:pt x="8912" y="3983"/>
                </a:lnTo>
                <a:lnTo>
                  <a:pt x="8935" y="3979"/>
                </a:lnTo>
                <a:lnTo>
                  <a:pt x="8955" y="3974"/>
                </a:lnTo>
                <a:lnTo>
                  <a:pt x="8974" y="3967"/>
                </a:lnTo>
                <a:lnTo>
                  <a:pt x="8991" y="3961"/>
                </a:lnTo>
                <a:lnTo>
                  <a:pt x="9020" y="3949"/>
                </a:lnTo>
                <a:lnTo>
                  <a:pt x="9041" y="3941"/>
                </a:lnTo>
                <a:lnTo>
                  <a:pt x="9046" y="3940"/>
                </a:lnTo>
                <a:lnTo>
                  <a:pt x="9050" y="3940"/>
                </a:lnTo>
                <a:lnTo>
                  <a:pt x="9054" y="3940"/>
                </a:lnTo>
                <a:lnTo>
                  <a:pt x="9057" y="3940"/>
                </a:lnTo>
                <a:lnTo>
                  <a:pt x="9060" y="3942"/>
                </a:lnTo>
                <a:lnTo>
                  <a:pt x="9063" y="3944"/>
                </a:lnTo>
                <a:lnTo>
                  <a:pt x="9065" y="3947"/>
                </a:lnTo>
                <a:lnTo>
                  <a:pt x="9067" y="3950"/>
                </a:lnTo>
                <a:lnTo>
                  <a:pt x="9071" y="3960"/>
                </a:lnTo>
                <a:lnTo>
                  <a:pt x="9073" y="3975"/>
                </a:lnTo>
                <a:lnTo>
                  <a:pt x="9074" y="3993"/>
                </a:lnTo>
                <a:lnTo>
                  <a:pt x="9075" y="4016"/>
                </a:lnTo>
                <a:lnTo>
                  <a:pt x="9087" y="4020"/>
                </a:lnTo>
                <a:lnTo>
                  <a:pt x="9097" y="4022"/>
                </a:lnTo>
                <a:lnTo>
                  <a:pt x="9106" y="4024"/>
                </a:lnTo>
                <a:lnTo>
                  <a:pt x="9113" y="4024"/>
                </a:lnTo>
                <a:lnTo>
                  <a:pt x="9120" y="4022"/>
                </a:lnTo>
                <a:lnTo>
                  <a:pt x="9125" y="4020"/>
                </a:lnTo>
                <a:lnTo>
                  <a:pt x="9130" y="4017"/>
                </a:lnTo>
                <a:lnTo>
                  <a:pt x="9136" y="4014"/>
                </a:lnTo>
                <a:lnTo>
                  <a:pt x="9144" y="4005"/>
                </a:lnTo>
                <a:lnTo>
                  <a:pt x="9153" y="3994"/>
                </a:lnTo>
                <a:lnTo>
                  <a:pt x="9159" y="3989"/>
                </a:lnTo>
                <a:lnTo>
                  <a:pt x="9165" y="3984"/>
                </a:lnTo>
                <a:lnTo>
                  <a:pt x="9172" y="3979"/>
                </a:lnTo>
                <a:lnTo>
                  <a:pt x="9181" y="3974"/>
                </a:lnTo>
                <a:lnTo>
                  <a:pt x="9182" y="3984"/>
                </a:lnTo>
                <a:lnTo>
                  <a:pt x="9183" y="3992"/>
                </a:lnTo>
                <a:lnTo>
                  <a:pt x="9185" y="3999"/>
                </a:lnTo>
                <a:lnTo>
                  <a:pt x="9188" y="4006"/>
                </a:lnTo>
                <a:lnTo>
                  <a:pt x="9194" y="4017"/>
                </a:lnTo>
                <a:lnTo>
                  <a:pt x="9198" y="4026"/>
                </a:lnTo>
                <a:lnTo>
                  <a:pt x="9199" y="4030"/>
                </a:lnTo>
                <a:lnTo>
                  <a:pt x="9200" y="4034"/>
                </a:lnTo>
                <a:lnTo>
                  <a:pt x="9199" y="4038"/>
                </a:lnTo>
                <a:lnTo>
                  <a:pt x="9196" y="4043"/>
                </a:lnTo>
                <a:lnTo>
                  <a:pt x="9191" y="4048"/>
                </a:lnTo>
                <a:lnTo>
                  <a:pt x="9185" y="4054"/>
                </a:lnTo>
                <a:lnTo>
                  <a:pt x="9176" y="4060"/>
                </a:lnTo>
                <a:lnTo>
                  <a:pt x="9165" y="4068"/>
                </a:lnTo>
                <a:lnTo>
                  <a:pt x="9143" y="4081"/>
                </a:lnTo>
                <a:lnTo>
                  <a:pt x="9120" y="4092"/>
                </a:lnTo>
                <a:lnTo>
                  <a:pt x="9098" y="4103"/>
                </a:lnTo>
                <a:lnTo>
                  <a:pt x="9076" y="4110"/>
                </a:lnTo>
                <a:lnTo>
                  <a:pt x="9053" y="4115"/>
                </a:lnTo>
                <a:lnTo>
                  <a:pt x="9029" y="4119"/>
                </a:lnTo>
                <a:lnTo>
                  <a:pt x="9002" y="4121"/>
                </a:lnTo>
                <a:lnTo>
                  <a:pt x="8974" y="4122"/>
                </a:lnTo>
                <a:lnTo>
                  <a:pt x="8959" y="4123"/>
                </a:lnTo>
                <a:lnTo>
                  <a:pt x="8932" y="4126"/>
                </a:lnTo>
                <a:lnTo>
                  <a:pt x="8899" y="4131"/>
                </a:lnTo>
                <a:lnTo>
                  <a:pt x="8862" y="4135"/>
                </a:lnTo>
                <a:lnTo>
                  <a:pt x="8827" y="4138"/>
                </a:lnTo>
                <a:lnTo>
                  <a:pt x="8797" y="4140"/>
                </a:lnTo>
                <a:lnTo>
                  <a:pt x="8785" y="4139"/>
                </a:lnTo>
                <a:lnTo>
                  <a:pt x="8776" y="4138"/>
                </a:lnTo>
                <a:lnTo>
                  <a:pt x="8773" y="4137"/>
                </a:lnTo>
                <a:lnTo>
                  <a:pt x="8770" y="4135"/>
                </a:lnTo>
                <a:lnTo>
                  <a:pt x="8769" y="4134"/>
                </a:lnTo>
                <a:lnTo>
                  <a:pt x="8768" y="4132"/>
                </a:lnTo>
                <a:lnTo>
                  <a:pt x="8755" y="4132"/>
                </a:lnTo>
                <a:lnTo>
                  <a:pt x="8743" y="4131"/>
                </a:lnTo>
                <a:lnTo>
                  <a:pt x="8731" y="4129"/>
                </a:lnTo>
                <a:lnTo>
                  <a:pt x="8719" y="4127"/>
                </a:lnTo>
                <a:lnTo>
                  <a:pt x="8696" y="4121"/>
                </a:lnTo>
                <a:lnTo>
                  <a:pt x="8672" y="4114"/>
                </a:lnTo>
                <a:lnTo>
                  <a:pt x="8648" y="4107"/>
                </a:lnTo>
                <a:lnTo>
                  <a:pt x="8622" y="4100"/>
                </a:lnTo>
                <a:lnTo>
                  <a:pt x="8595" y="4093"/>
                </a:lnTo>
                <a:lnTo>
                  <a:pt x="8567" y="4089"/>
                </a:lnTo>
                <a:lnTo>
                  <a:pt x="8568" y="4083"/>
                </a:lnTo>
                <a:lnTo>
                  <a:pt x="8571" y="4075"/>
                </a:lnTo>
                <a:lnTo>
                  <a:pt x="8577" y="4067"/>
                </a:lnTo>
                <a:lnTo>
                  <a:pt x="8583" y="4058"/>
                </a:lnTo>
                <a:lnTo>
                  <a:pt x="8597" y="4039"/>
                </a:lnTo>
                <a:lnTo>
                  <a:pt x="8611" y="4020"/>
                </a:lnTo>
                <a:lnTo>
                  <a:pt x="8616" y="4011"/>
                </a:lnTo>
                <a:lnTo>
                  <a:pt x="8619" y="4002"/>
                </a:lnTo>
                <a:lnTo>
                  <a:pt x="8620" y="3998"/>
                </a:lnTo>
                <a:lnTo>
                  <a:pt x="8620" y="3995"/>
                </a:lnTo>
                <a:lnTo>
                  <a:pt x="8620" y="3991"/>
                </a:lnTo>
                <a:lnTo>
                  <a:pt x="8619" y="3988"/>
                </a:lnTo>
                <a:lnTo>
                  <a:pt x="8617" y="3985"/>
                </a:lnTo>
                <a:lnTo>
                  <a:pt x="8615" y="3982"/>
                </a:lnTo>
                <a:lnTo>
                  <a:pt x="8611" y="3980"/>
                </a:lnTo>
                <a:lnTo>
                  <a:pt x="8606" y="3978"/>
                </a:lnTo>
                <a:lnTo>
                  <a:pt x="8601" y="3976"/>
                </a:lnTo>
                <a:lnTo>
                  <a:pt x="8594" y="3975"/>
                </a:lnTo>
                <a:lnTo>
                  <a:pt x="8586" y="3974"/>
                </a:lnTo>
                <a:lnTo>
                  <a:pt x="8577" y="3974"/>
                </a:lnTo>
                <a:close/>
                <a:moveTo>
                  <a:pt x="13139" y="11127"/>
                </a:moveTo>
                <a:lnTo>
                  <a:pt x="13154" y="11140"/>
                </a:lnTo>
                <a:lnTo>
                  <a:pt x="13170" y="11154"/>
                </a:lnTo>
                <a:lnTo>
                  <a:pt x="13177" y="11160"/>
                </a:lnTo>
                <a:lnTo>
                  <a:pt x="13184" y="11166"/>
                </a:lnTo>
                <a:lnTo>
                  <a:pt x="13190" y="11170"/>
                </a:lnTo>
                <a:lnTo>
                  <a:pt x="13197" y="11174"/>
                </a:lnTo>
                <a:lnTo>
                  <a:pt x="13203" y="11176"/>
                </a:lnTo>
                <a:lnTo>
                  <a:pt x="13209" y="11176"/>
                </a:lnTo>
                <a:lnTo>
                  <a:pt x="13212" y="11176"/>
                </a:lnTo>
                <a:lnTo>
                  <a:pt x="13215" y="11175"/>
                </a:lnTo>
                <a:lnTo>
                  <a:pt x="13218" y="11173"/>
                </a:lnTo>
                <a:lnTo>
                  <a:pt x="13221" y="11171"/>
                </a:lnTo>
                <a:lnTo>
                  <a:pt x="13227" y="11164"/>
                </a:lnTo>
                <a:lnTo>
                  <a:pt x="13233" y="11155"/>
                </a:lnTo>
                <a:lnTo>
                  <a:pt x="13239" y="11142"/>
                </a:lnTo>
                <a:lnTo>
                  <a:pt x="13245" y="11127"/>
                </a:lnTo>
                <a:lnTo>
                  <a:pt x="13231" y="11124"/>
                </a:lnTo>
                <a:lnTo>
                  <a:pt x="13220" y="11121"/>
                </a:lnTo>
                <a:lnTo>
                  <a:pt x="13211" y="11117"/>
                </a:lnTo>
                <a:lnTo>
                  <a:pt x="13204" y="11113"/>
                </a:lnTo>
                <a:lnTo>
                  <a:pt x="13199" y="11109"/>
                </a:lnTo>
                <a:lnTo>
                  <a:pt x="13195" y="11104"/>
                </a:lnTo>
                <a:lnTo>
                  <a:pt x="13192" y="11099"/>
                </a:lnTo>
                <a:lnTo>
                  <a:pt x="13191" y="11093"/>
                </a:lnTo>
                <a:lnTo>
                  <a:pt x="13191" y="11086"/>
                </a:lnTo>
                <a:lnTo>
                  <a:pt x="13192" y="11079"/>
                </a:lnTo>
                <a:lnTo>
                  <a:pt x="13194" y="11071"/>
                </a:lnTo>
                <a:lnTo>
                  <a:pt x="13197" y="11063"/>
                </a:lnTo>
                <a:lnTo>
                  <a:pt x="13204" y="11044"/>
                </a:lnTo>
                <a:lnTo>
                  <a:pt x="13213" y="11021"/>
                </a:lnTo>
                <a:lnTo>
                  <a:pt x="13224" y="11028"/>
                </a:lnTo>
                <a:lnTo>
                  <a:pt x="13236" y="11034"/>
                </a:lnTo>
                <a:lnTo>
                  <a:pt x="13251" y="11041"/>
                </a:lnTo>
                <a:lnTo>
                  <a:pt x="13266" y="11047"/>
                </a:lnTo>
                <a:lnTo>
                  <a:pt x="13282" y="11052"/>
                </a:lnTo>
                <a:lnTo>
                  <a:pt x="13300" y="11056"/>
                </a:lnTo>
                <a:lnTo>
                  <a:pt x="13317" y="11059"/>
                </a:lnTo>
                <a:lnTo>
                  <a:pt x="13333" y="11061"/>
                </a:lnTo>
                <a:lnTo>
                  <a:pt x="13341" y="11062"/>
                </a:lnTo>
                <a:lnTo>
                  <a:pt x="13349" y="11061"/>
                </a:lnTo>
                <a:lnTo>
                  <a:pt x="13357" y="11061"/>
                </a:lnTo>
                <a:lnTo>
                  <a:pt x="13364" y="11059"/>
                </a:lnTo>
                <a:lnTo>
                  <a:pt x="13371" y="11058"/>
                </a:lnTo>
                <a:lnTo>
                  <a:pt x="13378" y="11055"/>
                </a:lnTo>
                <a:lnTo>
                  <a:pt x="13384" y="11052"/>
                </a:lnTo>
                <a:lnTo>
                  <a:pt x="13390" y="11048"/>
                </a:lnTo>
                <a:lnTo>
                  <a:pt x="13395" y="11044"/>
                </a:lnTo>
                <a:lnTo>
                  <a:pt x="13400" y="11039"/>
                </a:lnTo>
                <a:lnTo>
                  <a:pt x="13404" y="11033"/>
                </a:lnTo>
                <a:lnTo>
                  <a:pt x="13407" y="11026"/>
                </a:lnTo>
                <a:lnTo>
                  <a:pt x="13410" y="11018"/>
                </a:lnTo>
                <a:lnTo>
                  <a:pt x="13412" y="11009"/>
                </a:lnTo>
                <a:lnTo>
                  <a:pt x="13413" y="11000"/>
                </a:lnTo>
                <a:lnTo>
                  <a:pt x="13414" y="10990"/>
                </a:lnTo>
                <a:lnTo>
                  <a:pt x="13403" y="10989"/>
                </a:lnTo>
                <a:lnTo>
                  <a:pt x="13394" y="10987"/>
                </a:lnTo>
                <a:lnTo>
                  <a:pt x="13386" y="10985"/>
                </a:lnTo>
                <a:lnTo>
                  <a:pt x="13380" y="10981"/>
                </a:lnTo>
                <a:lnTo>
                  <a:pt x="13375" y="10977"/>
                </a:lnTo>
                <a:lnTo>
                  <a:pt x="13371" y="10972"/>
                </a:lnTo>
                <a:lnTo>
                  <a:pt x="13368" y="10966"/>
                </a:lnTo>
                <a:lnTo>
                  <a:pt x="13366" y="10960"/>
                </a:lnTo>
                <a:lnTo>
                  <a:pt x="13365" y="10954"/>
                </a:lnTo>
                <a:lnTo>
                  <a:pt x="13365" y="10947"/>
                </a:lnTo>
                <a:lnTo>
                  <a:pt x="13366" y="10940"/>
                </a:lnTo>
                <a:lnTo>
                  <a:pt x="13367" y="10933"/>
                </a:lnTo>
                <a:lnTo>
                  <a:pt x="13369" y="10926"/>
                </a:lnTo>
                <a:lnTo>
                  <a:pt x="13372" y="10919"/>
                </a:lnTo>
                <a:lnTo>
                  <a:pt x="13375" y="10912"/>
                </a:lnTo>
                <a:lnTo>
                  <a:pt x="13379" y="10905"/>
                </a:lnTo>
                <a:lnTo>
                  <a:pt x="13383" y="10898"/>
                </a:lnTo>
                <a:lnTo>
                  <a:pt x="13387" y="10892"/>
                </a:lnTo>
                <a:lnTo>
                  <a:pt x="13391" y="10887"/>
                </a:lnTo>
                <a:lnTo>
                  <a:pt x="13396" y="10882"/>
                </a:lnTo>
                <a:lnTo>
                  <a:pt x="13401" y="10879"/>
                </a:lnTo>
                <a:lnTo>
                  <a:pt x="13405" y="10876"/>
                </a:lnTo>
                <a:lnTo>
                  <a:pt x="13410" y="10874"/>
                </a:lnTo>
                <a:lnTo>
                  <a:pt x="13414" y="10873"/>
                </a:lnTo>
                <a:lnTo>
                  <a:pt x="13418" y="10873"/>
                </a:lnTo>
                <a:lnTo>
                  <a:pt x="13423" y="10875"/>
                </a:lnTo>
                <a:lnTo>
                  <a:pt x="13427" y="10877"/>
                </a:lnTo>
                <a:lnTo>
                  <a:pt x="13430" y="10882"/>
                </a:lnTo>
                <a:lnTo>
                  <a:pt x="13432" y="10888"/>
                </a:lnTo>
                <a:lnTo>
                  <a:pt x="13434" y="10895"/>
                </a:lnTo>
                <a:lnTo>
                  <a:pt x="13435" y="10905"/>
                </a:lnTo>
                <a:lnTo>
                  <a:pt x="13436" y="10916"/>
                </a:lnTo>
                <a:lnTo>
                  <a:pt x="13445" y="10916"/>
                </a:lnTo>
                <a:lnTo>
                  <a:pt x="13454" y="10915"/>
                </a:lnTo>
                <a:lnTo>
                  <a:pt x="13461" y="10913"/>
                </a:lnTo>
                <a:lnTo>
                  <a:pt x="13468" y="10910"/>
                </a:lnTo>
                <a:lnTo>
                  <a:pt x="13474" y="10907"/>
                </a:lnTo>
                <a:lnTo>
                  <a:pt x="13479" y="10904"/>
                </a:lnTo>
                <a:lnTo>
                  <a:pt x="13484" y="10898"/>
                </a:lnTo>
                <a:lnTo>
                  <a:pt x="13487" y="10894"/>
                </a:lnTo>
                <a:lnTo>
                  <a:pt x="13491" y="10888"/>
                </a:lnTo>
                <a:lnTo>
                  <a:pt x="13493" y="10883"/>
                </a:lnTo>
                <a:lnTo>
                  <a:pt x="13496" y="10877"/>
                </a:lnTo>
                <a:lnTo>
                  <a:pt x="13497" y="10871"/>
                </a:lnTo>
                <a:lnTo>
                  <a:pt x="13500" y="10857"/>
                </a:lnTo>
                <a:lnTo>
                  <a:pt x="13501" y="10843"/>
                </a:lnTo>
                <a:lnTo>
                  <a:pt x="13501" y="10813"/>
                </a:lnTo>
                <a:lnTo>
                  <a:pt x="13502" y="10784"/>
                </a:lnTo>
                <a:lnTo>
                  <a:pt x="13504" y="10769"/>
                </a:lnTo>
                <a:lnTo>
                  <a:pt x="13507" y="10756"/>
                </a:lnTo>
                <a:lnTo>
                  <a:pt x="13509" y="10750"/>
                </a:lnTo>
                <a:lnTo>
                  <a:pt x="13512" y="10745"/>
                </a:lnTo>
                <a:lnTo>
                  <a:pt x="13515" y="10740"/>
                </a:lnTo>
                <a:lnTo>
                  <a:pt x="13519" y="10735"/>
                </a:lnTo>
                <a:lnTo>
                  <a:pt x="13521" y="10760"/>
                </a:lnTo>
                <a:lnTo>
                  <a:pt x="13524" y="10792"/>
                </a:lnTo>
                <a:lnTo>
                  <a:pt x="13530" y="10827"/>
                </a:lnTo>
                <a:lnTo>
                  <a:pt x="13538" y="10863"/>
                </a:lnTo>
                <a:lnTo>
                  <a:pt x="13542" y="10880"/>
                </a:lnTo>
                <a:lnTo>
                  <a:pt x="13548" y="10896"/>
                </a:lnTo>
                <a:lnTo>
                  <a:pt x="13553" y="10913"/>
                </a:lnTo>
                <a:lnTo>
                  <a:pt x="13559" y="10926"/>
                </a:lnTo>
                <a:lnTo>
                  <a:pt x="13565" y="10938"/>
                </a:lnTo>
                <a:lnTo>
                  <a:pt x="13571" y="10947"/>
                </a:lnTo>
                <a:lnTo>
                  <a:pt x="13574" y="10951"/>
                </a:lnTo>
                <a:lnTo>
                  <a:pt x="13577" y="10954"/>
                </a:lnTo>
                <a:lnTo>
                  <a:pt x="13580" y="10957"/>
                </a:lnTo>
                <a:lnTo>
                  <a:pt x="13583" y="10958"/>
                </a:lnTo>
                <a:lnTo>
                  <a:pt x="13591" y="10965"/>
                </a:lnTo>
                <a:lnTo>
                  <a:pt x="13596" y="10972"/>
                </a:lnTo>
                <a:lnTo>
                  <a:pt x="13601" y="10978"/>
                </a:lnTo>
                <a:lnTo>
                  <a:pt x="13604" y="10984"/>
                </a:lnTo>
                <a:lnTo>
                  <a:pt x="13607" y="10990"/>
                </a:lnTo>
                <a:lnTo>
                  <a:pt x="13608" y="10996"/>
                </a:lnTo>
                <a:lnTo>
                  <a:pt x="13609" y="11001"/>
                </a:lnTo>
                <a:lnTo>
                  <a:pt x="13608" y="11007"/>
                </a:lnTo>
                <a:lnTo>
                  <a:pt x="13607" y="11012"/>
                </a:lnTo>
                <a:lnTo>
                  <a:pt x="13605" y="11017"/>
                </a:lnTo>
                <a:lnTo>
                  <a:pt x="13603" y="11022"/>
                </a:lnTo>
                <a:lnTo>
                  <a:pt x="13600" y="11027"/>
                </a:lnTo>
                <a:lnTo>
                  <a:pt x="13592" y="11036"/>
                </a:lnTo>
                <a:lnTo>
                  <a:pt x="13583" y="11045"/>
                </a:lnTo>
                <a:lnTo>
                  <a:pt x="13562" y="11062"/>
                </a:lnTo>
                <a:lnTo>
                  <a:pt x="13541" y="11079"/>
                </a:lnTo>
                <a:lnTo>
                  <a:pt x="13532" y="11088"/>
                </a:lnTo>
                <a:lnTo>
                  <a:pt x="13525" y="11097"/>
                </a:lnTo>
                <a:lnTo>
                  <a:pt x="13523" y="11102"/>
                </a:lnTo>
                <a:lnTo>
                  <a:pt x="13521" y="11106"/>
                </a:lnTo>
                <a:lnTo>
                  <a:pt x="13520" y="11111"/>
                </a:lnTo>
                <a:lnTo>
                  <a:pt x="13519" y="11117"/>
                </a:lnTo>
                <a:lnTo>
                  <a:pt x="13513" y="11121"/>
                </a:lnTo>
                <a:lnTo>
                  <a:pt x="13507" y="11126"/>
                </a:lnTo>
                <a:lnTo>
                  <a:pt x="13503" y="11132"/>
                </a:lnTo>
                <a:lnTo>
                  <a:pt x="13499" y="11139"/>
                </a:lnTo>
                <a:lnTo>
                  <a:pt x="13496" y="11147"/>
                </a:lnTo>
                <a:lnTo>
                  <a:pt x="13493" y="11156"/>
                </a:lnTo>
                <a:lnTo>
                  <a:pt x="13491" y="11165"/>
                </a:lnTo>
                <a:lnTo>
                  <a:pt x="13490" y="11174"/>
                </a:lnTo>
                <a:lnTo>
                  <a:pt x="13488" y="11192"/>
                </a:lnTo>
                <a:lnTo>
                  <a:pt x="13488" y="11208"/>
                </a:lnTo>
                <a:lnTo>
                  <a:pt x="13488" y="11222"/>
                </a:lnTo>
                <a:lnTo>
                  <a:pt x="13488" y="11233"/>
                </a:lnTo>
                <a:lnTo>
                  <a:pt x="13475" y="11233"/>
                </a:lnTo>
                <a:lnTo>
                  <a:pt x="13462" y="11233"/>
                </a:lnTo>
                <a:lnTo>
                  <a:pt x="13449" y="11233"/>
                </a:lnTo>
                <a:lnTo>
                  <a:pt x="13436" y="11233"/>
                </a:lnTo>
                <a:lnTo>
                  <a:pt x="13434" y="11253"/>
                </a:lnTo>
                <a:lnTo>
                  <a:pt x="13432" y="11272"/>
                </a:lnTo>
                <a:lnTo>
                  <a:pt x="13429" y="11293"/>
                </a:lnTo>
                <a:lnTo>
                  <a:pt x="13425" y="11314"/>
                </a:lnTo>
                <a:lnTo>
                  <a:pt x="13415" y="11354"/>
                </a:lnTo>
                <a:lnTo>
                  <a:pt x="13406" y="11393"/>
                </a:lnTo>
                <a:lnTo>
                  <a:pt x="13397" y="11433"/>
                </a:lnTo>
                <a:lnTo>
                  <a:pt x="13389" y="11471"/>
                </a:lnTo>
                <a:lnTo>
                  <a:pt x="13386" y="11489"/>
                </a:lnTo>
                <a:lnTo>
                  <a:pt x="13384" y="11506"/>
                </a:lnTo>
                <a:lnTo>
                  <a:pt x="13383" y="11523"/>
                </a:lnTo>
                <a:lnTo>
                  <a:pt x="13382" y="11540"/>
                </a:lnTo>
                <a:lnTo>
                  <a:pt x="13378" y="11541"/>
                </a:lnTo>
                <a:lnTo>
                  <a:pt x="13374" y="11542"/>
                </a:lnTo>
                <a:lnTo>
                  <a:pt x="13370" y="11545"/>
                </a:lnTo>
                <a:lnTo>
                  <a:pt x="13367" y="11548"/>
                </a:lnTo>
                <a:lnTo>
                  <a:pt x="13364" y="11552"/>
                </a:lnTo>
                <a:lnTo>
                  <a:pt x="13361" y="11557"/>
                </a:lnTo>
                <a:lnTo>
                  <a:pt x="13359" y="11562"/>
                </a:lnTo>
                <a:lnTo>
                  <a:pt x="13357" y="11569"/>
                </a:lnTo>
                <a:lnTo>
                  <a:pt x="13353" y="11583"/>
                </a:lnTo>
                <a:lnTo>
                  <a:pt x="13350" y="11600"/>
                </a:lnTo>
                <a:lnTo>
                  <a:pt x="13348" y="11619"/>
                </a:lnTo>
                <a:lnTo>
                  <a:pt x="13347" y="11639"/>
                </a:lnTo>
                <a:lnTo>
                  <a:pt x="13345" y="11684"/>
                </a:lnTo>
                <a:lnTo>
                  <a:pt x="13345" y="11731"/>
                </a:lnTo>
                <a:lnTo>
                  <a:pt x="13344" y="11778"/>
                </a:lnTo>
                <a:lnTo>
                  <a:pt x="13343" y="11824"/>
                </a:lnTo>
                <a:lnTo>
                  <a:pt x="13324" y="11850"/>
                </a:lnTo>
                <a:lnTo>
                  <a:pt x="13305" y="11877"/>
                </a:lnTo>
                <a:lnTo>
                  <a:pt x="13285" y="11904"/>
                </a:lnTo>
                <a:lnTo>
                  <a:pt x="13266" y="11931"/>
                </a:lnTo>
                <a:lnTo>
                  <a:pt x="13242" y="11932"/>
                </a:lnTo>
                <a:lnTo>
                  <a:pt x="13221" y="11929"/>
                </a:lnTo>
                <a:lnTo>
                  <a:pt x="13202" y="11922"/>
                </a:lnTo>
                <a:lnTo>
                  <a:pt x="13184" y="11911"/>
                </a:lnTo>
                <a:lnTo>
                  <a:pt x="13168" y="11896"/>
                </a:lnTo>
                <a:lnTo>
                  <a:pt x="13153" y="11879"/>
                </a:lnTo>
                <a:lnTo>
                  <a:pt x="13140" y="11859"/>
                </a:lnTo>
                <a:lnTo>
                  <a:pt x="13130" y="11837"/>
                </a:lnTo>
                <a:lnTo>
                  <a:pt x="13120" y="11812"/>
                </a:lnTo>
                <a:lnTo>
                  <a:pt x="13112" y="11784"/>
                </a:lnTo>
                <a:lnTo>
                  <a:pt x="13105" y="11754"/>
                </a:lnTo>
                <a:lnTo>
                  <a:pt x="13100" y="11724"/>
                </a:lnTo>
                <a:lnTo>
                  <a:pt x="13095" y="11692"/>
                </a:lnTo>
                <a:lnTo>
                  <a:pt x="13092" y="11658"/>
                </a:lnTo>
                <a:lnTo>
                  <a:pt x="13090" y="11623"/>
                </a:lnTo>
                <a:lnTo>
                  <a:pt x="13089" y="11588"/>
                </a:lnTo>
                <a:lnTo>
                  <a:pt x="13088" y="11553"/>
                </a:lnTo>
                <a:lnTo>
                  <a:pt x="13089" y="11516"/>
                </a:lnTo>
                <a:lnTo>
                  <a:pt x="13090" y="11480"/>
                </a:lnTo>
                <a:lnTo>
                  <a:pt x="13092" y="11445"/>
                </a:lnTo>
                <a:lnTo>
                  <a:pt x="13094" y="11410"/>
                </a:lnTo>
                <a:lnTo>
                  <a:pt x="13097" y="11375"/>
                </a:lnTo>
                <a:lnTo>
                  <a:pt x="13101" y="11342"/>
                </a:lnTo>
                <a:lnTo>
                  <a:pt x="13104" y="11310"/>
                </a:lnTo>
                <a:lnTo>
                  <a:pt x="13113" y="11250"/>
                </a:lnTo>
                <a:lnTo>
                  <a:pt x="13122" y="11199"/>
                </a:lnTo>
                <a:lnTo>
                  <a:pt x="13126" y="11177"/>
                </a:lnTo>
                <a:lnTo>
                  <a:pt x="13130" y="11158"/>
                </a:lnTo>
                <a:lnTo>
                  <a:pt x="13135" y="11140"/>
                </a:lnTo>
                <a:lnTo>
                  <a:pt x="13139" y="11127"/>
                </a:lnTo>
                <a:close/>
                <a:moveTo>
                  <a:pt x="14524" y="7522"/>
                </a:moveTo>
                <a:lnTo>
                  <a:pt x="14491" y="7522"/>
                </a:lnTo>
                <a:lnTo>
                  <a:pt x="14457" y="7520"/>
                </a:lnTo>
                <a:lnTo>
                  <a:pt x="14422" y="7516"/>
                </a:lnTo>
                <a:lnTo>
                  <a:pt x="14389" y="7511"/>
                </a:lnTo>
                <a:lnTo>
                  <a:pt x="14359" y="7506"/>
                </a:lnTo>
                <a:lnTo>
                  <a:pt x="14332" y="7500"/>
                </a:lnTo>
                <a:lnTo>
                  <a:pt x="14310" y="7492"/>
                </a:lnTo>
                <a:lnTo>
                  <a:pt x="14292" y="7487"/>
                </a:lnTo>
                <a:lnTo>
                  <a:pt x="14272" y="7486"/>
                </a:lnTo>
                <a:lnTo>
                  <a:pt x="14253" y="7484"/>
                </a:lnTo>
                <a:lnTo>
                  <a:pt x="14233" y="7482"/>
                </a:lnTo>
                <a:lnTo>
                  <a:pt x="14214" y="7478"/>
                </a:lnTo>
                <a:lnTo>
                  <a:pt x="14195" y="7474"/>
                </a:lnTo>
                <a:lnTo>
                  <a:pt x="14176" y="7469"/>
                </a:lnTo>
                <a:lnTo>
                  <a:pt x="14157" y="7463"/>
                </a:lnTo>
                <a:lnTo>
                  <a:pt x="14138" y="7456"/>
                </a:lnTo>
                <a:lnTo>
                  <a:pt x="14101" y="7442"/>
                </a:lnTo>
                <a:lnTo>
                  <a:pt x="14064" y="7427"/>
                </a:lnTo>
                <a:lnTo>
                  <a:pt x="14027" y="7410"/>
                </a:lnTo>
                <a:lnTo>
                  <a:pt x="13990" y="7394"/>
                </a:lnTo>
                <a:lnTo>
                  <a:pt x="13954" y="7379"/>
                </a:lnTo>
                <a:lnTo>
                  <a:pt x="13917" y="7364"/>
                </a:lnTo>
                <a:lnTo>
                  <a:pt x="13898" y="7358"/>
                </a:lnTo>
                <a:lnTo>
                  <a:pt x="13880" y="7352"/>
                </a:lnTo>
                <a:lnTo>
                  <a:pt x="13861" y="7347"/>
                </a:lnTo>
                <a:lnTo>
                  <a:pt x="13843" y="7343"/>
                </a:lnTo>
                <a:lnTo>
                  <a:pt x="13824" y="7340"/>
                </a:lnTo>
                <a:lnTo>
                  <a:pt x="13806" y="7338"/>
                </a:lnTo>
                <a:lnTo>
                  <a:pt x="13786" y="7336"/>
                </a:lnTo>
                <a:lnTo>
                  <a:pt x="13767" y="7336"/>
                </a:lnTo>
                <a:lnTo>
                  <a:pt x="13748" y="7337"/>
                </a:lnTo>
                <a:lnTo>
                  <a:pt x="13729" y="7340"/>
                </a:lnTo>
                <a:lnTo>
                  <a:pt x="13709" y="7343"/>
                </a:lnTo>
                <a:lnTo>
                  <a:pt x="13690" y="7349"/>
                </a:lnTo>
                <a:lnTo>
                  <a:pt x="13690" y="7345"/>
                </a:lnTo>
                <a:lnTo>
                  <a:pt x="13691" y="7342"/>
                </a:lnTo>
                <a:lnTo>
                  <a:pt x="13690" y="7340"/>
                </a:lnTo>
                <a:lnTo>
                  <a:pt x="13689" y="7338"/>
                </a:lnTo>
                <a:lnTo>
                  <a:pt x="13688" y="7337"/>
                </a:lnTo>
                <a:lnTo>
                  <a:pt x="13685" y="7337"/>
                </a:lnTo>
                <a:lnTo>
                  <a:pt x="13682" y="7337"/>
                </a:lnTo>
                <a:lnTo>
                  <a:pt x="13679" y="7338"/>
                </a:lnTo>
                <a:lnTo>
                  <a:pt x="13680" y="7333"/>
                </a:lnTo>
                <a:lnTo>
                  <a:pt x="13680" y="7326"/>
                </a:lnTo>
                <a:lnTo>
                  <a:pt x="13679" y="7318"/>
                </a:lnTo>
                <a:lnTo>
                  <a:pt x="13677" y="7309"/>
                </a:lnTo>
                <a:lnTo>
                  <a:pt x="13674" y="7298"/>
                </a:lnTo>
                <a:lnTo>
                  <a:pt x="13669" y="7287"/>
                </a:lnTo>
                <a:lnTo>
                  <a:pt x="13665" y="7275"/>
                </a:lnTo>
                <a:lnTo>
                  <a:pt x="13659" y="7263"/>
                </a:lnTo>
                <a:lnTo>
                  <a:pt x="13647" y="7236"/>
                </a:lnTo>
                <a:lnTo>
                  <a:pt x="13632" y="7209"/>
                </a:lnTo>
                <a:lnTo>
                  <a:pt x="13615" y="7182"/>
                </a:lnTo>
                <a:lnTo>
                  <a:pt x="13596" y="7156"/>
                </a:lnTo>
                <a:lnTo>
                  <a:pt x="13587" y="7144"/>
                </a:lnTo>
                <a:lnTo>
                  <a:pt x="13577" y="7133"/>
                </a:lnTo>
                <a:lnTo>
                  <a:pt x="13567" y="7122"/>
                </a:lnTo>
                <a:lnTo>
                  <a:pt x="13557" y="7111"/>
                </a:lnTo>
                <a:lnTo>
                  <a:pt x="13546" y="7102"/>
                </a:lnTo>
                <a:lnTo>
                  <a:pt x="13535" y="7095"/>
                </a:lnTo>
                <a:lnTo>
                  <a:pt x="13525" y="7089"/>
                </a:lnTo>
                <a:lnTo>
                  <a:pt x="13515" y="7084"/>
                </a:lnTo>
                <a:lnTo>
                  <a:pt x="13505" y="7081"/>
                </a:lnTo>
                <a:lnTo>
                  <a:pt x="13495" y="7079"/>
                </a:lnTo>
                <a:lnTo>
                  <a:pt x="13486" y="7080"/>
                </a:lnTo>
                <a:lnTo>
                  <a:pt x="13477" y="7082"/>
                </a:lnTo>
                <a:lnTo>
                  <a:pt x="13468" y="7087"/>
                </a:lnTo>
                <a:lnTo>
                  <a:pt x="13460" y="7093"/>
                </a:lnTo>
                <a:lnTo>
                  <a:pt x="13452" y="7102"/>
                </a:lnTo>
                <a:lnTo>
                  <a:pt x="13445" y="7113"/>
                </a:lnTo>
                <a:lnTo>
                  <a:pt x="13443" y="7117"/>
                </a:lnTo>
                <a:lnTo>
                  <a:pt x="13442" y="7122"/>
                </a:lnTo>
                <a:lnTo>
                  <a:pt x="13442" y="7127"/>
                </a:lnTo>
                <a:lnTo>
                  <a:pt x="13442" y="7132"/>
                </a:lnTo>
                <a:lnTo>
                  <a:pt x="13443" y="7144"/>
                </a:lnTo>
                <a:lnTo>
                  <a:pt x="13447" y="7156"/>
                </a:lnTo>
                <a:lnTo>
                  <a:pt x="13451" y="7170"/>
                </a:lnTo>
                <a:lnTo>
                  <a:pt x="13457" y="7185"/>
                </a:lnTo>
                <a:lnTo>
                  <a:pt x="13464" y="7200"/>
                </a:lnTo>
                <a:lnTo>
                  <a:pt x="13472" y="7215"/>
                </a:lnTo>
                <a:lnTo>
                  <a:pt x="13481" y="7230"/>
                </a:lnTo>
                <a:lnTo>
                  <a:pt x="13490" y="7246"/>
                </a:lnTo>
                <a:lnTo>
                  <a:pt x="13499" y="7260"/>
                </a:lnTo>
                <a:lnTo>
                  <a:pt x="13508" y="7273"/>
                </a:lnTo>
                <a:lnTo>
                  <a:pt x="13517" y="7284"/>
                </a:lnTo>
                <a:lnTo>
                  <a:pt x="13526" y="7294"/>
                </a:lnTo>
                <a:lnTo>
                  <a:pt x="13534" y="7301"/>
                </a:lnTo>
                <a:lnTo>
                  <a:pt x="13541" y="7307"/>
                </a:lnTo>
                <a:lnTo>
                  <a:pt x="13541" y="7319"/>
                </a:lnTo>
                <a:lnTo>
                  <a:pt x="13544" y="7334"/>
                </a:lnTo>
                <a:lnTo>
                  <a:pt x="13549" y="7349"/>
                </a:lnTo>
                <a:lnTo>
                  <a:pt x="13554" y="7366"/>
                </a:lnTo>
                <a:lnTo>
                  <a:pt x="13560" y="7383"/>
                </a:lnTo>
                <a:lnTo>
                  <a:pt x="13567" y="7399"/>
                </a:lnTo>
                <a:lnTo>
                  <a:pt x="13571" y="7405"/>
                </a:lnTo>
                <a:lnTo>
                  <a:pt x="13575" y="7412"/>
                </a:lnTo>
                <a:lnTo>
                  <a:pt x="13579" y="7417"/>
                </a:lnTo>
                <a:lnTo>
                  <a:pt x="13584" y="7422"/>
                </a:lnTo>
                <a:lnTo>
                  <a:pt x="13594" y="7433"/>
                </a:lnTo>
                <a:lnTo>
                  <a:pt x="13601" y="7443"/>
                </a:lnTo>
                <a:lnTo>
                  <a:pt x="13605" y="7452"/>
                </a:lnTo>
                <a:lnTo>
                  <a:pt x="13607" y="7460"/>
                </a:lnTo>
                <a:lnTo>
                  <a:pt x="13608" y="7468"/>
                </a:lnTo>
                <a:lnTo>
                  <a:pt x="13607" y="7475"/>
                </a:lnTo>
                <a:lnTo>
                  <a:pt x="13604" y="7482"/>
                </a:lnTo>
                <a:lnTo>
                  <a:pt x="13601" y="7489"/>
                </a:lnTo>
                <a:lnTo>
                  <a:pt x="13594" y="7502"/>
                </a:lnTo>
                <a:lnTo>
                  <a:pt x="13586" y="7514"/>
                </a:lnTo>
                <a:lnTo>
                  <a:pt x="13584" y="7520"/>
                </a:lnTo>
                <a:lnTo>
                  <a:pt x="13582" y="7526"/>
                </a:lnTo>
                <a:lnTo>
                  <a:pt x="13582" y="7533"/>
                </a:lnTo>
                <a:lnTo>
                  <a:pt x="13583" y="7540"/>
                </a:lnTo>
                <a:lnTo>
                  <a:pt x="13597" y="7540"/>
                </a:lnTo>
                <a:lnTo>
                  <a:pt x="13609" y="7539"/>
                </a:lnTo>
                <a:lnTo>
                  <a:pt x="13618" y="7538"/>
                </a:lnTo>
                <a:lnTo>
                  <a:pt x="13627" y="7536"/>
                </a:lnTo>
                <a:lnTo>
                  <a:pt x="13633" y="7533"/>
                </a:lnTo>
                <a:lnTo>
                  <a:pt x="13639" y="7529"/>
                </a:lnTo>
                <a:lnTo>
                  <a:pt x="13644" y="7525"/>
                </a:lnTo>
                <a:lnTo>
                  <a:pt x="13648" y="7519"/>
                </a:lnTo>
                <a:lnTo>
                  <a:pt x="13651" y="7511"/>
                </a:lnTo>
                <a:lnTo>
                  <a:pt x="13653" y="7503"/>
                </a:lnTo>
                <a:lnTo>
                  <a:pt x="13655" y="7491"/>
                </a:lnTo>
                <a:lnTo>
                  <a:pt x="13658" y="7480"/>
                </a:lnTo>
                <a:lnTo>
                  <a:pt x="13662" y="7450"/>
                </a:lnTo>
                <a:lnTo>
                  <a:pt x="13668" y="7413"/>
                </a:lnTo>
                <a:lnTo>
                  <a:pt x="13674" y="7417"/>
                </a:lnTo>
                <a:lnTo>
                  <a:pt x="13678" y="7421"/>
                </a:lnTo>
                <a:lnTo>
                  <a:pt x="13682" y="7423"/>
                </a:lnTo>
                <a:lnTo>
                  <a:pt x="13690" y="7423"/>
                </a:lnTo>
                <a:lnTo>
                  <a:pt x="13686" y="7439"/>
                </a:lnTo>
                <a:lnTo>
                  <a:pt x="13685" y="7454"/>
                </a:lnTo>
                <a:lnTo>
                  <a:pt x="13685" y="7469"/>
                </a:lnTo>
                <a:lnTo>
                  <a:pt x="13687" y="7484"/>
                </a:lnTo>
                <a:lnTo>
                  <a:pt x="13690" y="7499"/>
                </a:lnTo>
                <a:lnTo>
                  <a:pt x="13695" y="7513"/>
                </a:lnTo>
                <a:lnTo>
                  <a:pt x="13701" y="7527"/>
                </a:lnTo>
                <a:lnTo>
                  <a:pt x="13709" y="7540"/>
                </a:lnTo>
                <a:lnTo>
                  <a:pt x="13721" y="7560"/>
                </a:lnTo>
                <a:lnTo>
                  <a:pt x="13730" y="7575"/>
                </a:lnTo>
                <a:lnTo>
                  <a:pt x="13736" y="7586"/>
                </a:lnTo>
                <a:lnTo>
                  <a:pt x="13739" y="7593"/>
                </a:lnTo>
                <a:lnTo>
                  <a:pt x="13740" y="7597"/>
                </a:lnTo>
                <a:lnTo>
                  <a:pt x="13739" y="7600"/>
                </a:lnTo>
                <a:lnTo>
                  <a:pt x="13736" y="7600"/>
                </a:lnTo>
                <a:lnTo>
                  <a:pt x="13733" y="7599"/>
                </a:lnTo>
                <a:lnTo>
                  <a:pt x="13729" y="7599"/>
                </a:lnTo>
                <a:lnTo>
                  <a:pt x="13724" y="7598"/>
                </a:lnTo>
                <a:lnTo>
                  <a:pt x="13720" y="7598"/>
                </a:lnTo>
                <a:lnTo>
                  <a:pt x="13717" y="7600"/>
                </a:lnTo>
                <a:lnTo>
                  <a:pt x="13716" y="7601"/>
                </a:lnTo>
                <a:lnTo>
                  <a:pt x="13715" y="7604"/>
                </a:lnTo>
                <a:lnTo>
                  <a:pt x="13715" y="7607"/>
                </a:lnTo>
                <a:lnTo>
                  <a:pt x="13715" y="7610"/>
                </a:lnTo>
                <a:lnTo>
                  <a:pt x="13717" y="7620"/>
                </a:lnTo>
                <a:lnTo>
                  <a:pt x="13721" y="7635"/>
                </a:lnTo>
                <a:lnTo>
                  <a:pt x="13741" y="7635"/>
                </a:lnTo>
                <a:lnTo>
                  <a:pt x="13761" y="7633"/>
                </a:lnTo>
                <a:lnTo>
                  <a:pt x="13781" y="7629"/>
                </a:lnTo>
                <a:lnTo>
                  <a:pt x="13801" y="7624"/>
                </a:lnTo>
                <a:lnTo>
                  <a:pt x="13820" y="7617"/>
                </a:lnTo>
                <a:lnTo>
                  <a:pt x="13838" y="7609"/>
                </a:lnTo>
                <a:lnTo>
                  <a:pt x="13856" y="7600"/>
                </a:lnTo>
                <a:lnTo>
                  <a:pt x="13874" y="7589"/>
                </a:lnTo>
                <a:lnTo>
                  <a:pt x="13890" y="7577"/>
                </a:lnTo>
                <a:lnTo>
                  <a:pt x="13907" y="7563"/>
                </a:lnTo>
                <a:lnTo>
                  <a:pt x="13922" y="7547"/>
                </a:lnTo>
                <a:lnTo>
                  <a:pt x="13937" y="7530"/>
                </a:lnTo>
                <a:lnTo>
                  <a:pt x="13951" y="7512"/>
                </a:lnTo>
                <a:lnTo>
                  <a:pt x="13963" y="7490"/>
                </a:lnTo>
                <a:lnTo>
                  <a:pt x="13975" y="7468"/>
                </a:lnTo>
                <a:lnTo>
                  <a:pt x="13986" y="7444"/>
                </a:lnTo>
                <a:lnTo>
                  <a:pt x="13992" y="7450"/>
                </a:lnTo>
                <a:lnTo>
                  <a:pt x="13997" y="7456"/>
                </a:lnTo>
                <a:lnTo>
                  <a:pt x="14000" y="7463"/>
                </a:lnTo>
                <a:lnTo>
                  <a:pt x="14002" y="7469"/>
                </a:lnTo>
                <a:lnTo>
                  <a:pt x="14003" y="7476"/>
                </a:lnTo>
                <a:lnTo>
                  <a:pt x="14003" y="7482"/>
                </a:lnTo>
                <a:lnTo>
                  <a:pt x="14002" y="7489"/>
                </a:lnTo>
                <a:lnTo>
                  <a:pt x="14001" y="7495"/>
                </a:lnTo>
                <a:lnTo>
                  <a:pt x="14001" y="7503"/>
                </a:lnTo>
                <a:lnTo>
                  <a:pt x="14000" y="7509"/>
                </a:lnTo>
                <a:lnTo>
                  <a:pt x="14000" y="7515"/>
                </a:lnTo>
                <a:lnTo>
                  <a:pt x="14001" y="7521"/>
                </a:lnTo>
                <a:lnTo>
                  <a:pt x="14003" y="7526"/>
                </a:lnTo>
                <a:lnTo>
                  <a:pt x="14006" y="7531"/>
                </a:lnTo>
                <a:lnTo>
                  <a:pt x="14010" y="7536"/>
                </a:lnTo>
                <a:lnTo>
                  <a:pt x="14017" y="7540"/>
                </a:lnTo>
                <a:lnTo>
                  <a:pt x="14042" y="7567"/>
                </a:lnTo>
                <a:lnTo>
                  <a:pt x="14063" y="7591"/>
                </a:lnTo>
                <a:lnTo>
                  <a:pt x="14066" y="7598"/>
                </a:lnTo>
                <a:lnTo>
                  <a:pt x="14069" y="7604"/>
                </a:lnTo>
                <a:lnTo>
                  <a:pt x="14071" y="7610"/>
                </a:lnTo>
                <a:lnTo>
                  <a:pt x="14071" y="7617"/>
                </a:lnTo>
                <a:lnTo>
                  <a:pt x="14071" y="7625"/>
                </a:lnTo>
                <a:lnTo>
                  <a:pt x="14070" y="7633"/>
                </a:lnTo>
                <a:lnTo>
                  <a:pt x="14068" y="7641"/>
                </a:lnTo>
                <a:lnTo>
                  <a:pt x="14064" y="7650"/>
                </a:lnTo>
                <a:lnTo>
                  <a:pt x="14063" y="7653"/>
                </a:lnTo>
                <a:lnTo>
                  <a:pt x="14063" y="7656"/>
                </a:lnTo>
                <a:lnTo>
                  <a:pt x="14063" y="7659"/>
                </a:lnTo>
                <a:lnTo>
                  <a:pt x="14064" y="7663"/>
                </a:lnTo>
                <a:lnTo>
                  <a:pt x="14067" y="7670"/>
                </a:lnTo>
                <a:lnTo>
                  <a:pt x="14072" y="7676"/>
                </a:lnTo>
                <a:lnTo>
                  <a:pt x="14078" y="7683"/>
                </a:lnTo>
                <a:lnTo>
                  <a:pt x="14085" y="7688"/>
                </a:lnTo>
                <a:lnTo>
                  <a:pt x="14093" y="7692"/>
                </a:lnTo>
                <a:lnTo>
                  <a:pt x="14101" y="7695"/>
                </a:lnTo>
                <a:lnTo>
                  <a:pt x="14105" y="7695"/>
                </a:lnTo>
                <a:lnTo>
                  <a:pt x="14109" y="7696"/>
                </a:lnTo>
                <a:lnTo>
                  <a:pt x="14113" y="7695"/>
                </a:lnTo>
                <a:lnTo>
                  <a:pt x="14116" y="7694"/>
                </a:lnTo>
                <a:lnTo>
                  <a:pt x="14120" y="7693"/>
                </a:lnTo>
                <a:lnTo>
                  <a:pt x="14123" y="7691"/>
                </a:lnTo>
                <a:lnTo>
                  <a:pt x="14126" y="7688"/>
                </a:lnTo>
                <a:lnTo>
                  <a:pt x="14129" y="7684"/>
                </a:lnTo>
                <a:lnTo>
                  <a:pt x="14131" y="7680"/>
                </a:lnTo>
                <a:lnTo>
                  <a:pt x="14133" y="7675"/>
                </a:lnTo>
                <a:lnTo>
                  <a:pt x="14135" y="7669"/>
                </a:lnTo>
                <a:lnTo>
                  <a:pt x="14135" y="7662"/>
                </a:lnTo>
                <a:lnTo>
                  <a:pt x="14136" y="7654"/>
                </a:lnTo>
                <a:lnTo>
                  <a:pt x="14136" y="7646"/>
                </a:lnTo>
                <a:lnTo>
                  <a:pt x="14135" y="7636"/>
                </a:lnTo>
                <a:lnTo>
                  <a:pt x="14133" y="7625"/>
                </a:lnTo>
                <a:lnTo>
                  <a:pt x="14144" y="7628"/>
                </a:lnTo>
                <a:lnTo>
                  <a:pt x="14153" y="7632"/>
                </a:lnTo>
                <a:lnTo>
                  <a:pt x="14162" y="7637"/>
                </a:lnTo>
                <a:lnTo>
                  <a:pt x="14170" y="7642"/>
                </a:lnTo>
                <a:lnTo>
                  <a:pt x="14179" y="7648"/>
                </a:lnTo>
                <a:lnTo>
                  <a:pt x="14185" y="7654"/>
                </a:lnTo>
                <a:lnTo>
                  <a:pt x="14191" y="7660"/>
                </a:lnTo>
                <a:lnTo>
                  <a:pt x="14196" y="7667"/>
                </a:lnTo>
                <a:lnTo>
                  <a:pt x="14201" y="7674"/>
                </a:lnTo>
                <a:lnTo>
                  <a:pt x="14205" y="7682"/>
                </a:lnTo>
                <a:lnTo>
                  <a:pt x="14208" y="7689"/>
                </a:lnTo>
                <a:lnTo>
                  <a:pt x="14210" y="7698"/>
                </a:lnTo>
                <a:lnTo>
                  <a:pt x="14212" y="7706"/>
                </a:lnTo>
                <a:lnTo>
                  <a:pt x="14213" y="7714"/>
                </a:lnTo>
                <a:lnTo>
                  <a:pt x="14214" y="7723"/>
                </a:lnTo>
                <a:lnTo>
                  <a:pt x="14214" y="7732"/>
                </a:lnTo>
                <a:lnTo>
                  <a:pt x="14214" y="7740"/>
                </a:lnTo>
                <a:lnTo>
                  <a:pt x="14213" y="7750"/>
                </a:lnTo>
                <a:lnTo>
                  <a:pt x="14211" y="7759"/>
                </a:lnTo>
                <a:lnTo>
                  <a:pt x="14209" y="7768"/>
                </a:lnTo>
                <a:lnTo>
                  <a:pt x="14206" y="7777"/>
                </a:lnTo>
                <a:lnTo>
                  <a:pt x="14203" y="7785"/>
                </a:lnTo>
                <a:lnTo>
                  <a:pt x="14199" y="7794"/>
                </a:lnTo>
                <a:lnTo>
                  <a:pt x="14195" y="7802"/>
                </a:lnTo>
                <a:lnTo>
                  <a:pt x="14190" y="7810"/>
                </a:lnTo>
                <a:lnTo>
                  <a:pt x="14185" y="7818"/>
                </a:lnTo>
                <a:lnTo>
                  <a:pt x="14180" y="7825"/>
                </a:lnTo>
                <a:lnTo>
                  <a:pt x="14172" y="7832"/>
                </a:lnTo>
                <a:lnTo>
                  <a:pt x="14166" y="7839"/>
                </a:lnTo>
                <a:lnTo>
                  <a:pt x="14159" y="7845"/>
                </a:lnTo>
                <a:lnTo>
                  <a:pt x="14152" y="7851"/>
                </a:lnTo>
                <a:lnTo>
                  <a:pt x="14144" y="7857"/>
                </a:lnTo>
                <a:lnTo>
                  <a:pt x="14144" y="7867"/>
                </a:lnTo>
                <a:lnTo>
                  <a:pt x="14142" y="7876"/>
                </a:lnTo>
                <a:lnTo>
                  <a:pt x="14139" y="7884"/>
                </a:lnTo>
                <a:lnTo>
                  <a:pt x="14136" y="7892"/>
                </a:lnTo>
                <a:lnTo>
                  <a:pt x="14127" y="7905"/>
                </a:lnTo>
                <a:lnTo>
                  <a:pt x="14118" y="7917"/>
                </a:lnTo>
                <a:lnTo>
                  <a:pt x="14113" y="7924"/>
                </a:lnTo>
                <a:lnTo>
                  <a:pt x="14108" y="7931"/>
                </a:lnTo>
                <a:lnTo>
                  <a:pt x="14104" y="7938"/>
                </a:lnTo>
                <a:lnTo>
                  <a:pt x="14100" y="7946"/>
                </a:lnTo>
                <a:lnTo>
                  <a:pt x="14096" y="7955"/>
                </a:lnTo>
                <a:lnTo>
                  <a:pt x="14094" y="7965"/>
                </a:lnTo>
                <a:lnTo>
                  <a:pt x="14092" y="7977"/>
                </a:lnTo>
                <a:lnTo>
                  <a:pt x="14091" y="7989"/>
                </a:lnTo>
                <a:lnTo>
                  <a:pt x="14091" y="7998"/>
                </a:lnTo>
                <a:lnTo>
                  <a:pt x="14090" y="8009"/>
                </a:lnTo>
                <a:lnTo>
                  <a:pt x="14088" y="8019"/>
                </a:lnTo>
                <a:lnTo>
                  <a:pt x="14085" y="8030"/>
                </a:lnTo>
                <a:lnTo>
                  <a:pt x="14082" y="8041"/>
                </a:lnTo>
                <a:lnTo>
                  <a:pt x="14079" y="8051"/>
                </a:lnTo>
                <a:lnTo>
                  <a:pt x="14074" y="8062"/>
                </a:lnTo>
                <a:lnTo>
                  <a:pt x="14069" y="8073"/>
                </a:lnTo>
                <a:lnTo>
                  <a:pt x="14064" y="8083"/>
                </a:lnTo>
                <a:lnTo>
                  <a:pt x="14058" y="8093"/>
                </a:lnTo>
                <a:lnTo>
                  <a:pt x="14052" y="8102"/>
                </a:lnTo>
                <a:lnTo>
                  <a:pt x="14045" y="8110"/>
                </a:lnTo>
                <a:lnTo>
                  <a:pt x="14038" y="8117"/>
                </a:lnTo>
                <a:lnTo>
                  <a:pt x="14031" y="8123"/>
                </a:lnTo>
                <a:lnTo>
                  <a:pt x="14024" y="8129"/>
                </a:lnTo>
                <a:lnTo>
                  <a:pt x="14017" y="8133"/>
                </a:lnTo>
                <a:lnTo>
                  <a:pt x="14016" y="8136"/>
                </a:lnTo>
                <a:lnTo>
                  <a:pt x="14013" y="8139"/>
                </a:lnTo>
                <a:lnTo>
                  <a:pt x="14009" y="8143"/>
                </a:lnTo>
                <a:lnTo>
                  <a:pt x="14003" y="8148"/>
                </a:lnTo>
                <a:lnTo>
                  <a:pt x="13988" y="8159"/>
                </a:lnTo>
                <a:lnTo>
                  <a:pt x="13968" y="8171"/>
                </a:lnTo>
                <a:lnTo>
                  <a:pt x="13918" y="8200"/>
                </a:lnTo>
                <a:lnTo>
                  <a:pt x="13862" y="8232"/>
                </a:lnTo>
                <a:lnTo>
                  <a:pt x="13834" y="8249"/>
                </a:lnTo>
                <a:lnTo>
                  <a:pt x="13807" y="8267"/>
                </a:lnTo>
                <a:lnTo>
                  <a:pt x="13781" y="8283"/>
                </a:lnTo>
                <a:lnTo>
                  <a:pt x="13759" y="8300"/>
                </a:lnTo>
                <a:lnTo>
                  <a:pt x="13749" y="8307"/>
                </a:lnTo>
                <a:lnTo>
                  <a:pt x="13741" y="8315"/>
                </a:lnTo>
                <a:lnTo>
                  <a:pt x="13734" y="8322"/>
                </a:lnTo>
                <a:lnTo>
                  <a:pt x="13728" y="8329"/>
                </a:lnTo>
                <a:lnTo>
                  <a:pt x="13724" y="8336"/>
                </a:lnTo>
                <a:lnTo>
                  <a:pt x="13721" y="8343"/>
                </a:lnTo>
                <a:lnTo>
                  <a:pt x="13720" y="8349"/>
                </a:lnTo>
                <a:lnTo>
                  <a:pt x="13721" y="8354"/>
                </a:lnTo>
                <a:lnTo>
                  <a:pt x="13709" y="8355"/>
                </a:lnTo>
                <a:lnTo>
                  <a:pt x="13695" y="8357"/>
                </a:lnTo>
                <a:lnTo>
                  <a:pt x="13677" y="8360"/>
                </a:lnTo>
                <a:lnTo>
                  <a:pt x="13657" y="8364"/>
                </a:lnTo>
                <a:lnTo>
                  <a:pt x="13637" y="8369"/>
                </a:lnTo>
                <a:lnTo>
                  <a:pt x="13616" y="8375"/>
                </a:lnTo>
                <a:lnTo>
                  <a:pt x="13593" y="8384"/>
                </a:lnTo>
                <a:lnTo>
                  <a:pt x="13571" y="8392"/>
                </a:lnTo>
                <a:lnTo>
                  <a:pt x="13549" y="8401"/>
                </a:lnTo>
                <a:lnTo>
                  <a:pt x="13526" y="8410"/>
                </a:lnTo>
                <a:lnTo>
                  <a:pt x="13506" y="8421"/>
                </a:lnTo>
                <a:lnTo>
                  <a:pt x="13487" y="8432"/>
                </a:lnTo>
                <a:lnTo>
                  <a:pt x="13470" y="8443"/>
                </a:lnTo>
                <a:lnTo>
                  <a:pt x="13456" y="8455"/>
                </a:lnTo>
                <a:lnTo>
                  <a:pt x="13449" y="8462"/>
                </a:lnTo>
                <a:lnTo>
                  <a:pt x="13444" y="8468"/>
                </a:lnTo>
                <a:lnTo>
                  <a:pt x="13439" y="8475"/>
                </a:lnTo>
                <a:lnTo>
                  <a:pt x="13436" y="8481"/>
                </a:lnTo>
                <a:lnTo>
                  <a:pt x="13427" y="8482"/>
                </a:lnTo>
                <a:lnTo>
                  <a:pt x="13415" y="8484"/>
                </a:lnTo>
                <a:lnTo>
                  <a:pt x="13402" y="8487"/>
                </a:lnTo>
                <a:lnTo>
                  <a:pt x="13387" y="8490"/>
                </a:lnTo>
                <a:lnTo>
                  <a:pt x="13355" y="8500"/>
                </a:lnTo>
                <a:lnTo>
                  <a:pt x="13320" y="8514"/>
                </a:lnTo>
                <a:lnTo>
                  <a:pt x="13303" y="8520"/>
                </a:lnTo>
                <a:lnTo>
                  <a:pt x="13286" y="8527"/>
                </a:lnTo>
                <a:lnTo>
                  <a:pt x="13271" y="8534"/>
                </a:lnTo>
                <a:lnTo>
                  <a:pt x="13257" y="8541"/>
                </a:lnTo>
                <a:lnTo>
                  <a:pt x="13245" y="8548"/>
                </a:lnTo>
                <a:lnTo>
                  <a:pt x="13235" y="8554"/>
                </a:lnTo>
                <a:lnTo>
                  <a:pt x="13228" y="8561"/>
                </a:lnTo>
                <a:lnTo>
                  <a:pt x="13223" y="8566"/>
                </a:lnTo>
                <a:lnTo>
                  <a:pt x="13206" y="8566"/>
                </a:lnTo>
                <a:lnTo>
                  <a:pt x="13190" y="8564"/>
                </a:lnTo>
                <a:lnTo>
                  <a:pt x="13174" y="8560"/>
                </a:lnTo>
                <a:lnTo>
                  <a:pt x="13159" y="8556"/>
                </a:lnTo>
                <a:lnTo>
                  <a:pt x="13147" y="8551"/>
                </a:lnTo>
                <a:lnTo>
                  <a:pt x="13135" y="8545"/>
                </a:lnTo>
                <a:lnTo>
                  <a:pt x="13124" y="8538"/>
                </a:lnTo>
                <a:lnTo>
                  <a:pt x="13114" y="8530"/>
                </a:lnTo>
                <a:lnTo>
                  <a:pt x="13105" y="8522"/>
                </a:lnTo>
                <a:lnTo>
                  <a:pt x="13096" y="8513"/>
                </a:lnTo>
                <a:lnTo>
                  <a:pt x="13089" y="8502"/>
                </a:lnTo>
                <a:lnTo>
                  <a:pt x="13082" y="8492"/>
                </a:lnTo>
                <a:lnTo>
                  <a:pt x="13069" y="8471"/>
                </a:lnTo>
                <a:lnTo>
                  <a:pt x="13059" y="8450"/>
                </a:lnTo>
                <a:lnTo>
                  <a:pt x="13039" y="8407"/>
                </a:lnTo>
                <a:lnTo>
                  <a:pt x="13021" y="8369"/>
                </a:lnTo>
                <a:lnTo>
                  <a:pt x="13016" y="8362"/>
                </a:lnTo>
                <a:lnTo>
                  <a:pt x="13011" y="8355"/>
                </a:lnTo>
                <a:lnTo>
                  <a:pt x="13005" y="8348"/>
                </a:lnTo>
                <a:lnTo>
                  <a:pt x="12999" y="8343"/>
                </a:lnTo>
                <a:lnTo>
                  <a:pt x="12993" y="8339"/>
                </a:lnTo>
                <a:lnTo>
                  <a:pt x="12986" y="8336"/>
                </a:lnTo>
                <a:lnTo>
                  <a:pt x="12978" y="8334"/>
                </a:lnTo>
                <a:lnTo>
                  <a:pt x="12970" y="8333"/>
                </a:lnTo>
                <a:lnTo>
                  <a:pt x="12971" y="8326"/>
                </a:lnTo>
                <a:lnTo>
                  <a:pt x="12971" y="8320"/>
                </a:lnTo>
                <a:lnTo>
                  <a:pt x="12970" y="8313"/>
                </a:lnTo>
                <a:lnTo>
                  <a:pt x="12969" y="8308"/>
                </a:lnTo>
                <a:lnTo>
                  <a:pt x="12966" y="8296"/>
                </a:lnTo>
                <a:lnTo>
                  <a:pt x="12960" y="8286"/>
                </a:lnTo>
                <a:lnTo>
                  <a:pt x="12945" y="8264"/>
                </a:lnTo>
                <a:lnTo>
                  <a:pt x="12928" y="8238"/>
                </a:lnTo>
                <a:lnTo>
                  <a:pt x="12932" y="8236"/>
                </a:lnTo>
                <a:lnTo>
                  <a:pt x="12935" y="8232"/>
                </a:lnTo>
                <a:lnTo>
                  <a:pt x="12937" y="8226"/>
                </a:lnTo>
                <a:lnTo>
                  <a:pt x="12937" y="8218"/>
                </a:lnTo>
                <a:lnTo>
                  <a:pt x="12935" y="8207"/>
                </a:lnTo>
                <a:lnTo>
                  <a:pt x="12932" y="8194"/>
                </a:lnTo>
                <a:lnTo>
                  <a:pt x="12928" y="8180"/>
                </a:lnTo>
                <a:lnTo>
                  <a:pt x="12923" y="8164"/>
                </a:lnTo>
                <a:lnTo>
                  <a:pt x="12909" y="8128"/>
                </a:lnTo>
                <a:lnTo>
                  <a:pt x="12893" y="8086"/>
                </a:lnTo>
                <a:lnTo>
                  <a:pt x="12875" y="8042"/>
                </a:lnTo>
                <a:lnTo>
                  <a:pt x="12855" y="7995"/>
                </a:lnTo>
                <a:lnTo>
                  <a:pt x="12813" y="7901"/>
                </a:lnTo>
                <a:lnTo>
                  <a:pt x="12775" y="7813"/>
                </a:lnTo>
                <a:lnTo>
                  <a:pt x="12759" y="7776"/>
                </a:lnTo>
                <a:lnTo>
                  <a:pt x="12747" y="7742"/>
                </a:lnTo>
                <a:lnTo>
                  <a:pt x="12743" y="7728"/>
                </a:lnTo>
                <a:lnTo>
                  <a:pt x="12740" y="7716"/>
                </a:lnTo>
                <a:lnTo>
                  <a:pt x="12738" y="7706"/>
                </a:lnTo>
                <a:lnTo>
                  <a:pt x="12737" y="7698"/>
                </a:lnTo>
                <a:lnTo>
                  <a:pt x="12730" y="7693"/>
                </a:lnTo>
                <a:lnTo>
                  <a:pt x="12722" y="7686"/>
                </a:lnTo>
                <a:lnTo>
                  <a:pt x="12715" y="7677"/>
                </a:lnTo>
                <a:lnTo>
                  <a:pt x="12707" y="7666"/>
                </a:lnTo>
                <a:lnTo>
                  <a:pt x="12700" y="7653"/>
                </a:lnTo>
                <a:lnTo>
                  <a:pt x="12692" y="7640"/>
                </a:lnTo>
                <a:lnTo>
                  <a:pt x="12685" y="7625"/>
                </a:lnTo>
                <a:lnTo>
                  <a:pt x="12678" y="7609"/>
                </a:lnTo>
                <a:lnTo>
                  <a:pt x="12666" y="7577"/>
                </a:lnTo>
                <a:lnTo>
                  <a:pt x="12654" y="7547"/>
                </a:lnTo>
                <a:lnTo>
                  <a:pt x="12646" y="7520"/>
                </a:lnTo>
                <a:lnTo>
                  <a:pt x="12641" y="7498"/>
                </a:lnTo>
                <a:lnTo>
                  <a:pt x="12631" y="7490"/>
                </a:lnTo>
                <a:lnTo>
                  <a:pt x="12622" y="7481"/>
                </a:lnTo>
                <a:lnTo>
                  <a:pt x="12612" y="7470"/>
                </a:lnTo>
                <a:lnTo>
                  <a:pt x="12603" y="7459"/>
                </a:lnTo>
                <a:lnTo>
                  <a:pt x="12593" y="7446"/>
                </a:lnTo>
                <a:lnTo>
                  <a:pt x="12584" y="7432"/>
                </a:lnTo>
                <a:lnTo>
                  <a:pt x="12575" y="7418"/>
                </a:lnTo>
                <a:lnTo>
                  <a:pt x="12567" y="7403"/>
                </a:lnTo>
                <a:lnTo>
                  <a:pt x="12551" y="7372"/>
                </a:lnTo>
                <a:lnTo>
                  <a:pt x="12535" y="7341"/>
                </a:lnTo>
                <a:lnTo>
                  <a:pt x="12523" y="7312"/>
                </a:lnTo>
                <a:lnTo>
                  <a:pt x="12514" y="7286"/>
                </a:lnTo>
                <a:lnTo>
                  <a:pt x="12503" y="7278"/>
                </a:lnTo>
                <a:lnTo>
                  <a:pt x="12491" y="7268"/>
                </a:lnTo>
                <a:lnTo>
                  <a:pt x="12478" y="7255"/>
                </a:lnTo>
                <a:lnTo>
                  <a:pt x="12464" y="7239"/>
                </a:lnTo>
                <a:lnTo>
                  <a:pt x="12449" y="7223"/>
                </a:lnTo>
                <a:lnTo>
                  <a:pt x="12433" y="7206"/>
                </a:lnTo>
                <a:lnTo>
                  <a:pt x="12418" y="7187"/>
                </a:lnTo>
                <a:lnTo>
                  <a:pt x="12401" y="7168"/>
                </a:lnTo>
                <a:lnTo>
                  <a:pt x="12386" y="7148"/>
                </a:lnTo>
                <a:lnTo>
                  <a:pt x="12372" y="7128"/>
                </a:lnTo>
                <a:lnTo>
                  <a:pt x="12358" y="7108"/>
                </a:lnTo>
                <a:lnTo>
                  <a:pt x="12346" y="7088"/>
                </a:lnTo>
                <a:lnTo>
                  <a:pt x="12335" y="7070"/>
                </a:lnTo>
                <a:lnTo>
                  <a:pt x="12326" y="7052"/>
                </a:lnTo>
                <a:lnTo>
                  <a:pt x="12319" y="7036"/>
                </a:lnTo>
                <a:lnTo>
                  <a:pt x="12313" y="7021"/>
                </a:lnTo>
                <a:lnTo>
                  <a:pt x="12343" y="7025"/>
                </a:lnTo>
                <a:lnTo>
                  <a:pt x="12375" y="7027"/>
                </a:lnTo>
                <a:lnTo>
                  <a:pt x="12391" y="7028"/>
                </a:lnTo>
                <a:lnTo>
                  <a:pt x="12406" y="7027"/>
                </a:lnTo>
                <a:lnTo>
                  <a:pt x="12423" y="7026"/>
                </a:lnTo>
                <a:lnTo>
                  <a:pt x="12437" y="7024"/>
                </a:lnTo>
                <a:lnTo>
                  <a:pt x="12451" y="7021"/>
                </a:lnTo>
                <a:lnTo>
                  <a:pt x="12464" y="7016"/>
                </a:lnTo>
                <a:lnTo>
                  <a:pt x="12469" y="7013"/>
                </a:lnTo>
                <a:lnTo>
                  <a:pt x="12475" y="7010"/>
                </a:lnTo>
                <a:lnTo>
                  <a:pt x="12480" y="7006"/>
                </a:lnTo>
                <a:lnTo>
                  <a:pt x="12485" y="7001"/>
                </a:lnTo>
                <a:lnTo>
                  <a:pt x="12489" y="6997"/>
                </a:lnTo>
                <a:lnTo>
                  <a:pt x="12492" y="6990"/>
                </a:lnTo>
                <a:lnTo>
                  <a:pt x="12496" y="6985"/>
                </a:lnTo>
                <a:lnTo>
                  <a:pt x="12498" y="6978"/>
                </a:lnTo>
                <a:lnTo>
                  <a:pt x="12501" y="6971"/>
                </a:lnTo>
                <a:lnTo>
                  <a:pt x="12502" y="6964"/>
                </a:lnTo>
                <a:lnTo>
                  <a:pt x="12503" y="6956"/>
                </a:lnTo>
                <a:lnTo>
                  <a:pt x="12504" y="6947"/>
                </a:lnTo>
                <a:lnTo>
                  <a:pt x="12494" y="6946"/>
                </a:lnTo>
                <a:lnTo>
                  <a:pt x="12486" y="6944"/>
                </a:lnTo>
                <a:lnTo>
                  <a:pt x="12480" y="6941"/>
                </a:lnTo>
                <a:lnTo>
                  <a:pt x="12474" y="6937"/>
                </a:lnTo>
                <a:lnTo>
                  <a:pt x="12469" y="6932"/>
                </a:lnTo>
                <a:lnTo>
                  <a:pt x="12465" y="6927"/>
                </a:lnTo>
                <a:lnTo>
                  <a:pt x="12463" y="6921"/>
                </a:lnTo>
                <a:lnTo>
                  <a:pt x="12461" y="6915"/>
                </a:lnTo>
                <a:lnTo>
                  <a:pt x="12461" y="6910"/>
                </a:lnTo>
                <a:lnTo>
                  <a:pt x="12462" y="6904"/>
                </a:lnTo>
                <a:lnTo>
                  <a:pt x="12464" y="6899"/>
                </a:lnTo>
                <a:lnTo>
                  <a:pt x="12467" y="6894"/>
                </a:lnTo>
                <a:lnTo>
                  <a:pt x="12472" y="6890"/>
                </a:lnTo>
                <a:lnTo>
                  <a:pt x="12478" y="6887"/>
                </a:lnTo>
                <a:lnTo>
                  <a:pt x="12485" y="6885"/>
                </a:lnTo>
                <a:lnTo>
                  <a:pt x="12493" y="6884"/>
                </a:lnTo>
                <a:lnTo>
                  <a:pt x="12491" y="6872"/>
                </a:lnTo>
                <a:lnTo>
                  <a:pt x="12490" y="6860"/>
                </a:lnTo>
                <a:lnTo>
                  <a:pt x="12490" y="6849"/>
                </a:lnTo>
                <a:lnTo>
                  <a:pt x="12492" y="6838"/>
                </a:lnTo>
                <a:lnTo>
                  <a:pt x="12494" y="6827"/>
                </a:lnTo>
                <a:lnTo>
                  <a:pt x="12498" y="6817"/>
                </a:lnTo>
                <a:lnTo>
                  <a:pt x="12501" y="6807"/>
                </a:lnTo>
                <a:lnTo>
                  <a:pt x="12506" y="6797"/>
                </a:lnTo>
                <a:lnTo>
                  <a:pt x="12515" y="6778"/>
                </a:lnTo>
                <a:lnTo>
                  <a:pt x="12524" y="6759"/>
                </a:lnTo>
                <a:lnTo>
                  <a:pt x="12528" y="6750"/>
                </a:lnTo>
                <a:lnTo>
                  <a:pt x="12532" y="6740"/>
                </a:lnTo>
                <a:lnTo>
                  <a:pt x="12535" y="6730"/>
                </a:lnTo>
                <a:lnTo>
                  <a:pt x="12539" y="6721"/>
                </a:lnTo>
                <a:lnTo>
                  <a:pt x="12544" y="6697"/>
                </a:lnTo>
                <a:lnTo>
                  <a:pt x="12550" y="6670"/>
                </a:lnTo>
                <a:lnTo>
                  <a:pt x="12557" y="6641"/>
                </a:lnTo>
                <a:lnTo>
                  <a:pt x="12563" y="6611"/>
                </a:lnTo>
                <a:lnTo>
                  <a:pt x="12569" y="6580"/>
                </a:lnTo>
                <a:lnTo>
                  <a:pt x="12574" y="6550"/>
                </a:lnTo>
                <a:lnTo>
                  <a:pt x="12577" y="6521"/>
                </a:lnTo>
                <a:lnTo>
                  <a:pt x="12578" y="6493"/>
                </a:lnTo>
                <a:lnTo>
                  <a:pt x="12553" y="6493"/>
                </a:lnTo>
                <a:lnTo>
                  <a:pt x="12531" y="6495"/>
                </a:lnTo>
                <a:lnTo>
                  <a:pt x="12514" y="6497"/>
                </a:lnTo>
                <a:lnTo>
                  <a:pt x="12498" y="6501"/>
                </a:lnTo>
                <a:lnTo>
                  <a:pt x="12467" y="6511"/>
                </a:lnTo>
                <a:lnTo>
                  <a:pt x="12430" y="6524"/>
                </a:lnTo>
                <a:lnTo>
                  <a:pt x="12430" y="6528"/>
                </a:lnTo>
                <a:lnTo>
                  <a:pt x="12428" y="6531"/>
                </a:lnTo>
                <a:lnTo>
                  <a:pt x="12427" y="6534"/>
                </a:lnTo>
                <a:lnTo>
                  <a:pt x="12424" y="6536"/>
                </a:lnTo>
                <a:lnTo>
                  <a:pt x="12421" y="6538"/>
                </a:lnTo>
                <a:lnTo>
                  <a:pt x="12418" y="6539"/>
                </a:lnTo>
                <a:lnTo>
                  <a:pt x="12414" y="6540"/>
                </a:lnTo>
                <a:lnTo>
                  <a:pt x="12409" y="6540"/>
                </a:lnTo>
                <a:lnTo>
                  <a:pt x="12399" y="6540"/>
                </a:lnTo>
                <a:lnTo>
                  <a:pt x="12387" y="6539"/>
                </a:lnTo>
                <a:lnTo>
                  <a:pt x="12375" y="6537"/>
                </a:lnTo>
                <a:lnTo>
                  <a:pt x="12363" y="6535"/>
                </a:lnTo>
                <a:lnTo>
                  <a:pt x="12313" y="6521"/>
                </a:lnTo>
                <a:lnTo>
                  <a:pt x="12281" y="6513"/>
                </a:lnTo>
                <a:lnTo>
                  <a:pt x="12278" y="6509"/>
                </a:lnTo>
                <a:lnTo>
                  <a:pt x="12274" y="6505"/>
                </a:lnTo>
                <a:lnTo>
                  <a:pt x="12269" y="6502"/>
                </a:lnTo>
                <a:lnTo>
                  <a:pt x="12263" y="6500"/>
                </a:lnTo>
                <a:lnTo>
                  <a:pt x="12257" y="6499"/>
                </a:lnTo>
                <a:lnTo>
                  <a:pt x="12249" y="6499"/>
                </a:lnTo>
                <a:lnTo>
                  <a:pt x="12241" y="6499"/>
                </a:lnTo>
                <a:lnTo>
                  <a:pt x="12233" y="6500"/>
                </a:lnTo>
                <a:lnTo>
                  <a:pt x="12194" y="6506"/>
                </a:lnTo>
                <a:lnTo>
                  <a:pt x="12149" y="6514"/>
                </a:lnTo>
                <a:lnTo>
                  <a:pt x="12127" y="6518"/>
                </a:lnTo>
                <a:lnTo>
                  <a:pt x="12104" y="6520"/>
                </a:lnTo>
                <a:lnTo>
                  <a:pt x="12093" y="6521"/>
                </a:lnTo>
                <a:lnTo>
                  <a:pt x="12082" y="6520"/>
                </a:lnTo>
                <a:lnTo>
                  <a:pt x="12071" y="6520"/>
                </a:lnTo>
                <a:lnTo>
                  <a:pt x="12061" y="6518"/>
                </a:lnTo>
                <a:lnTo>
                  <a:pt x="12051" y="6516"/>
                </a:lnTo>
                <a:lnTo>
                  <a:pt x="12042" y="6513"/>
                </a:lnTo>
                <a:lnTo>
                  <a:pt x="12032" y="6509"/>
                </a:lnTo>
                <a:lnTo>
                  <a:pt x="12023" y="6504"/>
                </a:lnTo>
                <a:lnTo>
                  <a:pt x="12015" y="6497"/>
                </a:lnTo>
                <a:lnTo>
                  <a:pt x="12008" y="6490"/>
                </a:lnTo>
                <a:lnTo>
                  <a:pt x="12002" y="6480"/>
                </a:lnTo>
                <a:lnTo>
                  <a:pt x="11996" y="6470"/>
                </a:lnTo>
                <a:lnTo>
                  <a:pt x="11980" y="6455"/>
                </a:lnTo>
                <a:lnTo>
                  <a:pt x="11967" y="6440"/>
                </a:lnTo>
                <a:lnTo>
                  <a:pt x="11956" y="6426"/>
                </a:lnTo>
                <a:lnTo>
                  <a:pt x="11947" y="6411"/>
                </a:lnTo>
                <a:lnTo>
                  <a:pt x="11940" y="6397"/>
                </a:lnTo>
                <a:lnTo>
                  <a:pt x="11934" y="6382"/>
                </a:lnTo>
                <a:lnTo>
                  <a:pt x="11929" y="6368"/>
                </a:lnTo>
                <a:lnTo>
                  <a:pt x="11925" y="6352"/>
                </a:lnTo>
                <a:lnTo>
                  <a:pt x="11920" y="6320"/>
                </a:lnTo>
                <a:lnTo>
                  <a:pt x="11915" y="6287"/>
                </a:lnTo>
                <a:lnTo>
                  <a:pt x="11913" y="6269"/>
                </a:lnTo>
                <a:lnTo>
                  <a:pt x="11909" y="6250"/>
                </a:lnTo>
                <a:lnTo>
                  <a:pt x="11905" y="6229"/>
                </a:lnTo>
                <a:lnTo>
                  <a:pt x="11900" y="6207"/>
                </a:lnTo>
                <a:lnTo>
                  <a:pt x="11896" y="6197"/>
                </a:lnTo>
                <a:lnTo>
                  <a:pt x="11891" y="6188"/>
                </a:lnTo>
                <a:lnTo>
                  <a:pt x="11885" y="6180"/>
                </a:lnTo>
                <a:lnTo>
                  <a:pt x="11878" y="6173"/>
                </a:lnTo>
                <a:lnTo>
                  <a:pt x="11870" y="6167"/>
                </a:lnTo>
                <a:lnTo>
                  <a:pt x="11861" y="6162"/>
                </a:lnTo>
                <a:lnTo>
                  <a:pt x="11851" y="6157"/>
                </a:lnTo>
                <a:lnTo>
                  <a:pt x="11841" y="6153"/>
                </a:lnTo>
                <a:lnTo>
                  <a:pt x="11819" y="6147"/>
                </a:lnTo>
                <a:lnTo>
                  <a:pt x="11797" y="6143"/>
                </a:lnTo>
                <a:lnTo>
                  <a:pt x="11775" y="6139"/>
                </a:lnTo>
                <a:lnTo>
                  <a:pt x="11756" y="6136"/>
                </a:lnTo>
                <a:lnTo>
                  <a:pt x="11743" y="6134"/>
                </a:lnTo>
                <a:lnTo>
                  <a:pt x="11733" y="6133"/>
                </a:lnTo>
                <a:lnTo>
                  <a:pt x="11723" y="6134"/>
                </a:lnTo>
                <a:lnTo>
                  <a:pt x="11715" y="6135"/>
                </a:lnTo>
                <a:lnTo>
                  <a:pt x="11707" y="6138"/>
                </a:lnTo>
                <a:lnTo>
                  <a:pt x="11701" y="6141"/>
                </a:lnTo>
                <a:lnTo>
                  <a:pt x="11696" y="6145"/>
                </a:lnTo>
                <a:lnTo>
                  <a:pt x="11692" y="6151"/>
                </a:lnTo>
                <a:lnTo>
                  <a:pt x="11688" y="6156"/>
                </a:lnTo>
                <a:lnTo>
                  <a:pt x="11686" y="6163"/>
                </a:lnTo>
                <a:lnTo>
                  <a:pt x="11684" y="6170"/>
                </a:lnTo>
                <a:lnTo>
                  <a:pt x="11683" y="6178"/>
                </a:lnTo>
                <a:lnTo>
                  <a:pt x="11683" y="6195"/>
                </a:lnTo>
                <a:lnTo>
                  <a:pt x="11684" y="6213"/>
                </a:lnTo>
                <a:lnTo>
                  <a:pt x="11687" y="6232"/>
                </a:lnTo>
                <a:lnTo>
                  <a:pt x="11692" y="6252"/>
                </a:lnTo>
                <a:lnTo>
                  <a:pt x="11696" y="6271"/>
                </a:lnTo>
                <a:lnTo>
                  <a:pt x="11701" y="6289"/>
                </a:lnTo>
                <a:lnTo>
                  <a:pt x="11705" y="6306"/>
                </a:lnTo>
                <a:lnTo>
                  <a:pt x="11709" y="6321"/>
                </a:lnTo>
                <a:lnTo>
                  <a:pt x="11710" y="6334"/>
                </a:lnTo>
                <a:lnTo>
                  <a:pt x="11710" y="6343"/>
                </a:lnTo>
                <a:lnTo>
                  <a:pt x="11717" y="6344"/>
                </a:lnTo>
                <a:lnTo>
                  <a:pt x="11723" y="6345"/>
                </a:lnTo>
                <a:lnTo>
                  <a:pt x="11728" y="6346"/>
                </a:lnTo>
                <a:lnTo>
                  <a:pt x="11732" y="6348"/>
                </a:lnTo>
                <a:lnTo>
                  <a:pt x="11735" y="6351"/>
                </a:lnTo>
                <a:lnTo>
                  <a:pt x="11737" y="6353"/>
                </a:lnTo>
                <a:lnTo>
                  <a:pt x="11737" y="6357"/>
                </a:lnTo>
                <a:lnTo>
                  <a:pt x="11737" y="6361"/>
                </a:lnTo>
                <a:lnTo>
                  <a:pt x="11735" y="6370"/>
                </a:lnTo>
                <a:lnTo>
                  <a:pt x="11730" y="6380"/>
                </a:lnTo>
                <a:lnTo>
                  <a:pt x="11724" y="6391"/>
                </a:lnTo>
                <a:lnTo>
                  <a:pt x="11715" y="6403"/>
                </a:lnTo>
                <a:lnTo>
                  <a:pt x="11696" y="6429"/>
                </a:lnTo>
                <a:lnTo>
                  <a:pt x="11677" y="6455"/>
                </a:lnTo>
                <a:lnTo>
                  <a:pt x="11669" y="6468"/>
                </a:lnTo>
                <a:lnTo>
                  <a:pt x="11663" y="6480"/>
                </a:lnTo>
                <a:lnTo>
                  <a:pt x="11661" y="6486"/>
                </a:lnTo>
                <a:lnTo>
                  <a:pt x="11659" y="6492"/>
                </a:lnTo>
                <a:lnTo>
                  <a:pt x="11658" y="6498"/>
                </a:lnTo>
                <a:lnTo>
                  <a:pt x="11657" y="6503"/>
                </a:lnTo>
                <a:lnTo>
                  <a:pt x="11644" y="6500"/>
                </a:lnTo>
                <a:lnTo>
                  <a:pt x="11632" y="6496"/>
                </a:lnTo>
                <a:lnTo>
                  <a:pt x="11621" y="6491"/>
                </a:lnTo>
                <a:lnTo>
                  <a:pt x="11612" y="6485"/>
                </a:lnTo>
                <a:lnTo>
                  <a:pt x="11603" y="6479"/>
                </a:lnTo>
                <a:lnTo>
                  <a:pt x="11595" y="6473"/>
                </a:lnTo>
                <a:lnTo>
                  <a:pt x="11587" y="6466"/>
                </a:lnTo>
                <a:lnTo>
                  <a:pt x="11581" y="6459"/>
                </a:lnTo>
                <a:lnTo>
                  <a:pt x="11575" y="6451"/>
                </a:lnTo>
                <a:lnTo>
                  <a:pt x="11569" y="6443"/>
                </a:lnTo>
                <a:lnTo>
                  <a:pt x="11564" y="6435"/>
                </a:lnTo>
                <a:lnTo>
                  <a:pt x="11560" y="6427"/>
                </a:lnTo>
                <a:lnTo>
                  <a:pt x="11552" y="6409"/>
                </a:lnTo>
                <a:lnTo>
                  <a:pt x="11546" y="6391"/>
                </a:lnTo>
                <a:lnTo>
                  <a:pt x="11534" y="6353"/>
                </a:lnTo>
                <a:lnTo>
                  <a:pt x="11521" y="6320"/>
                </a:lnTo>
                <a:lnTo>
                  <a:pt x="11517" y="6312"/>
                </a:lnTo>
                <a:lnTo>
                  <a:pt x="11513" y="6304"/>
                </a:lnTo>
                <a:lnTo>
                  <a:pt x="11508" y="6297"/>
                </a:lnTo>
                <a:lnTo>
                  <a:pt x="11503" y="6291"/>
                </a:lnTo>
                <a:lnTo>
                  <a:pt x="11498" y="6285"/>
                </a:lnTo>
                <a:lnTo>
                  <a:pt x="11491" y="6279"/>
                </a:lnTo>
                <a:lnTo>
                  <a:pt x="11485" y="6274"/>
                </a:lnTo>
                <a:lnTo>
                  <a:pt x="11477" y="6270"/>
                </a:lnTo>
                <a:lnTo>
                  <a:pt x="11473" y="6262"/>
                </a:lnTo>
                <a:lnTo>
                  <a:pt x="11470" y="6255"/>
                </a:lnTo>
                <a:lnTo>
                  <a:pt x="11467" y="6248"/>
                </a:lnTo>
                <a:lnTo>
                  <a:pt x="11465" y="6241"/>
                </a:lnTo>
                <a:lnTo>
                  <a:pt x="11462" y="6227"/>
                </a:lnTo>
                <a:lnTo>
                  <a:pt x="11458" y="6217"/>
                </a:lnTo>
                <a:lnTo>
                  <a:pt x="11456" y="6212"/>
                </a:lnTo>
                <a:lnTo>
                  <a:pt x="11453" y="6208"/>
                </a:lnTo>
                <a:lnTo>
                  <a:pt x="11450" y="6204"/>
                </a:lnTo>
                <a:lnTo>
                  <a:pt x="11445" y="6201"/>
                </a:lnTo>
                <a:lnTo>
                  <a:pt x="11440" y="6199"/>
                </a:lnTo>
                <a:lnTo>
                  <a:pt x="11433" y="6197"/>
                </a:lnTo>
                <a:lnTo>
                  <a:pt x="11424" y="6196"/>
                </a:lnTo>
                <a:lnTo>
                  <a:pt x="11414" y="6196"/>
                </a:lnTo>
                <a:lnTo>
                  <a:pt x="11415" y="6173"/>
                </a:lnTo>
                <a:lnTo>
                  <a:pt x="11418" y="6147"/>
                </a:lnTo>
                <a:lnTo>
                  <a:pt x="11420" y="6120"/>
                </a:lnTo>
                <a:lnTo>
                  <a:pt x="11422" y="6092"/>
                </a:lnTo>
                <a:lnTo>
                  <a:pt x="11421" y="6079"/>
                </a:lnTo>
                <a:lnTo>
                  <a:pt x="11420" y="6067"/>
                </a:lnTo>
                <a:lnTo>
                  <a:pt x="11417" y="6055"/>
                </a:lnTo>
                <a:lnTo>
                  <a:pt x="11414" y="6045"/>
                </a:lnTo>
                <a:lnTo>
                  <a:pt x="11411" y="6040"/>
                </a:lnTo>
                <a:lnTo>
                  <a:pt x="11409" y="6035"/>
                </a:lnTo>
                <a:lnTo>
                  <a:pt x="11405" y="6031"/>
                </a:lnTo>
                <a:lnTo>
                  <a:pt x="11401" y="6027"/>
                </a:lnTo>
                <a:lnTo>
                  <a:pt x="11397" y="6024"/>
                </a:lnTo>
                <a:lnTo>
                  <a:pt x="11392" y="6021"/>
                </a:lnTo>
                <a:lnTo>
                  <a:pt x="11387" y="6018"/>
                </a:lnTo>
                <a:lnTo>
                  <a:pt x="11382" y="6016"/>
                </a:lnTo>
                <a:lnTo>
                  <a:pt x="11381" y="6013"/>
                </a:lnTo>
                <a:lnTo>
                  <a:pt x="11380" y="6011"/>
                </a:lnTo>
                <a:lnTo>
                  <a:pt x="11379" y="6009"/>
                </a:lnTo>
                <a:lnTo>
                  <a:pt x="11377" y="6006"/>
                </a:lnTo>
                <a:lnTo>
                  <a:pt x="11371" y="6002"/>
                </a:lnTo>
                <a:lnTo>
                  <a:pt x="11363" y="5998"/>
                </a:lnTo>
                <a:lnTo>
                  <a:pt x="11343" y="5990"/>
                </a:lnTo>
                <a:lnTo>
                  <a:pt x="11320" y="5981"/>
                </a:lnTo>
                <a:lnTo>
                  <a:pt x="11296" y="5973"/>
                </a:lnTo>
                <a:lnTo>
                  <a:pt x="11273" y="5964"/>
                </a:lnTo>
                <a:lnTo>
                  <a:pt x="11263" y="5959"/>
                </a:lnTo>
                <a:lnTo>
                  <a:pt x="11255" y="5954"/>
                </a:lnTo>
                <a:lnTo>
                  <a:pt x="11249" y="5948"/>
                </a:lnTo>
                <a:lnTo>
                  <a:pt x="11244" y="5941"/>
                </a:lnTo>
                <a:lnTo>
                  <a:pt x="11237" y="5941"/>
                </a:lnTo>
                <a:lnTo>
                  <a:pt x="11229" y="5938"/>
                </a:lnTo>
                <a:lnTo>
                  <a:pt x="11221" y="5934"/>
                </a:lnTo>
                <a:lnTo>
                  <a:pt x="11212" y="5929"/>
                </a:lnTo>
                <a:lnTo>
                  <a:pt x="11203" y="5923"/>
                </a:lnTo>
                <a:lnTo>
                  <a:pt x="11193" y="5916"/>
                </a:lnTo>
                <a:lnTo>
                  <a:pt x="11183" y="5907"/>
                </a:lnTo>
                <a:lnTo>
                  <a:pt x="11173" y="5898"/>
                </a:lnTo>
                <a:lnTo>
                  <a:pt x="11128" y="5855"/>
                </a:lnTo>
                <a:lnTo>
                  <a:pt x="11083" y="5810"/>
                </a:lnTo>
                <a:lnTo>
                  <a:pt x="11061" y="5789"/>
                </a:lnTo>
                <a:lnTo>
                  <a:pt x="11040" y="5769"/>
                </a:lnTo>
                <a:lnTo>
                  <a:pt x="11029" y="5761"/>
                </a:lnTo>
                <a:lnTo>
                  <a:pt x="11018" y="5753"/>
                </a:lnTo>
                <a:lnTo>
                  <a:pt x="11008" y="5746"/>
                </a:lnTo>
                <a:lnTo>
                  <a:pt x="10998" y="5741"/>
                </a:lnTo>
                <a:lnTo>
                  <a:pt x="10989" y="5736"/>
                </a:lnTo>
                <a:lnTo>
                  <a:pt x="10980" y="5732"/>
                </a:lnTo>
                <a:lnTo>
                  <a:pt x="10972" y="5731"/>
                </a:lnTo>
                <a:lnTo>
                  <a:pt x="10964" y="5731"/>
                </a:lnTo>
                <a:lnTo>
                  <a:pt x="10957" y="5734"/>
                </a:lnTo>
                <a:lnTo>
                  <a:pt x="10950" y="5738"/>
                </a:lnTo>
                <a:lnTo>
                  <a:pt x="10944" y="5744"/>
                </a:lnTo>
                <a:lnTo>
                  <a:pt x="10939" y="5752"/>
                </a:lnTo>
                <a:lnTo>
                  <a:pt x="10934" y="5763"/>
                </a:lnTo>
                <a:lnTo>
                  <a:pt x="10930" y="5773"/>
                </a:lnTo>
                <a:lnTo>
                  <a:pt x="10929" y="5782"/>
                </a:lnTo>
                <a:lnTo>
                  <a:pt x="10929" y="5790"/>
                </a:lnTo>
                <a:lnTo>
                  <a:pt x="10931" y="5798"/>
                </a:lnTo>
                <a:lnTo>
                  <a:pt x="10934" y="5805"/>
                </a:lnTo>
                <a:lnTo>
                  <a:pt x="10937" y="5812"/>
                </a:lnTo>
                <a:lnTo>
                  <a:pt x="10942" y="5819"/>
                </a:lnTo>
                <a:lnTo>
                  <a:pt x="10952" y="5832"/>
                </a:lnTo>
                <a:lnTo>
                  <a:pt x="10963" y="5846"/>
                </a:lnTo>
                <a:lnTo>
                  <a:pt x="10968" y="5853"/>
                </a:lnTo>
                <a:lnTo>
                  <a:pt x="10973" y="5861"/>
                </a:lnTo>
                <a:lnTo>
                  <a:pt x="10977" y="5870"/>
                </a:lnTo>
                <a:lnTo>
                  <a:pt x="10980" y="5879"/>
                </a:lnTo>
                <a:lnTo>
                  <a:pt x="10990" y="5877"/>
                </a:lnTo>
                <a:lnTo>
                  <a:pt x="10999" y="5877"/>
                </a:lnTo>
                <a:lnTo>
                  <a:pt x="11007" y="5878"/>
                </a:lnTo>
                <a:lnTo>
                  <a:pt x="11015" y="5880"/>
                </a:lnTo>
                <a:lnTo>
                  <a:pt x="11023" y="5883"/>
                </a:lnTo>
                <a:lnTo>
                  <a:pt x="11031" y="5887"/>
                </a:lnTo>
                <a:lnTo>
                  <a:pt x="11038" y="5892"/>
                </a:lnTo>
                <a:lnTo>
                  <a:pt x="11044" y="5897"/>
                </a:lnTo>
                <a:lnTo>
                  <a:pt x="11056" y="5910"/>
                </a:lnTo>
                <a:lnTo>
                  <a:pt x="11066" y="5925"/>
                </a:lnTo>
                <a:lnTo>
                  <a:pt x="11077" y="5941"/>
                </a:lnTo>
                <a:lnTo>
                  <a:pt x="11087" y="5958"/>
                </a:lnTo>
                <a:lnTo>
                  <a:pt x="11098" y="5974"/>
                </a:lnTo>
                <a:lnTo>
                  <a:pt x="11109" y="5991"/>
                </a:lnTo>
                <a:lnTo>
                  <a:pt x="11115" y="5999"/>
                </a:lnTo>
                <a:lnTo>
                  <a:pt x="11121" y="6006"/>
                </a:lnTo>
                <a:lnTo>
                  <a:pt x="11128" y="6013"/>
                </a:lnTo>
                <a:lnTo>
                  <a:pt x="11135" y="6019"/>
                </a:lnTo>
                <a:lnTo>
                  <a:pt x="11142" y="6024"/>
                </a:lnTo>
                <a:lnTo>
                  <a:pt x="11150" y="6029"/>
                </a:lnTo>
                <a:lnTo>
                  <a:pt x="11160" y="6033"/>
                </a:lnTo>
                <a:lnTo>
                  <a:pt x="11169" y="6036"/>
                </a:lnTo>
                <a:lnTo>
                  <a:pt x="11179" y="6038"/>
                </a:lnTo>
                <a:lnTo>
                  <a:pt x="11189" y="6039"/>
                </a:lnTo>
                <a:lnTo>
                  <a:pt x="11201" y="6038"/>
                </a:lnTo>
                <a:lnTo>
                  <a:pt x="11213" y="6037"/>
                </a:lnTo>
                <a:lnTo>
                  <a:pt x="11213" y="6058"/>
                </a:lnTo>
                <a:lnTo>
                  <a:pt x="11215" y="6079"/>
                </a:lnTo>
                <a:lnTo>
                  <a:pt x="11219" y="6100"/>
                </a:lnTo>
                <a:lnTo>
                  <a:pt x="11223" y="6122"/>
                </a:lnTo>
                <a:lnTo>
                  <a:pt x="11232" y="6120"/>
                </a:lnTo>
                <a:lnTo>
                  <a:pt x="11240" y="6119"/>
                </a:lnTo>
                <a:lnTo>
                  <a:pt x="11248" y="6119"/>
                </a:lnTo>
                <a:lnTo>
                  <a:pt x="11255" y="6119"/>
                </a:lnTo>
                <a:lnTo>
                  <a:pt x="11262" y="6119"/>
                </a:lnTo>
                <a:lnTo>
                  <a:pt x="11268" y="6120"/>
                </a:lnTo>
                <a:lnTo>
                  <a:pt x="11274" y="6122"/>
                </a:lnTo>
                <a:lnTo>
                  <a:pt x="11280" y="6124"/>
                </a:lnTo>
                <a:lnTo>
                  <a:pt x="11289" y="6129"/>
                </a:lnTo>
                <a:lnTo>
                  <a:pt x="11297" y="6135"/>
                </a:lnTo>
                <a:lnTo>
                  <a:pt x="11304" y="6142"/>
                </a:lnTo>
                <a:lnTo>
                  <a:pt x="11311" y="6150"/>
                </a:lnTo>
                <a:lnTo>
                  <a:pt x="11322" y="6166"/>
                </a:lnTo>
                <a:lnTo>
                  <a:pt x="11332" y="6181"/>
                </a:lnTo>
                <a:lnTo>
                  <a:pt x="11338" y="6187"/>
                </a:lnTo>
                <a:lnTo>
                  <a:pt x="11345" y="6191"/>
                </a:lnTo>
                <a:lnTo>
                  <a:pt x="11348" y="6193"/>
                </a:lnTo>
                <a:lnTo>
                  <a:pt x="11352" y="6194"/>
                </a:lnTo>
                <a:lnTo>
                  <a:pt x="11356" y="6195"/>
                </a:lnTo>
                <a:lnTo>
                  <a:pt x="11361" y="6196"/>
                </a:lnTo>
                <a:lnTo>
                  <a:pt x="11357" y="6200"/>
                </a:lnTo>
                <a:lnTo>
                  <a:pt x="11353" y="6203"/>
                </a:lnTo>
                <a:lnTo>
                  <a:pt x="11349" y="6205"/>
                </a:lnTo>
                <a:lnTo>
                  <a:pt x="11344" y="6206"/>
                </a:lnTo>
                <a:lnTo>
                  <a:pt x="11339" y="6207"/>
                </a:lnTo>
                <a:lnTo>
                  <a:pt x="11334" y="6207"/>
                </a:lnTo>
                <a:lnTo>
                  <a:pt x="11328" y="6206"/>
                </a:lnTo>
                <a:lnTo>
                  <a:pt x="11323" y="6205"/>
                </a:lnTo>
                <a:lnTo>
                  <a:pt x="11311" y="6202"/>
                </a:lnTo>
                <a:lnTo>
                  <a:pt x="11299" y="6198"/>
                </a:lnTo>
                <a:lnTo>
                  <a:pt x="11287" y="6193"/>
                </a:lnTo>
                <a:lnTo>
                  <a:pt x="11275" y="6188"/>
                </a:lnTo>
                <a:lnTo>
                  <a:pt x="11265" y="6184"/>
                </a:lnTo>
                <a:lnTo>
                  <a:pt x="11255" y="6182"/>
                </a:lnTo>
                <a:lnTo>
                  <a:pt x="11251" y="6181"/>
                </a:lnTo>
                <a:lnTo>
                  <a:pt x="11248" y="6181"/>
                </a:lnTo>
                <a:lnTo>
                  <a:pt x="11244" y="6181"/>
                </a:lnTo>
                <a:lnTo>
                  <a:pt x="11241" y="6182"/>
                </a:lnTo>
                <a:lnTo>
                  <a:pt x="11239" y="6184"/>
                </a:lnTo>
                <a:lnTo>
                  <a:pt x="11237" y="6186"/>
                </a:lnTo>
                <a:lnTo>
                  <a:pt x="11236" y="6190"/>
                </a:lnTo>
                <a:lnTo>
                  <a:pt x="11236" y="6194"/>
                </a:lnTo>
                <a:lnTo>
                  <a:pt x="11236" y="6200"/>
                </a:lnTo>
                <a:lnTo>
                  <a:pt x="11237" y="6207"/>
                </a:lnTo>
                <a:lnTo>
                  <a:pt x="11238" y="6214"/>
                </a:lnTo>
                <a:lnTo>
                  <a:pt x="11241" y="6224"/>
                </a:lnTo>
                <a:lnTo>
                  <a:pt x="11244" y="6235"/>
                </a:lnTo>
                <a:lnTo>
                  <a:pt x="11246" y="6247"/>
                </a:lnTo>
                <a:lnTo>
                  <a:pt x="11248" y="6258"/>
                </a:lnTo>
                <a:lnTo>
                  <a:pt x="11249" y="6269"/>
                </a:lnTo>
                <a:lnTo>
                  <a:pt x="11248" y="6279"/>
                </a:lnTo>
                <a:lnTo>
                  <a:pt x="11247" y="6290"/>
                </a:lnTo>
                <a:lnTo>
                  <a:pt x="11245" y="6300"/>
                </a:lnTo>
                <a:lnTo>
                  <a:pt x="11242" y="6311"/>
                </a:lnTo>
                <a:lnTo>
                  <a:pt x="11238" y="6321"/>
                </a:lnTo>
                <a:lnTo>
                  <a:pt x="11232" y="6332"/>
                </a:lnTo>
                <a:lnTo>
                  <a:pt x="11225" y="6342"/>
                </a:lnTo>
                <a:lnTo>
                  <a:pt x="11217" y="6353"/>
                </a:lnTo>
                <a:lnTo>
                  <a:pt x="11208" y="6364"/>
                </a:lnTo>
                <a:lnTo>
                  <a:pt x="11197" y="6375"/>
                </a:lnTo>
                <a:lnTo>
                  <a:pt x="11184" y="6386"/>
                </a:lnTo>
                <a:lnTo>
                  <a:pt x="11171" y="6397"/>
                </a:lnTo>
                <a:lnTo>
                  <a:pt x="11170" y="6368"/>
                </a:lnTo>
                <a:lnTo>
                  <a:pt x="11169" y="6331"/>
                </a:lnTo>
                <a:lnTo>
                  <a:pt x="11167" y="6311"/>
                </a:lnTo>
                <a:lnTo>
                  <a:pt x="11165" y="6291"/>
                </a:lnTo>
                <a:lnTo>
                  <a:pt x="11163" y="6271"/>
                </a:lnTo>
                <a:lnTo>
                  <a:pt x="11159" y="6251"/>
                </a:lnTo>
                <a:lnTo>
                  <a:pt x="11155" y="6231"/>
                </a:lnTo>
                <a:lnTo>
                  <a:pt x="11149" y="6213"/>
                </a:lnTo>
                <a:lnTo>
                  <a:pt x="11143" y="6196"/>
                </a:lnTo>
                <a:lnTo>
                  <a:pt x="11136" y="6182"/>
                </a:lnTo>
                <a:lnTo>
                  <a:pt x="11133" y="6176"/>
                </a:lnTo>
                <a:lnTo>
                  <a:pt x="11128" y="6170"/>
                </a:lnTo>
                <a:lnTo>
                  <a:pt x="11124" y="6165"/>
                </a:lnTo>
                <a:lnTo>
                  <a:pt x="11119" y="6161"/>
                </a:lnTo>
                <a:lnTo>
                  <a:pt x="11114" y="6158"/>
                </a:lnTo>
                <a:lnTo>
                  <a:pt x="11108" y="6155"/>
                </a:lnTo>
                <a:lnTo>
                  <a:pt x="11102" y="6154"/>
                </a:lnTo>
                <a:lnTo>
                  <a:pt x="11096" y="6153"/>
                </a:lnTo>
                <a:lnTo>
                  <a:pt x="11092" y="6145"/>
                </a:lnTo>
                <a:lnTo>
                  <a:pt x="11087" y="6137"/>
                </a:lnTo>
                <a:lnTo>
                  <a:pt x="11081" y="6130"/>
                </a:lnTo>
                <a:lnTo>
                  <a:pt x="11075" y="6124"/>
                </a:lnTo>
                <a:lnTo>
                  <a:pt x="11068" y="6117"/>
                </a:lnTo>
                <a:lnTo>
                  <a:pt x="11062" y="6112"/>
                </a:lnTo>
                <a:lnTo>
                  <a:pt x="11054" y="6106"/>
                </a:lnTo>
                <a:lnTo>
                  <a:pt x="11047" y="6101"/>
                </a:lnTo>
                <a:lnTo>
                  <a:pt x="11031" y="6092"/>
                </a:lnTo>
                <a:lnTo>
                  <a:pt x="11014" y="6085"/>
                </a:lnTo>
                <a:lnTo>
                  <a:pt x="10996" y="6078"/>
                </a:lnTo>
                <a:lnTo>
                  <a:pt x="10979" y="6071"/>
                </a:lnTo>
                <a:lnTo>
                  <a:pt x="10961" y="6065"/>
                </a:lnTo>
                <a:lnTo>
                  <a:pt x="10943" y="6058"/>
                </a:lnTo>
                <a:lnTo>
                  <a:pt x="10926" y="6051"/>
                </a:lnTo>
                <a:lnTo>
                  <a:pt x="10909" y="6043"/>
                </a:lnTo>
                <a:lnTo>
                  <a:pt x="10892" y="6034"/>
                </a:lnTo>
                <a:lnTo>
                  <a:pt x="10878" y="6023"/>
                </a:lnTo>
                <a:lnTo>
                  <a:pt x="10871" y="6017"/>
                </a:lnTo>
                <a:lnTo>
                  <a:pt x="10864" y="6010"/>
                </a:lnTo>
                <a:lnTo>
                  <a:pt x="10858" y="6003"/>
                </a:lnTo>
                <a:lnTo>
                  <a:pt x="10852" y="5995"/>
                </a:lnTo>
                <a:lnTo>
                  <a:pt x="10848" y="5995"/>
                </a:lnTo>
                <a:lnTo>
                  <a:pt x="10844" y="5993"/>
                </a:lnTo>
                <a:lnTo>
                  <a:pt x="10840" y="5991"/>
                </a:lnTo>
                <a:lnTo>
                  <a:pt x="10836" y="5989"/>
                </a:lnTo>
                <a:lnTo>
                  <a:pt x="10828" y="5980"/>
                </a:lnTo>
                <a:lnTo>
                  <a:pt x="10821" y="5971"/>
                </a:lnTo>
                <a:lnTo>
                  <a:pt x="10806" y="5947"/>
                </a:lnTo>
                <a:lnTo>
                  <a:pt x="10792" y="5919"/>
                </a:lnTo>
                <a:lnTo>
                  <a:pt x="10784" y="5905"/>
                </a:lnTo>
                <a:lnTo>
                  <a:pt x="10775" y="5891"/>
                </a:lnTo>
                <a:lnTo>
                  <a:pt x="10765" y="5878"/>
                </a:lnTo>
                <a:lnTo>
                  <a:pt x="10755" y="5866"/>
                </a:lnTo>
                <a:lnTo>
                  <a:pt x="10750" y="5860"/>
                </a:lnTo>
                <a:lnTo>
                  <a:pt x="10744" y="5854"/>
                </a:lnTo>
                <a:lnTo>
                  <a:pt x="10738" y="5849"/>
                </a:lnTo>
                <a:lnTo>
                  <a:pt x="10732" y="5845"/>
                </a:lnTo>
                <a:lnTo>
                  <a:pt x="10726" y="5842"/>
                </a:lnTo>
                <a:lnTo>
                  <a:pt x="10719" y="5839"/>
                </a:lnTo>
                <a:lnTo>
                  <a:pt x="10712" y="5837"/>
                </a:lnTo>
                <a:lnTo>
                  <a:pt x="10705" y="5836"/>
                </a:lnTo>
                <a:lnTo>
                  <a:pt x="10701" y="5840"/>
                </a:lnTo>
                <a:lnTo>
                  <a:pt x="10697" y="5844"/>
                </a:lnTo>
                <a:lnTo>
                  <a:pt x="10692" y="5847"/>
                </a:lnTo>
                <a:lnTo>
                  <a:pt x="10687" y="5851"/>
                </a:lnTo>
                <a:lnTo>
                  <a:pt x="10674" y="5858"/>
                </a:lnTo>
                <a:lnTo>
                  <a:pt x="10660" y="5866"/>
                </a:lnTo>
                <a:lnTo>
                  <a:pt x="10645" y="5871"/>
                </a:lnTo>
                <a:lnTo>
                  <a:pt x="10631" y="5875"/>
                </a:lnTo>
                <a:lnTo>
                  <a:pt x="10619" y="5878"/>
                </a:lnTo>
                <a:lnTo>
                  <a:pt x="10609" y="5879"/>
                </a:lnTo>
                <a:lnTo>
                  <a:pt x="10604" y="5886"/>
                </a:lnTo>
                <a:lnTo>
                  <a:pt x="10599" y="5893"/>
                </a:lnTo>
                <a:lnTo>
                  <a:pt x="10592" y="5899"/>
                </a:lnTo>
                <a:lnTo>
                  <a:pt x="10584" y="5905"/>
                </a:lnTo>
                <a:lnTo>
                  <a:pt x="10575" y="5909"/>
                </a:lnTo>
                <a:lnTo>
                  <a:pt x="10566" y="5912"/>
                </a:lnTo>
                <a:lnTo>
                  <a:pt x="10555" y="5915"/>
                </a:lnTo>
                <a:lnTo>
                  <a:pt x="10545" y="5918"/>
                </a:lnTo>
                <a:lnTo>
                  <a:pt x="10533" y="5919"/>
                </a:lnTo>
                <a:lnTo>
                  <a:pt x="10522" y="5920"/>
                </a:lnTo>
                <a:lnTo>
                  <a:pt x="10508" y="5921"/>
                </a:lnTo>
                <a:lnTo>
                  <a:pt x="10496" y="5921"/>
                </a:lnTo>
                <a:lnTo>
                  <a:pt x="10470" y="5920"/>
                </a:lnTo>
                <a:lnTo>
                  <a:pt x="10445" y="5918"/>
                </a:lnTo>
                <a:lnTo>
                  <a:pt x="10396" y="5911"/>
                </a:lnTo>
                <a:lnTo>
                  <a:pt x="10353" y="5904"/>
                </a:lnTo>
                <a:lnTo>
                  <a:pt x="10337" y="5901"/>
                </a:lnTo>
                <a:lnTo>
                  <a:pt x="10324" y="5899"/>
                </a:lnTo>
                <a:lnTo>
                  <a:pt x="10320" y="5898"/>
                </a:lnTo>
                <a:lnTo>
                  <a:pt x="10316" y="5898"/>
                </a:lnTo>
                <a:lnTo>
                  <a:pt x="10314" y="5899"/>
                </a:lnTo>
                <a:lnTo>
                  <a:pt x="10306" y="5914"/>
                </a:lnTo>
                <a:lnTo>
                  <a:pt x="10290" y="5953"/>
                </a:lnTo>
                <a:lnTo>
                  <a:pt x="10266" y="6009"/>
                </a:lnTo>
                <a:lnTo>
                  <a:pt x="10240" y="6073"/>
                </a:lnTo>
                <a:lnTo>
                  <a:pt x="10214" y="6141"/>
                </a:lnTo>
                <a:lnTo>
                  <a:pt x="10191" y="6202"/>
                </a:lnTo>
                <a:lnTo>
                  <a:pt x="10181" y="6228"/>
                </a:lnTo>
                <a:lnTo>
                  <a:pt x="10174" y="6251"/>
                </a:lnTo>
                <a:lnTo>
                  <a:pt x="10168" y="6269"/>
                </a:lnTo>
                <a:lnTo>
                  <a:pt x="10165" y="6280"/>
                </a:lnTo>
                <a:lnTo>
                  <a:pt x="10162" y="6297"/>
                </a:lnTo>
                <a:lnTo>
                  <a:pt x="10157" y="6312"/>
                </a:lnTo>
                <a:lnTo>
                  <a:pt x="10151" y="6325"/>
                </a:lnTo>
                <a:lnTo>
                  <a:pt x="10144" y="6336"/>
                </a:lnTo>
                <a:lnTo>
                  <a:pt x="10135" y="6347"/>
                </a:lnTo>
                <a:lnTo>
                  <a:pt x="10127" y="6357"/>
                </a:lnTo>
                <a:lnTo>
                  <a:pt x="10119" y="6367"/>
                </a:lnTo>
                <a:lnTo>
                  <a:pt x="10110" y="6376"/>
                </a:lnTo>
                <a:lnTo>
                  <a:pt x="10092" y="6394"/>
                </a:lnTo>
                <a:lnTo>
                  <a:pt x="10075" y="6413"/>
                </a:lnTo>
                <a:lnTo>
                  <a:pt x="10068" y="6424"/>
                </a:lnTo>
                <a:lnTo>
                  <a:pt x="10061" y="6437"/>
                </a:lnTo>
                <a:lnTo>
                  <a:pt x="10055" y="6451"/>
                </a:lnTo>
                <a:lnTo>
                  <a:pt x="10050" y="6467"/>
                </a:lnTo>
                <a:lnTo>
                  <a:pt x="10048" y="6471"/>
                </a:lnTo>
                <a:lnTo>
                  <a:pt x="10045" y="6474"/>
                </a:lnTo>
                <a:lnTo>
                  <a:pt x="10041" y="6478"/>
                </a:lnTo>
                <a:lnTo>
                  <a:pt x="10035" y="6481"/>
                </a:lnTo>
                <a:lnTo>
                  <a:pt x="10020" y="6486"/>
                </a:lnTo>
                <a:lnTo>
                  <a:pt x="10000" y="6491"/>
                </a:lnTo>
                <a:lnTo>
                  <a:pt x="9978" y="6494"/>
                </a:lnTo>
                <a:lnTo>
                  <a:pt x="9954" y="6496"/>
                </a:lnTo>
                <a:lnTo>
                  <a:pt x="9929" y="6499"/>
                </a:lnTo>
                <a:lnTo>
                  <a:pt x="9902" y="6500"/>
                </a:lnTo>
                <a:lnTo>
                  <a:pt x="9850" y="6504"/>
                </a:lnTo>
                <a:lnTo>
                  <a:pt x="9806" y="6508"/>
                </a:lnTo>
                <a:lnTo>
                  <a:pt x="9788" y="6511"/>
                </a:lnTo>
                <a:lnTo>
                  <a:pt x="9775" y="6514"/>
                </a:lnTo>
                <a:lnTo>
                  <a:pt x="9770" y="6516"/>
                </a:lnTo>
                <a:lnTo>
                  <a:pt x="9766" y="6519"/>
                </a:lnTo>
                <a:lnTo>
                  <a:pt x="9763" y="6521"/>
                </a:lnTo>
                <a:lnTo>
                  <a:pt x="9762" y="6524"/>
                </a:lnTo>
                <a:lnTo>
                  <a:pt x="9740" y="6516"/>
                </a:lnTo>
                <a:lnTo>
                  <a:pt x="9719" y="6507"/>
                </a:lnTo>
                <a:lnTo>
                  <a:pt x="9698" y="6497"/>
                </a:lnTo>
                <a:lnTo>
                  <a:pt x="9678" y="6485"/>
                </a:lnTo>
                <a:lnTo>
                  <a:pt x="9659" y="6473"/>
                </a:lnTo>
                <a:lnTo>
                  <a:pt x="9641" y="6460"/>
                </a:lnTo>
                <a:lnTo>
                  <a:pt x="9623" y="6446"/>
                </a:lnTo>
                <a:lnTo>
                  <a:pt x="9607" y="6431"/>
                </a:lnTo>
                <a:lnTo>
                  <a:pt x="9592" y="6415"/>
                </a:lnTo>
                <a:lnTo>
                  <a:pt x="9579" y="6397"/>
                </a:lnTo>
                <a:lnTo>
                  <a:pt x="9574" y="6388"/>
                </a:lnTo>
                <a:lnTo>
                  <a:pt x="9568" y="6379"/>
                </a:lnTo>
                <a:lnTo>
                  <a:pt x="9563" y="6369"/>
                </a:lnTo>
                <a:lnTo>
                  <a:pt x="9559" y="6359"/>
                </a:lnTo>
                <a:lnTo>
                  <a:pt x="9555" y="6348"/>
                </a:lnTo>
                <a:lnTo>
                  <a:pt x="9551" y="6338"/>
                </a:lnTo>
                <a:lnTo>
                  <a:pt x="9548" y="6327"/>
                </a:lnTo>
                <a:lnTo>
                  <a:pt x="9545" y="6317"/>
                </a:lnTo>
                <a:lnTo>
                  <a:pt x="9543" y="6305"/>
                </a:lnTo>
                <a:lnTo>
                  <a:pt x="9542" y="6294"/>
                </a:lnTo>
                <a:lnTo>
                  <a:pt x="9541" y="6282"/>
                </a:lnTo>
                <a:lnTo>
                  <a:pt x="9541" y="6270"/>
                </a:lnTo>
                <a:lnTo>
                  <a:pt x="9539" y="6266"/>
                </a:lnTo>
                <a:lnTo>
                  <a:pt x="9539" y="6256"/>
                </a:lnTo>
                <a:lnTo>
                  <a:pt x="9539" y="6239"/>
                </a:lnTo>
                <a:lnTo>
                  <a:pt x="9540" y="6217"/>
                </a:lnTo>
                <a:lnTo>
                  <a:pt x="9545" y="6162"/>
                </a:lnTo>
                <a:lnTo>
                  <a:pt x="9551" y="6097"/>
                </a:lnTo>
                <a:lnTo>
                  <a:pt x="9558" y="6031"/>
                </a:lnTo>
                <a:lnTo>
                  <a:pt x="9567" y="5968"/>
                </a:lnTo>
                <a:lnTo>
                  <a:pt x="9571" y="5942"/>
                </a:lnTo>
                <a:lnTo>
                  <a:pt x="9575" y="5919"/>
                </a:lnTo>
                <a:lnTo>
                  <a:pt x="9579" y="5901"/>
                </a:lnTo>
                <a:lnTo>
                  <a:pt x="9583" y="5889"/>
                </a:lnTo>
                <a:lnTo>
                  <a:pt x="9591" y="5892"/>
                </a:lnTo>
                <a:lnTo>
                  <a:pt x="9598" y="5895"/>
                </a:lnTo>
                <a:lnTo>
                  <a:pt x="9603" y="5898"/>
                </a:lnTo>
                <a:lnTo>
                  <a:pt x="9608" y="5902"/>
                </a:lnTo>
                <a:lnTo>
                  <a:pt x="9612" y="5908"/>
                </a:lnTo>
                <a:lnTo>
                  <a:pt x="9616" y="5914"/>
                </a:lnTo>
                <a:lnTo>
                  <a:pt x="9620" y="5922"/>
                </a:lnTo>
                <a:lnTo>
                  <a:pt x="9625" y="5931"/>
                </a:lnTo>
                <a:lnTo>
                  <a:pt x="9641" y="5927"/>
                </a:lnTo>
                <a:lnTo>
                  <a:pt x="9657" y="5924"/>
                </a:lnTo>
                <a:lnTo>
                  <a:pt x="9675" y="5922"/>
                </a:lnTo>
                <a:lnTo>
                  <a:pt x="9694" y="5921"/>
                </a:lnTo>
                <a:lnTo>
                  <a:pt x="9734" y="5921"/>
                </a:lnTo>
                <a:lnTo>
                  <a:pt x="9775" y="5920"/>
                </a:lnTo>
                <a:lnTo>
                  <a:pt x="9794" y="5919"/>
                </a:lnTo>
                <a:lnTo>
                  <a:pt x="9811" y="5916"/>
                </a:lnTo>
                <a:lnTo>
                  <a:pt x="9827" y="5913"/>
                </a:lnTo>
                <a:lnTo>
                  <a:pt x="9841" y="5908"/>
                </a:lnTo>
                <a:lnTo>
                  <a:pt x="9847" y="5905"/>
                </a:lnTo>
                <a:lnTo>
                  <a:pt x="9852" y="5902"/>
                </a:lnTo>
                <a:lnTo>
                  <a:pt x="9857" y="5898"/>
                </a:lnTo>
                <a:lnTo>
                  <a:pt x="9861" y="5893"/>
                </a:lnTo>
                <a:lnTo>
                  <a:pt x="9864" y="5888"/>
                </a:lnTo>
                <a:lnTo>
                  <a:pt x="9866" y="5882"/>
                </a:lnTo>
                <a:lnTo>
                  <a:pt x="9868" y="5875"/>
                </a:lnTo>
                <a:lnTo>
                  <a:pt x="9868" y="5868"/>
                </a:lnTo>
                <a:lnTo>
                  <a:pt x="9881" y="5869"/>
                </a:lnTo>
                <a:lnTo>
                  <a:pt x="9893" y="5870"/>
                </a:lnTo>
                <a:lnTo>
                  <a:pt x="9904" y="5872"/>
                </a:lnTo>
                <a:lnTo>
                  <a:pt x="9913" y="5874"/>
                </a:lnTo>
                <a:lnTo>
                  <a:pt x="9921" y="5877"/>
                </a:lnTo>
                <a:lnTo>
                  <a:pt x="9928" y="5881"/>
                </a:lnTo>
                <a:lnTo>
                  <a:pt x="9933" y="5886"/>
                </a:lnTo>
                <a:lnTo>
                  <a:pt x="9938" y="5891"/>
                </a:lnTo>
                <a:lnTo>
                  <a:pt x="9941" y="5896"/>
                </a:lnTo>
                <a:lnTo>
                  <a:pt x="9943" y="5902"/>
                </a:lnTo>
                <a:lnTo>
                  <a:pt x="9944" y="5909"/>
                </a:lnTo>
                <a:lnTo>
                  <a:pt x="9944" y="5916"/>
                </a:lnTo>
                <a:lnTo>
                  <a:pt x="9943" y="5924"/>
                </a:lnTo>
                <a:lnTo>
                  <a:pt x="9941" y="5933"/>
                </a:lnTo>
                <a:lnTo>
                  <a:pt x="9937" y="5942"/>
                </a:lnTo>
                <a:lnTo>
                  <a:pt x="9932" y="5952"/>
                </a:lnTo>
                <a:lnTo>
                  <a:pt x="9959" y="5957"/>
                </a:lnTo>
                <a:lnTo>
                  <a:pt x="9988" y="5960"/>
                </a:lnTo>
                <a:lnTo>
                  <a:pt x="10003" y="5962"/>
                </a:lnTo>
                <a:lnTo>
                  <a:pt x="10019" y="5962"/>
                </a:lnTo>
                <a:lnTo>
                  <a:pt x="10033" y="5961"/>
                </a:lnTo>
                <a:lnTo>
                  <a:pt x="10047" y="5960"/>
                </a:lnTo>
                <a:lnTo>
                  <a:pt x="10060" y="5957"/>
                </a:lnTo>
                <a:lnTo>
                  <a:pt x="10073" y="5953"/>
                </a:lnTo>
                <a:lnTo>
                  <a:pt x="10078" y="5950"/>
                </a:lnTo>
                <a:lnTo>
                  <a:pt x="10084" y="5947"/>
                </a:lnTo>
                <a:lnTo>
                  <a:pt x="10089" y="5944"/>
                </a:lnTo>
                <a:lnTo>
                  <a:pt x="10093" y="5940"/>
                </a:lnTo>
                <a:lnTo>
                  <a:pt x="10097" y="5935"/>
                </a:lnTo>
                <a:lnTo>
                  <a:pt x="10101" y="5930"/>
                </a:lnTo>
                <a:lnTo>
                  <a:pt x="10104" y="5925"/>
                </a:lnTo>
                <a:lnTo>
                  <a:pt x="10107" y="5919"/>
                </a:lnTo>
                <a:lnTo>
                  <a:pt x="10109" y="5912"/>
                </a:lnTo>
                <a:lnTo>
                  <a:pt x="10111" y="5905"/>
                </a:lnTo>
                <a:lnTo>
                  <a:pt x="10112" y="5897"/>
                </a:lnTo>
                <a:lnTo>
                  <a:pt x="10112" y="5889"/>
                </a:lnTo>
                <a:lnTo>
                  <a:pt x="10099" y="5889"/>
                </a:lnTo>
                <a:lnTo>
                  <a:pt x="10089" y="5888"/>
                </a:lnTo>
                <a:lnTo>
                  <a:pt x="10085" y="5887"/>
                </a:lnTo>
                <a:lnTo>
                  <a:pt x="10082" y="5886"/>
                </a:lnTo>
                <a:lnTo>
                  <a:pt x="10079" y="5884"/>
                </a:lnTo>
                <a:lnTo>
                  <a:pt x="10076" y="5882"/>
                </a:lnTo>
                <a:lnTo>
                  <a:pt x="10074" y="5880"/>
                </a:lnTo>
                <a:lnTo>
                  <a:pt x="10073" y="5877"/>
                </a:lnTo>
                <a:lnTo>
                  <a:pt x="10072" y="5874"/>
                </a:lnTo>
                <a:lnTo>
                  <a:pt x="10071" y="5870"/>
                </a:lnTo>
                <a:lnTo>
                  <a:pt x="10070" y="5860"/>
                </a:lnTo>
                <a:lnTo>
                  <a:pt x="10070" y="5846"/>
                </a:lnTo>
                <a:lnTo>
                  <a:pt x="10081" y="5834"/>
                </a:lnTo>
                <a:lnTo>
                  <a:pt x="10089" y="5822"/>
                </a:lnTo>
                <a:lnTo>
                  <a:pt x="10096" y="5809"/>
                </a:lnTo>
                <a:lnTo>
                  <a:pt x="10102" y="5797"/>
                </a:lnTo>
                <a:lnTo>
                  <a:pt x="10105" y="5786"/>
                </a:lnTo>
                <a:lnTo>
                  <a:pt x="10108" y="5774"/>
                </a:lnTo>
                <a:lnTo>
                  <a:pt x="10108" y="5762"/>
                </a:lnTo>
                <a:lnTo>
                  <a:pt x="10108" y="5751"/>
                </a:lnTo>
                <a:lnTo>
                  <a:pt x="10106" y="5739"/>
                </a:lnTo>
                <a:lnTo>
                  <a:pt x="10103" y="5727"/>
                </a:lnTo>
                <a:lnTo>
                  <a:pt x="10100" y="5716"/>
                </a:lnTo>
                <a:lnTo>
                  <a:pt x="10095" y="5705"/>
                </a:lnTo>
                <a:lnTo>
                  <a:pt x="10089" y="5694"/>
                </a:lnTo>
                <a:lnTo>
                  <a:pt x="10083" y="5684"/>
                </a:lnTo>
                <a:lnTo>
                  <a:pt x="10077" y="5673"/>
                </a:lnTo>
                <a:lnTo>
                  <a:pt x="10070" y="5663"/>
                </a:lnTo>
                <a:lnTo>
                  <a:pt x="10038" y="5624"/>
                </a:lnTo>
                <a:lnTo>
                  <a:pt x="10007" y="5587"/>
                </a:lnTo>
                <a:lnTo>
                  <a:pt x="9994" y="5571"/>
                </a:lnTo>
                <a:lnTo>
                  <a:pt x="9983" y="5556"/>
                </a:lnTo>
                <a:lnTo>
                  <a:pt x="9980" y="5549"/>
                </a:lnTo>
                <a:lnTo>
                  <a:pt x="9977" y="5542"/>
                </a:lnTo>
                <a:lnTo>
                  <a:pt x="9975" y="5535"/>
                </a:lnTo>
                <a:lnTo>
                  <a:pt x="9974" y="5529"/>
                </a:lnTo>
                <a:lnTo>
                  <a:pt x="9965" y="5525"/>
                </a:lnTo>
                <a:lnTo>
                  <a:pt x="9956" y="5520"/>
                </a:lnTo>
                <a:lnTo>
                  <a:pt x="9946" y="5514"/>
                </a:lnTo>
                <a:lnTo>
                  <a:pt x="9936" y="5506"/>
                </a:lnTo>
                <a:lnTo>
                  <a:pt x="9916" y="5489"/>
                </a:lnTo>
                <a:lnTo>
                  <a:pt x="9898" y="5471"/>
                </a:lnTo>
                <a:lnTo>
                  <a:pt x="9890" y="5463"/>
                </a:lnTo>
                <a:lnTo>
                  <a:pt x="9885" y="5457"/>
                </a:lnTo>
                <a:lnTo>
                  <a:pt x="9882" y="5451"/>
                </a:lnTo>
                <a:lnTo>
                  <a:pt x="9880" y="5447"/>
                </a:lnTo>
                <a:lnTo>
                  <a:pt x="9881" y="5446"/>
                </a:lnTo>
                <a:lnTo>
                  <a:pt x="9881" y="5445"/>
                </a:lnTo>
                <a:lnTo>
                  <a:pt x="9883" y="5445"/>
                </a:lnTo>
                <a:lnTo>
                  <a:pt x="9885" y="5445"/>
                </a:lnTo>
                <a:lnTo>
                  <a:pt x="9893" y="5447"/>
                </a:lnTo>
                <a:lnTo>
                  <a:pt x="9904" y="5453"/>
                </a:lnTo>
                <a:lnTo>
                  <a:pt x="9915" y="5459"/>
                </a:lnTo>
                <a:lnTo>
                  <a:pt x="9930" y="5465"/>
                </a:lnTo>
                <a:lnTo>
                  <a:pt x="9947" y="5472"/>
                </a:lnTo>
                <a:lnTo>
                  <a:pt x="9965" y="5478"/>
                </a:lnTo>
                <a:lnTo>
                  <a:pt x="9984" y="5485"/>
                </a:lnTo>
                <a:lnTo>
                  <a:pt x="10004" y="5490"/>
                </a:lnTo>
                <a:lnTo>
                  <a:pt x="10024" y="5493"/>
                </a:lnTo>
                <a:lnTo>
                  <a:pt x="10042" y="5495"/>
                </a:lnTo>
                <a:lnTo>
                  <a:pt x="10051" y="5495"/>
                </a:lnTo>
                <a:lnTo>
                  <a:pt x="10059" y="5495"/>
                </a:lnTo>
                <a:lnTo>
                  <a:pt x="10067" y="5494"/>
                </a:lnTo>
                <a:lnTo>
                  <a:pt x="10074" y="5493"/>
                </a:lnTo>
                <a:lnTo>
                  <a:pt x="10080" y="5491"/>
                </a:lnTo>
                <a:lnTo>
                  <a:pt x="10085" y="5488"/>
                </a:lnTo>
                <a:lnTo>
                  <a:pt x="10090" y="5485"/>
                </a:lnTo>
                <a:lnTo>
                  <a:pt x="10094" y="5479"/>
                </a:lnTo>
                <a:lnTo>
                  <a:pt x="10096" y="5474"/>
                </a:lnTo>
                <a:lnTo>
                  <a:pt x="10098" y="5468"/>
                </a:lnTo>
                <a:lnTo>
                  <a:pt x="10098" y="5461"/>
                </a:lnTo>
                <a:lnTo>
                  <a:pt x="10097" y="5454"/>
                </a:lnTo>
                <a:lnTo>
                  <a:pt x="10095" y="5445"/>
                </a:lnTo>
                <a:lnTo>
                  <a:pt x="10092" y="5435"/>
                </a:lnTo>
                <a:lnTo>
                  <a:pt x="10087" y="5424"/>
                </a:lnTo>
                <a:lnTo>
                  <a:pt x="10080" y="5412"/>
                </a:lnTo>
                <a:lnTo>
                  <a:pt x="10084" y="5411"/>
                </a:lnTo>
                <a:lnTo>
                  <a:pt x="10087" y="5409"/>
                </a:lnTo>
                <a:lnTo>
                  <a:pt x="10089" y="5406"/>
                </a:lnTo>
                <a:lnTo>
                  <a:pt x="10091" y="5402"/>
                </a:lnTo>
                <a:lnTo>
                  <a:pt x="10102" y="5411"/>
                </a:lnTo>
                <a:lnTo>
                  <a:pt x="10118" y="5425"/>
                </a:lnTo>
                <a:lnTo>
                  <a:pt x="10127" y="5433"/>
                </a:lnTo>
                <a:lnTo>
                  <a:pt x="10137" y="5440"/>
                </a:lnTo>
                <a:lnTo>
                  <a:pt x="10148" y="5447"/>
                </a:lnTo>
                <a:lnTo>
                  <a:pt x="10158" y="5453"/>
                </a:lnTo>
                <a:lnTo>
                  <a:pt x="10167" y="5458"/>
                </a:lnTo>
                <a:lnTo>
                  <a:pt x="10176" y="5461"/>
                </a:lnTo>
                <a:lnTo>
                  <a:pt x="10181" y="5462"/>
                </a:lnTo>
                <a:lnTo>
                  <a:pt x="10185" y="5462"/>
                </a:lnTo>
                <a:lnTo>
                  <a:pt x="10189" y="5462"/>
                </a:lnTo>
                <a:lnTo>
                  <a:pt x="10192" y="5461"/>
                </a:lnTo>
                <a:lnTo>
                  <a:pt x="10196" y="5459"/>
                </a:lnTo>
                <a:lnTo>
                  <a:pt x="10198" y="5457"/>
                </a:lnTo>
                <a:lnTo>
                  <a:pt x="10201" y="5453"/>
                </a:lnTo>
                <a:lnTo>
                  <a:pt x="10203" y="5449"/>
                </a:lnTo>
                <a:lnTo>
                  <a:pt x="10205" y="5444"/>
                </a:lnTo>
                <a:lnTo>
                  <a:pt x="10206" y="5438"/>
                </a:lnTo>
                <a:lnTo>
                  <a:pt x="10207" y="5431"/>
                </a:lnTo>
                <a:lnTo>
                  <a:pt x="10207" y="5423"/>
                </a:lnTo>
                <a:lnTo>
                  <a:pt x="10213" y="5422"/>
                </a:lnTo>
                <a:lnTo>
                  <a:pt x="10220" y="5420"/>
                </a:lnTo>
                <a:lnTo>
                  <a:pt x="10228" y="5417"/>
                </a:lnTo>
                <a:lnTo>
                  <a:pt x="10237" y="5413"/>
                </a:lnTo>
                <a:lnTo>
                  <a:pt x="10245" y="5408"/>
                </a:lnTo>
                <a:lnTo>
                  <a:pt x="10254" y="5403"/>
                </a:lnTo>
                <a:lnTo>
                  <a:pt x="10262" y="5397"/>
                </a:lnTo>
                <a:lnTo>
                  <a:pt x="10270" y="5392"/>
                </a:lnTo>
                <a:lnTo>
                  <a:pt x="10276" y="5386"/>
                </a:lnTo>
                <a:lnTo>
                  <a:pt x="10281" y="5380"/>
                </a:lnTo>
                <a:lnTo>
                  <a:pt x="10282" y="5377"/>
                </a:lnTo>
                <a:lnTo>
                  <a:pt x="10283" y="5375"/>
                </a:lnTo>
                <a:lnTo>
                  <a:pt x="10283" y="5372"/>
                </a:lnTo>
                <a:lnTo>
                  <a:pt x="10283" y="5370"/>
                </a:lnTo>
                <a:lnTo>
                  <a:pt x="10282" y="5368"/>
                </a:lnTo>
                <a:lnTo>
                  <a:pt x="10280" y="5366"/>
                </a:lnTo>
                <a:lnTo>
                  <a:pt x="10277" y="5364"/>
                </a:lnTo>
                <a:lnTo>
                  <a:pt x="10274" y="5363"/>
                </a:lnTo>
                <a:lnTo>
                  <a:pt x="10263" y="5361"/>
                </a:lnTo>
                <a:lnTo>
                  <a:pt x="10249" y="5360"/>
                </a:lnTo>
                <a:lnTo>
                  <a:pt x="10254" y="5325"/>
                </a:lnTo>
                <a:lnTo>
                  <a:pt x="10256" y="5295"/>
                </a:lnTo>
                <a:lnTo>
                  <a:pt x="10257" y="5267"/>
                </a:lnTo>
                <a:lnTo>
                  <a:pt x="10260" y="5243"/>
                </a:lnTo>
                <a:lnTo>
                  <a:pt x="10283" y="5255"/>
                </a:lnTo>
                <a:lnTo>
                  <a:pt x="10302" y="5262"/>
                </a:lnTo>
                <a:lnTo>
                  <a:pt x="10309" y="5264"/>
                </a:lnTo>
                <a:lnTo>
                  <a:pt x="10316" y="5265"/>
                </a:lnTo>
                <a:lnTo>
                  <a:pt x="10322" y="5266"/>
                </a:lnTo>
                <a:lnTo>
                  <a:pt x="10327" y="5265"/>
                </a:lnTo>
                <a:lnTo>
                  <a:pt x="10331" y="5264"/>
                </a:lnTo>
                <a:lnTo>
                  <a:pt x="10335" y="5263"/>
                </a:lnTo>
                <a:lnTo>
                  <a:pt x="10338" y="5260"/>
                </a:lnTo>
                <a:lnTo>
                  <a:pt x="10341" y="5257"/>
                </a:lnTo>
                <a:lnTo>
                  <a:pt x="10345" y="5250"/>
                </a:lnTo>
                <a:lnTo>
                  <a:pt x="10348" y="5240"/>
                </a:lnTo>
                <a:lnTo>
                  <a:pt x="10352" y="5217"/>
                </a:lnTo>
                <a:lnTo>
                  <a:pt x="10357" y="5192"/>
                </a:lnTo>
                <a:lnTo>
                  <a:pt x="10361" y="5180"/>
                </a:lnTo>
                <a:lnTo>
                  <a:pt x="10367" y="5168"/>
                </a:lnTo>
                <a:lnTo>
                  <a:pt x="10371" y="5163"/>
                </a:lnTo>
                <a:lnTo>
                  <a:pt x="10376" y="5158"/>
                </a:lnTo>
                <a:lnTo>
                  <a:pt x="10381" y="5153"/>
                </a:lnTo>
                <a:lnTo>
                  <a:pt x="10387" y="5148"/>
                </a:lnTo>
                <a:lnTo>
                  <a:pt x="10387" y="5156"/>
                </a:lnTo>
                <a:lnTo>
                  <a:pt x="10388" y="5162"/>
                </a:lnTo>
                <a:lnTo>
                  <a:pt x="10389" y="5167"/>
                </a:lnTo>
                <a:lnTo>
                  <a:pt x="10390" y="5171"/>
                </a:lnTo>
                <a:lnTo>
                  <a:pt x="10392" y="5175"/>
                </a:lnTo>
                <a:lnTo>
                  <a:pt x="10394" y="5177"/>
                </a:lnTo>
                <a:lnTo>
                  <a:pt x="10397" y="5178"/>
                </a:lnTo>
                <a:lnTo>
                  <a:pt x="10400" y="5178"/>
                </a:lnTo>
                <a:lnTo>
                  <a:pt x="10406" y="5177"/>
                </a:lnTo>
                <a:lnTo>
                  <a:pt x="10413" y="5173"/>
                </a:lnTo>
                <a:lnTo>
                  <a:pt x="10421" y="5167"/>
                </a:lnTo>
                <a:lnTo>
                  <a:pt x="10429" y="5160"/>
                </a:lnTo>
                <a:lnTo>
                  <a:pt x="10448" y="5143"/>
                </a:lnTo>
                <a:lnTo>
                  <a:pt x="10467" y="5125"/>
                </a:lnTo>
                <a:lnTo>
                  <a:pt x="10476" y="5118"/>
                </a:lnTo>
                <a:lnTo>
                  <a:pt x="10486" y="5112"/>
                </a:lnTo>
                <a:lnTo>
                  <a:pt x="10490" y="5109"/>
                </a:lnTo>
                <a:lnTo>
                  <a:pt x="10495" y="5108"/>
                </a:lnTo>
                <a:lnTo>
                  <a:pt x="10499" y="5107"/>
                </a:lnTo>
                <a:lnTo>
                  <a:pt x="10503" y="5106"/>
                </a:lnTo>
                <a:lnTo>
                  <a:pt x="10508" y="5098"/>
                </a:lnTo>
                <a:lnTo>
                  <a:pt x="10514" y="5092"/>
                </a:lnTo>
                <a:lnTo>
                  <a:pt x="10520" y="5087"/>
                </a:lnTo>
                <a:lnTo>
                  <a:pt x="10526" y="5082"/>
                </a:lnTo>
                <a:lnTo>
                  <a:pt x="10533" y="5078"/>
                </a:lnTo>
                <a:lnTo>
                  <a:pt x="10539" y="5074"/>
                </a:lnTo>
                <a:lnTo>
                  <a:pt x="10546" y="5071"/>
                </a:lnTo>
                <a:lnTo>
                  <a:pt x="10553" y="5068"/>
                </a:lnTo>
                <a:lnTo>
                  <a:pt x="10568" y="5064"/>
                </a:lnTo>
                <a:lnTo>
                  <a:pt x="10582" y="5061"/>
                </a:lnTo>
                <a:lnTo>
                  <a:pt x="10597" y="5058"/>
                </a:lnTo>
                <a:lnTo>
                  <a:pt x="10612" y="5056"/>
                </a:lnTo>
                <a:lnTo>
                  <a:pt x="10627" y="5054"/>
                </a:lnTo>
                <a:lnTo>
                  <a:pt x="10641" y="5051"/>
                </a:lnTo>
                <a:lnTo>
                  <a:pt x="10656" y="5048"/>
                </a:lnTo>
                <a:lnTo>
                  <a:pt x="10668" y="5042"/>
                </a:lnTo>
                <a:lnTo>
                  <a:pt x="10674" y="5039"/>
                </a:lnTo>
                <a:lnTo>
                  <a:pt x="10680" y="5036"/>
                </a:lnTo>
                <a:lnTo>
                  <a:pt x="10685" y="5031"/>
                </a:lnTo>
                <a:lnTo>
                  <a:pt x="10690" y="5026"/>
                </a:lnTo>
                <a:lnTo>
                  <a:pt x="10694" y="5021"/>
                </a:lnTo>
                <a:lnTo>
                  <a:pt x="10698" y="5015"/>
                </a:lnTo>
                <a:lnTo>
                  <a:pt x="10702" y="5008"/>
                </a:lnTo>
                <a:lnTo>
                  <a:pt x="10705" y="5000"/>
                </a:lnTo>
                <a:lnTo>
                  <a:pt x="10699" y="4997"/>
                </a:lnTo>
                <a:lnTo>
                  <a:pt x="10693" y="4994"/>
                </a:lnTo>
                <a:lnTo>
                  <a:pt x="10688" y="4990"/>
                </a:lnTo>
                <a:lnTo>
                  <a:pt x="10684" y="4986"/>
                </a:lnTo>
                <a:lnTo>
                  <a:pt x="10680" y="4981"/>
                </a:lnTo>
                <a:lnTo>
                  <a:pt x="10676" y="4974"/>
                </a:lnTo>
                <a:lnTo>
                  <a:pt x="10672" y="4967"/>
                </a:lnTo>
                <a:lnTo>
                  <a:pt x="10669" y="4960"/>
                </a:lnTo>
                <a:lnTo>
                  <a:pt x="10664" y="4945"/>
                </a:lnTo>
                <a:lnTo>
                  <a:pt x="10660" y="4929"/>
                </a:lnTo>
                <a:lnTo>
                  <a:pt x="10657" y="4911"/>
                </a:lnTo>
                <a:lnTo>
                  <a:pt x="10654" y="4892"/>
                </a:lnTo>
                <a:lnTo>
                  <a:pt x="10652" y="4854"/>
                </a:lnTo>
                <a:lnTo>
                  <a:pt x="10651" y="4816"/>
                </a:lnTo>
                <a:lnTo>
                  <a:pt x="10652" y="4783"/>
                </a:lnTo>
                <a:lnTo>
                  <a:pt x="10652" y="4757"/>
                </a:lnTo>
                <a:lnTo>
                  <a:pt x="10660" y="4758"/>
                </a:lnTo>
                <a:lnTo>
                  <a:pt x="10667" y="4758"/>
                </a:lnTo>
                <a:lnTo>
                  <a:pt x="10674" y="4757"/>
                </a:lnTo>
                <a:lnTo>
                  <a:pt x="10681" y="4756"/>
                </a:lnTo>
                <a:lnTo>
                  <a:pt x="10696" y="4752"/>
                </a:lnTo>
                <a:lnTo>
                  <a:pt x="10710" y="4747"/>
                </a:lnTo>
                <a:lnTo>
                  <a:pt x="10738" y="4733"/>
                </a:lnTo>
                <a:lnTo>
                  <a:pt x="10764" y="4718"/>
                </a:lnTo>
                <a:lnTo>
                  <a:pt x="10777" y="4712"/>
                </a:lnTo>
                <a:lnTo>
                  <a:pt x="10788" y="4707"/>
                </a:lnTo>
                <a:lnTo>
                  <a:pt x="10798" y="4704"/>
                </a:lnTo>
                <a:lnTo>
                  <a:pt x="10807" y="4703"/>
                </a:lnTo>
                <a:lnTo>
                  <a:pt x="10811" y="4704"/>
                </a:lnTo>
                <a:lnTo>
                  <a:pt x="10814" y="4705"/>
                </a:lnTo>
                <a:lnTo>
                  <a:pt x="10818" y="4707"/>
                </a:lnTo>
                <a:lnTo>
                  <a:pt x="10821" y="4710"/>
                </a:lnTo>
                <a:lnTo>
                  <a:pt x="10823" y="4714"/>
                </a:lnTo>
                <a:lnTo>
                  <a:pt x="10825" y="4719"/>
                </a:lnTo>
                <a:lnTo>
                  <a:pt x="10827" y="4726"/>
                </a:lnTo>
                <a:lnTo>
                  <a:pt x="10828" y="4733"/>
                </a:lnTo>
                <a:lnTo>
                  <a:pt x="10832" y="4764"/>
                </a:lnTo>
                <a:lnTo>
                  <a:pt x="10836" y="4804"/>
                </a:lnTo>
                <a:lnTo>
                  <a:pt x="10839" y="4824"/>
                </a:lnTo>
                <a:lnTo>
                  <a:pt x="10843" y="4841"/>
                </a:lnTo>
                <a:lnTo>
                  <a:pt x="10845" y="4848"/>
                </a:lnTo>
                <a:lnTo>
                  <a:pt x="10847" y="4855"/>
                </a:lnTo>
                <a:lnTo>
                  <a:pt x="10850" y="4860"/>
                </a:lnTo>
                <a:lnTo>
                  <a:pt x="10852" y="4863"/>
                </a:lnTo>
                <a:lnTo>
                  <a:pt x="10872" y="4872"/>
                </a:lnTo>
                <a:lnTo>
                  <a:pt x="10889" y="4878"/>
                </a:lnTo>
                <a:lnTo>
                  <a:pt x="10896" y="4880"/>
                </a:lnTo>
                <a:lnTo>
                  <a:pt x="10904" y="4881"/>
                </a:lnTo>
                <a:lnTo>
                  <a:pt x="10910" y="4882"/>
                </a:lnTo>
                <a:lnTo>
                  <a:pt x="10915" y="4882"/>
                </a:lnTo>
                <a:lnTo>
                  <a:pt x="10920" y="4881"/>
                </a:lnTo>
                <a:lnTo>
                  <a:pt x="10924" y="4879"/>
                </a:lnTo>
                <a:lnTo>
                  <a:pt x="10927" y="4877"/>
                </a:lnTo>
                <a:lnTo>
                  <a:pt x="10931" y="4875"/>
                </a:lnTo>
                <a:lnTo>
                  <a:pt x="10933" y="4872"/>
                </a:lnTo>
                <a:lnTo>
                  <a:pt x="10935" y="4869"/>
                </a:lnTo>
                <a:lnTo>
                  <a:pt x="10937" y="4865"/>
                </a:lnTo>
                <a:lnTo>
                  <a:pt x="10939" y="4860"/>
                </a:lnTo>
                <a:lnTo>
                  <a:pt x="10941" y="4850"/>
                </a:lnTo>
                <a:lnTo>
                  <a:pt x="10941" y="4839"/>
                </a:lnTo>
                <a:lnTo>
                  <a:pt x="10941" y="4828"/>
                </a:lnTo>
                <a:lnTo>
                  <a:pt x="10941" y="4816"/>
                </a:lnTo>
                <a:lnTo>
                  <a:pt x="10939" y="4791"/>
                </a:lnTo>
                <a:lnTo>
                  <a:pt x="10938" y="4767"/>
                </a:lnTo>
                <a:lnTo>
                  <a:pt x="10934" y="4767"/>
                </a:lnTo>
                <a:lnTo>
                  <a:pt x="10931" y="4766"/>
                </a:lnTo>
                <a:lnTo>
                  <a:pt x="10927" y="4764"/>
                </a:lnTo>
                <a:lnTo>
                  <a:pt x="10923" y="4761"/>
                </a:lnTo>
                <a:lnTo>
                  <a:pt x="10915" y="4754"/>
                </a:lnTo>
                <a:lnTo>
                  <a:pt x="10908" y="4745"/>
                </a:lnTo>
                <a:lnTo>
                  <a:pt x="10900" y="4734"/>
                </a:lnTo>
                <a:lnTo>
                  <a:pt x="10891" y="4720"/>
                </a:lnTo>
                <a:lnTo>
                  <a:pt x="10884" y="4706"/>
                </a:lnTo>
                <a:lnTo>
                  <a:pt x="10877" y="4691"/>
                </a:lnTo>
                <a:lnTo>
                  <a:pt x="10870" y="4675"/>
                </a:lnTo>
                <a:lnTo>
                  <a:pt x="10864" y="4658"/>
                </a:lnTo>
                <a:lnTo>
                  <a:pt x="10859" y="4642"/>
                </a:lnTo>
                <a:lnTo>
                  <a:pt x="10854" y="4625"/>
                </a:lnTo>
                <a:lnTo>
                  <a:pt x="10850" y="4609"/>
                </a:lnTo>
                <a:lnTo>
                  <a:pt x="10846" y="4593"/>
                </a:lnTo>
                <a:lnTo>
                  <a:pt x="10844" y="4578"/>
                </a:lnTo>
                <a:lnTo>
                  <a:pt x="10842" y="4566"/>
                </a:lnTo>
                <a:lnTo>
                  <a:pt x="10829" y="4568"/>
                </a:lnTo>
                <a:lnTo>
                  <a:pt x="10816" y="4571"/>
                </a:lnTo>
                <a:lnTo>
                  <a:pt x="10802" y="4574"/>
                </a:lnTo>
                <a:lnTo>
                  <a:pt x="10788" y="4579"/>
                </a:lnTo>
                <a:lnTo>
                  <a:pt x="10775" y="4585"/>
                </a:lnTo>
                <a:lnTo>
                  <a:pt x="10762" y="4591"/>
                </a:lnTo>
                <a:lnTo>
                  <a:pt x="10757" y="4595"/>
                </a:lnTo>
                <a:lnTo>
                  <a:pt x="10753" y="4600"/>
                </a:lnTo>
                <a:lnTo>
                  <a:pt x="10749" y="4604"/>
                </a:lnTo>
                <a:lnTo>
                  <a:pt x="10746" y="4608"/>
                </a:lnTo>
                <a:lnTo>
                  <a:pt x="10725" y="4608"/>
                </a:lnTo>
                <a:lnTo>
                  <a:pt x="10705" y="4607"/>
                </a:lnTo>
                <a:lnTo>
                  <a:pt x="10686" y="4605"/>
                </a:lnTo>
                <a:lnTo>
                  <a:pt x="10667" y="4602"/>
                </a:lnTo>
                <a:lnTo>
                  <a:pt x="10629" y="4594"/>
                </a:lnTo>
                <a:lnTo>
                  <a:pt x="10595" y="4587"/>
                </a:lnTo>
                <a:lnTo>
                  <a:pt x="10562" y="4579"/>
                </a:lnTo>
                <a:lnTo>
                  <a:pt x="10529" y="4572"/>
                </a:lnTo>
                <a:lnTo>
                  <a:pt x="10511" y="4569"/>
                </a:lnTo>
                <a:lnTo>
                  <a:pt x="10495" y="4567"/>
                </a:lnTo>
                <a:lnTo>
                  <a:pt x="10478" y="4566"/>
                </a:lnTo>
                <a:lnTo>
                  <a:pt x="10461" y="4566"/>
                </a:lnTo>
                <a:lnTo>
                  <a:pt x="10440" y="4538"/>
                </a:lnTo>
                <a:lnTo>
                  <a:pt x="10402" y="4492"/>
                </a:lnTo>
                <a:lnTo>
                  <a:pt x="10382" y="4467"/>
                </a:lnTo>
                <a:lnTo>
                  <a:pt x="10366" y="4447"/>
                </a:lnTo>
                <a:lnTo>
                  <a:pt x="10360" y="4439"/>
                </a:lnTo>
                <a:lnTo>
                  <a:pt x="10356" y="4433"/>
                </a:lnTo>
                <a:lnTo>
                  <a:pt x="10354" y="4429"/>
                </a:lnTo>
                <a:lnTo>
                  <a:pt x="10355" y="4428"/>
                </a:lnTo>
                <a:lnTo>
                  <a:pt x="10350" y="4418"/>
                </a:lnTo>
                <a:lnTo>
                  <a:pt x="10345" y="4409"/>
                </a:lnTo>
                <a:lnTo>
                  <a:pt x="10342" y="4400"/>
                </a:lnTo>
                <a:lnTo>
                  <a:pt x="10340" y="4393"/>
                </a:lnTo>
                <a:lnTo>
                  <a:pt x="10338" y="4386"/>
                </a:lnTo>
                <a:lnTo>
                  <a:pt x="10338" y="4380"/>
                </a:lnTo>
                <a:lnTo>
                  <a:pt x="10338" y="4374"/>
                </a:lnTo>
                <a:lnTo>
                  <a:pt x="10339" y="4369"/>
                </a:lnTo>
                <a:lnTo>
                  <a:pt x="10340" y="4365"/>
                </a:lnTo>
                <a:lnTo>
                  <a:pt x="10342" y="4361"/>
                </a:lnTo>
                <a:lnTo>
                  <a:pt x="10345" y="4357"/>
                </a:lnTo>
                <a:lnTo>
                  <a:pt x="10349" y="4354"/>
                </a:lnTo>
                <a:lnTo>
                  <a:pt x="10356" y="4350"/>
                </a:lnTo>
                <a:lnTo>
                  <a:pt x="10366" y="4346"/>
                </a:lnTo>
                <a:lnTo>
                  <a:pt x="10376" y="4344"/>
                </a:lnTo>
                <a:lnTo>
                  <a:pt x="10387" y="4343"/>
                </a:lnTo>
                <a:lnTo>
                  <a:pt x="10399" y="4343"/>
                </a:lnTo>
                <a:lnTo>
                  <a:pt x="10410" y="4343"/>
                </a:lnTo>
                <a:lnTo>
                  <a:pt x="10428" y="4344"/>
                </a:lnTo>
                <a:lnTo>
                  <a:pt x="10440" y="4344"/>
                </a:lnTo>
                <a:lnTo>
                  <a:pt x="10442" y="4334"/>
                </a:lnTo>
                <a:lnTo>
                  <a:pt x="10445" y="4325"/>
                </a:lnTo>
                <a:lnTo>
                  <a:pt x="10451" y="4317"/>
                </a:lnTo>
                <a:lnTo>
                  <a:pt x="10459" y="4309"/>
                </a:lnTo>
                <a:lnTo>
                  <a:pt x="10469" y="4302"/>
                </a:lnTo>
                <a:lnTo>
                  <a:pt x="10480" y="4296"/>
                </a:lnTo>
                <a:lnTo>
                  <a:pt x="10494" y="4289"/>
                </a:lnTo>
                <a:lnTo>
                  <a:pt x="10508" y="4283"/>
                </a:lnTo>
                <a:lnTo>
                  <a:pt x="10542" y="4272"/>
                </a:lnTo>
                <a:lnTo>
                  <a:pt x="10579" y="4261"/>
                </a:lnTo>
                <a:lnTo>
                  <a:pt x="10619" y="4251"/>
                </a:lnTo>
                <a:lnTo>
                  <a:pt x="10661" y="4240"/>
                </a:lnTo>
                <a:lnTo>
                  <a:pt x="10703" y="4229"/>
                </a:lnTo>
                <a:lnTo>
                  <a:pt x="10743" y="4215"/>
                </a:lnTo>
                <a:lnTo>
                  <a:pt x="10762" y="4209"/>
                </a:lnTo>
                <a:lnTo>
                  <a:pt x="10782" y="4201"/>
                </a:lnTo>
                <a:lnTo>
                  <a:pt x="10800" y="4193"/>
                </a:lnTo>
                <a:lnTo>
                  <a:pt x="10816" y="4185"/>
                </a:lnTo>
                <a:lnTo>
                  <a:pt x="10832" y="4176"/>
                </a:lnTo>
                <a:lnTo>
                  <a:pt x="10846" y="4166"/>
                </a:lnTo>
                <a:lnTo>
                  <a:pt x="10859" y="4156"/>
                </a:lnTo>
                <a:lnTo>
                  <a:pt x="10870" y="4144"/>
                </a:lnTo>
                <a:lnTo>
                  <a:pt x="10879" y="4132"/>
                </a:lnTo>
                <a:lnTo>
                  <a:pt x="10887" y="4119"/>
                </a:lnTo>
                <a:lnTo>
                  <a:pt x="10892" y="4105"/>
                </a:lnTo>
                <a:lnTo>
                  <a:pt x="10895" y="4089"/>
                </a:lnTo>
                <a:lnTo>
                  <a:pt x="10883" y="4088"/>
                </a:lnTo>
                <a:lnTo>
                  <a:pt x="10873" y="4086"/>
                </a:lnTo>
                <a:lnTo>
                  <a:pt x="10866" y="4083"/>
                </a:lnTo>
                <a:lnTo>
                  <a:pt x="10860" y="4079"/>
                </a:lnTo>
                <a:lnTo>
                  <a:pt x="10857" y="4073"/>
                </a:lnTo>
                <a:lnTo>
                  <a:pt x="10856" y="4067"/>
                </a:lnTo>
                <a:lnTo>
                  <a:pt x="10856" y="4059"/>
                </a:lnTo>
                <a:lnTo>
                  <a:pt x="10858" y="4051"/>
                </a:lnTo>
                <a:lnTo>
                  <a:pt x="10861" y="4042"/>
                </a:lnTo>
                <a:lnTo>
                  <a:pt x="10866" y="4033"/>
                </a:lnTo>
                <a:lnTo>
                  <a:pt x="10872" y="4023"/>
                </a:lnTo>
                <a:lnTo>
                  <a:pt x="10879" y="4012"/>
                </a:lnTo>
                <a:lnTo>
                  <a:pt x="10895" y="3991"/>
                </a:lnTo>
                <a:lnTo>
                  <a:pt x="10916" y="3967"/>
                </a:lnTo>
                <a:lnTo>
                  <a:pt x="10937" y="3945"/>
                </a:lnTo>
                <a:lnTo>
                  <a:pt x="10959" y="3923"/>
                </a:lnTo>
                <a:lnTo>
                  <a:pt x="10980" y="3902"/>
                </a:lnTo>
                <a:lnTo>
                  <a:pt x="11000" y="3884"/>
                </a:lnTo>
                <a:lnTo>
                  <a:pt x="11031" y="3857"/>
                </a:lnTo>
                <a:lnTo>
                  <a:pt x="11044" y="3847"/>
                </a:lnTo>
                <a:lnTo>
                  <a:pt x="11078" y="3816"/>
                </a:lnTo>
                <a:lnTo>
                  <a:pt x="11109" y="3787"/>
                </a:lnTo>
                <a:lnTo>
                  <a:pt x="11124" y="3773"/>
                </a:lnTo>
                <a:lnTo>
                  <a:pt x="11139" y="3760"/>
                </a:lnTo>
                <a:lnTo>
                  <a:pt x="11155" y="3748"/>
                </a:lnTo>
                <a:lnTo>
                  <a:pt x="11170" y="3737"/>
                </a:lnTo>
                <a:lnTo>
                  <a:pt x="11185" y="3726"/>
                </a:lnTo>
                <a:lnTo>
                  <a:pt x="11200" y="3716"/>
                </a:lnTo>
                <a:lnTo>
                  <a:pt x="11216" y="3707"/>
                </a:lnTo>
                <a:lnTo>
                  <a:pt x="11233" y="3699"/>
                </a:lnTo>
                <a:lnTo>
                  <a:pt x="11251" y="3693"/>
                </a:lnTo>
                <a:lnTo>
                  <a:pt x="11270" y="3688"/>
                </a:lnTo>
                <a:lnTo>
                  <a:pt x="11292" y="3684"/>
                </a:lnTo>
                <a:lnTo>
                  <a:pt x="11313" y="3682"/>
                </a:lnTo>
                <a:lnTo>
                  <a:pt x="11329" y="3679"/>
                </a:lnTo>
                <a:lnTo>
                  <a:pt x="11354" y="3674"/>
                </a:lnTo>
                <a:lnTo>
                  <a:pt x="11389" y="3666"/>
                </a:lnTo>
                <a:lnTo>
                  <a:pt x="11432" y="3656"/>
                </a:lnTo>
                <a:lnTo>
                  <a:pt x="11532" y="3633"/>
                </a:lnTo>
                <a:lnTo>
                  <a:pt x="11642" y="3609"/>
                </a:lnTo>
                <a:lnTo>
                  <a:pt x="11697" y="3599"/>
                </a:lnTo>
                <a:lnTo>
                  <a:pt x="11750" y="3588"/>
                </a:lnTo>
                <a:lnTo>
                  <a:pt x="11799" y="3580"/>
                </a:lnTo>
                <a:lnTo>
                  <a:pt x="11843" y="3575"/>
                </a:lnTo>
                <a:lnTo>
                  <a:pt x="11862" y="3574"/>
                </a:lnTo>
                <a:lnTo>
                  <a:pt x="11879" y="3573"/>
                </a:lnTo>
                <a:lnTo>
                  <a:pt x="11894" y="3574"/>
                </a:lnTo>
                <a:lnTo>
                  <a:pt x="11908" y="3575"/>
                </a:lnTo>
                <a:lnTo>
                  <a:pt x="11919" y="3578"/>
                </a:lnTo>
                <a:lnTo>
                  <a:pt x="11926" y="3581"/>
                </a:lnTo>
                <a:lnTo>
                  <a:pt x="11931" y="3586"/>
                </a:lnTo>
                <a:lnTo>
                  <a:pt x="11933" y="3593"/>
                </a:lnTo>
                <a:lnTo>
                  <a:pt x="11966" y="3593"/>
                </a:lnTo>
                <a:lnTo>
                  <a:pt x="12020" y="3594"/>
                </a:lnTo>
                <a:lnTo>
                  <a:pt x="12088" y="3596"/>
                </a:lnTo>
                <a:lnTo>
                  <a:pt x="12160" y="3599"/>
                </a:lnTo>
                <a:lnTo>
                  <a:pt x="12196" y="3601"/>
                </a:lnTo>
                <a:lnTo>
                  <a:pt x="12229" y="3604"/>
                </a:lnTo>
                <a:lnTo>
                  <a:pt x="12261" y="3607"/>
                </a:lnTo>
                <a:lnTo>
                  <a:pt x="12289" y="3611"/>
                </a:lnTo>
                <a:lnTo>
                  <a:pt x="12301" y="3613"/>
                </a:lnTo>
                <a:lnTo>
                  <a:pt x="12312" y="3616"/>
                </a:lnTo>
                <a:lnTo>
                  <a:pt x="12322" y="3618"/>
                </a:lnTo>
                <a:lnTo>
                  <a:pt x="12330" y="3621"/>
                </a:lnTo>
                <a:lnTo>
                  <a:pt x="12337" y="3624"/>
                </a:lnTo>
                <a:lnTo>
                  <a:pt x="12341" y="3627"/>
                </a:lnTo>
                <a:lnTo>
                  <a:pt x="12344" y="3631"/>
                </a:lnTo>
                <a:lnTo>
                  <a:pt x="12345" y="3635"/>
                </a:lnTo>
                <a:lnTo>
                  <a:pt x="12357" y="3635"/>
                </a:lnTo>
                <a:lnTo>
                  <a:pt x="12369" y="3637"/>
                </a:lnTo>
                <a:lnTo>
                  <a:pt x="12383" y="3640"/>
                </a:lnTo>
                <a:lnTo>
                  <a:pt x="12398" y="3644"/>
                </a:lnTo>
                <a:lnTo>
                  <a:pt x="12431" y="3653"/>
                </a:lnTo>
                <a:lnTo>
                  <a:pt x="12463" y="3663"/>
                </a:lnTo>
                <a:lnTo>
                  <a:pt x="12480" y="3668"/>
                </a:lnTo>
                <a:lnTo>
                  <a:pt x="12495" y="3672"/>
                </a:lnTo>
                <a:lnTo>
                  <a:pt x="12510" y="3675"/>
                </a:lnTo>
                <a:lnTo>
                  <a:pt x="12525" y="3678"/>
                </a:lnTo>
                <a:lnTo>
                  <a:pt x="12539" y="3679"/>
                </a:lnTo>
                <a:lnTo>
                  <a:pt x="12551" y="3680"/>
                </a:lnTo>
                <a:lnTo>
                  <a:pt x="12556" y="3679"/>
                </a:lnTo>
                <a:lnTo>
                  <a:pt x="12561" y="3678"/>
                </a:lnTo>
                <a:lnTo>
                  <a:pt x="12566" y="3677"/>
                </a:lnTo>
                <a:lnTo>
                  <a:pt x="12570" y="3675"/>
                </a:lnTo>
                <a:lnTo>
                  <a:pt x="12577" y="3672"/>
                </a:lnTo>
                <a:lnTo>
                  <a:pt x="12585" y="3670"/>
                </a:lnTo>
                <a:lnTo>
                  <a:pt x="12594" y="3669"/>
                </a:lnTo>
                <a:lnTo>
                  <a:pt x="12605" y="3668"/>
                </a:lnTo>
                <a:lnTo>
                  <a:pt x="12616" y="3668"/>
                </a:lnTo>
                <a:lnTo>
                  <a:pt x="12628" y="3670"/>
                </a:lnTo>
                <a:lnTo>
                  <a:pt x="12641" y="3671"/>
                </a:lnTo>
                <a:lnTo>
                  <a:pt x="12654" y="3674"/>
                </a:lnTo>
                <a:lnTo>
                  <a:pt x="12684" y="3681"/>
                </a:lnTo>
                <a:lnTo>
                  <a:pt x="12713" y="3690"/>
                </a:lnTo>
                <a:lnTo>
                  <a:pt x="12744" y="3702"/>
                </a:lnTo>
                <a:lnTo>
                  <a:pt x="12774" y="3715"/>
                </a:lnTo>
                <a:lnTo>
                  <a:pt x="12805" y="3731"/>
                </a:lnTo>
                <a:lnTo>
                  <a:pt x="12833" y="3747"/>
                </a:lnTo>
                <a:lnTo>
                  <a:pt x="12846" y="3756"/>
                </a:lnTo>
                <a:lnTo>
                  <a:pt x="12858" y="3764"/>
                </a:lnTo>
                <a:lnTo>
                  <a:pt x="12870" y="3773"/>
                </a:lnTo>
                <a:lnTo>
                  <a:pt x="12881" y="3782"/>
                </a:lnTo>
                <a:lnTo>
                  <a:pt x="12891" y="3791"/>
                </a:lnTo>
                <a:lnTo>
                  <a:pt x="12900" y="3801"/>
                </a:lnTo>
                <a:lnTo>
                  <a:pt x="12908" y="3810"/>
                </a:lnTo>
                <a:lnTo>
                  <a:pt x="12914" y="3819"/>
                </a:lnTo>
                <a:lnTo>
                  <a:pt x="12921" y="3829"/>
                </a:lnTo>
                <a:lnTo>
                  <a:pt x="12924" y="3838"/>
                </a:lnTo>
                <a:lnTo>
                  <a:pt x="12927" y="3848"/>
                </a:lnTo>
                <a:lnTo>
                  <a:pt x="12928" y="3857"/>
                </a:lnTo>
                <a:lnTo>
                  <a:pt x="12901" y="3858"/>
                </a:lnTo>
                <a:lnTo>
                  <a:pt x="12874" y="3858"/>
                </a:lnTo>
                <a:lnTo>
                  <a:pt x="12846" y="3860"/>
                </a:lnTo>
                <a:lnTo>
                  <a:pt x="12818" y="3862"/>
                </a:lnTo>
                <a:lnTo>
                  <a:pt x="12757" y="3867"/>
                </a:lnTo>
                <a:lnTo>
                  <a:pt x="12694" y="3873"/>
                </a:lnTo>
                <a:lnTo>
                  <a:pt x="12629" y="3879"/>
                </a:lnTo>
                <a:lnTo>
                  <a:pt x="12563" y="3884"/>
                </a:lnTo>
                <a:lnTo>
                  <a:pt x="12529" y="3886"/>
                </a:lnTo>
                <a:lnTo>
                  <a:pt x="12496" y="3887"/>
                </a:lnTo>
                <a:lnTo>
                  <a:pt x="12463" y="3888"/>
                </a:lnTo>
                <a:lnTo>
                  <a:pt x="12430" y="3889"/>
                </a:lnTo>
                <a:lnTo>
                  <a:pt x="12431" y="3900"/>
                </a:lnTo>
                <a:lnTo>
                  <a:pt x="12433" y="3906"/>
                </a:lnTo>
                <a:lnTo>
                  <a:pt x="12435" y="3909"/>
                </a:lnTo>
                <a:lnTo>
                  <a:pt x="12437" y="3910"/>
                </a:lnTo>
                <a:lnTo>
                  <a:pt x="12438" y="3911"/>
                </a:lnTo>
                <a:lnTo>
                  <a:pt x="12438" y="3913"/>
                </a:lnTo>
                <a:lnTo>
                  <a:pt x="12435" y="3919"/>
                </a:lnTo>
                <a:lnTo>
                  <a:pt x="12430" y="3931"/>
                </a:lnTo>
                <a:lnTo>
                  <a:pt x="12436" y="3931"/>
                </a:lnTo>
                <a:lnTo>
                  <a:pt x="12442" y="3932"/>
                </a:lnTo>
                <a:lnTo>
                  <a:pt x="12448" y="3934"/>
                </a:lnTo>
                <a:lnTo>
                  <a:pt x="12455" y="3937"/>
                </a:lnTo>
                <a:lnTo>
                  <a:pt x="12468" y="3945"/>
                </a:lnTo>
                <a:lnTo>
                  <a:pt x="12482" y="3956"/>
                </a:lnTo>
                <a:lnTo>
                  <a:pt x="12496" y="3970"/>
                </a:lnTo>
                <a:lnTo>
                  <a:pt x="12509" y="3984"/>
                </a:lnTo>
                <a:lnTo>
                  <a:pt x="12523" y="4000"/>
                </a:lnTo>
                <a:lnTo>
                  <a:pt x="12536" y="4017"/>
                </a:lnTo>
                <a:lnTo>
                  <a:pt x="12548" y="4034"/>
                </a:lnTo>
                <a:lnTo>
                  <a:pt x="12559" y="4052"/>
                </a:lnTo>
                <a:lnTo>
                  <a:pt x="12569" y="4069"/>
                </a:lnTo>
                <a:lnTo>
                  <a:pt x="12577" y="4086"/>
                </a:lnTo>
                <a:lnTo>
                  <a:pt x="12583" y="4104"/>
                </a:lnTo>
                <a:lnTo>
                  <a:pt x="12587" y="4118"/>
                </a:lnTo>
                <a:lnTo>
                  <a:pt x="12589" y="4125"/>
                </a:lnTo>
                <a:lnTo>
                  <a:pt x="12589" y="4132"/>
                </a:lnTo>
                <a:lnTo>
                  <a:pt x="12589" y="4138"/>
                </a:lnTo>
                <a:lnTo>
                  <a:pt x="12589" y="4143"/>
                </a:lnTo>
                <a:lnTo>
                  <a:pt x="12604" y="4142"/>
                </a:lnTo>
                <a:lnTo>
                  <a:pt x="12619" y="4141"/>
                </a:lnTo>
                <a:lnTo>
                  <a:pt x="12632" y="4138"/>
                </a:lnTo>
                <a:lnTo>
                  <a:pt x="12644" y="4134"/>
                </a:lnTo>
                <a:lnTo>
                  <a:pt x="12656" y="4129"/>
                </a:lnTo>
                <a:lnTo>
                  <a:pt x="12668" y="4124"/>
                </a:lnTo>
                <a:lnTo>
                  <a:pt x="12679" y="4118"/>
                </a:lnTo>
                <a:lnTo>
                  <a:pt x="12689" y="4112"/>
                </a:lnTo>
                <a:lnTo>
                  <a:pt x="12708" y="4100"/>
                </a:lnTo>
                <a:lnTo>
                  <a:pt x="12727" y="4089"/>
                </a:lnTo>
                <a:lnTo>
                  <a:pt x="12737" y="4085"/>
                </a:lnTo>
                <a:lnTo>
                  <a:pt x="12747" y="4081"/>
                </a:lnTo>
                <a:lnTo>
                  <a:pt x="12757" y="4079"/>
                </a:lnTo>
                <a:lnTo>
                  <a:pt x="12768" y="4079"/>
                </a:lnTo>
                <a:lnTo>
                  <a:pt x="12769" y="4092"/>
                </a:lnTo>
                <a:lnTo>
                  <a:pt x="12772" y="4104"/>
                </a:lnTo>
                <a:lnTo>
                  <a:pt x="12776" y="4114"/>
                </a:lnTo>
                <a:lnTo>
                  <a:pt x="12781" y="4122"/>
                </a:lnTo>
                <a:lnTo>
                  <a:pt x="12788" y="4129"/>
                </a:lnTo>
                <a:lnTo>
                  <a:pt x="12797" y="4134"/>
                </a:lnTo>
                <a:lnTo>
                  <a:pt x="12805" y="4137"/>
                </a:lnTo>
                <a:lnTo>
                  <a:pt x="12813" y="4138"/>
                </a:lnTo>
                <a:lnTo>
                  <a:pt x="12822" y="4138"/>
                </a:lnTo>
                <a:lnTo>
                  <a:pt x="12831" y="4136"/>
                </a:lnTo>
                <a:lnTo>
                  <a:pt x="12840" y="4132"/>
                </a:lnTo>
                <a:lnTo>
                  <a:pt x="12849" y="4125"/>
                </a:lnTo>
                <a:lnTo>
                  <a:pt x="12856" y="4117"/>
                </a:lnTo>
                <a:lnTo>
                  <a:pt x="12863" y="4107"/>
                </a:lnTo>
                <a:lnTo>
                  <a:pt x="12869" y="4093"/>
                </a:lnTo>
                <a:lnTo>
                  <a:pt x="12874" y="4079"/>
                </a:lnTo>
                <a:lnTo>
                  <a:pt x="12868" y="4078"/>
                </a:lnTo>
                <a:lnTo>
                  <a:pt x="12863" y="4078"/>
                </a:lnTo>
                <a:lnTo>
                  <a:pt x="12858" y="4076"/>
                </a:lnTo>
                <a:lnTo>
                  <a:pt x="12854" y="4075"/>
                </a:lnTo>
                <a:lnTo>
                  <a:pt x="12850" y="4073"/>
                </a:lnTo>
                <a:lnTo>
                  <a:pt x="12847" y="4070"/>
                </a:lnTo>
                <a:lnTo>
                  <a:pt x="12844" y="4067"/>
                </a:lnTo>
                <a:lnTo>
                  <a:pt x="12842" y="4064"/>
                </a:lnTo>
                <a:lnTo>
                  <a:pt x="12838" y="4057"/>
                </a:lnTo>
                <a:lnTo>
                  <a:pt x="12836" y="4049"/>
                </a:lnTo>
                <a:lnTo>
                  <a:pt x="12835" y="4040"/>
                </a:lnTo>
                <a:lnTo>
                  <a:pt x="12835" y="4032"/>
                </a:lnTo>
                <a:lnTo>
                  <a:pt x="12836" y="4023"/>
                </a:lnTo>
                <a:lnTo>
                  <a:pt x="12837" y="4014"/>
                </a:lnTo>
                <a:lnTo>
                  <a:pt x="12839" y="4006"/>
                </a:lnTo>
                <a:lnTo>
                  <a:pt x="12842" y="3999"/>
                </a:lnTo>
                <a:lnTo>
                  <a:pt x="12845" y="3993"/>
                </a:lnTo>
                <a:lnTo>
                  <a:pt x="12848" y="3988"/>
                </a:lnTo>
                <a:lnTo>
                  <a:pt x="12850" y="3985"/>
                </a:lnTo>
                <a:lnTo>
                  <a:pt x="12853" y="3984"/>
                </a:lnTo>
                <a:lnTo>
                  <a:pt x="12857" y="3978"/>
                </a:lnTo>
                <a:lnTo>
                  <a:pt x="12861" y="3972"/>
                </a:lnTo>
                <a:lnTo>
                  <a:pt x="12866" y="3965"/>
                </a:lnTo>
                <a:lnTo>
                  <a:pt x="12871" y="3961"/>
                </a:lnTo>
                <a:lnTo>
                  <a:pt x="12876" y="3957"/>
                </a:lnTo>
                <a:lnTo>
                  <a:pt x="12881" y="3954"/>
                </a:lnTo>
                <a:lnTo>
                  <a:pt x="12886" y="3951"/>
                </a:lnTo>
                <a:lnTo>
                  <a:pt x="12892" y="3949"/>
                </a:lnTo>
                <a:lnTo>
                  <a:pt x="12903" y="3946"/>
                </a:lnTo>
                <a:lnTo>
                  <a:pt x="12916" y="3944"/>
                </a:lnTo>
                <a:lnTo>
                  <a:pt x="12928" y="3943"/>
                </a:lnTo>
                <a:lnTo>
                  <a:pt x="12940" y="3942"/>
                </a:lnTo>
                <a:lnTo>
                  <a:pt x="12952" y="3942"/>
                </a:lnTo>
                <a:lnTo>
                  <a:pt x="12964" y="3940"/>
                </a:lnTo>
                <a:lnTo>
                  <a:pt x="12975" y="3938"/>
                </a:lnTo>
                <a:lnTo>
                  <a:pt x="12986" y="3934"/>
                </a:lnTo>
                <a:lnTo>
                  <a:pt x="12992" y="3931"/>
                </a:lnTo>
                <a:lnTo>
                  <a:pt x="12997" y="3928"/>
                </a:lnTo>
                <a:lnTo>
                  <a:pt x="13002" y="3924"/>
                </a:lnTo>
                <a:lnTo>
                  <a:pt x="13007" y="3919"/>
                </a:lnTo>
                <a:lnTo>
                  <a:pt x="13012" y="3914"/>
                </a:lnTo>
                <a:lnTo>
                  <a:pt x="13016" y="3908"/>
                </a:lnTo>
                <a:lnTo>
                  <a:pt x="13020" y="3901"/>
                </a:lnTo>
                <a:lnTo>
                  <a:pt x="13024" y="3894"/>
                </a:lnTo>
                <a:lnTo>
                  <a:pt x="13103" y="3988"/>
                </a:lnTo>
                <a:lnTo>
                  <a:pt x="13179" y="4083"/>
                </a:lnTo>
                <a:lnTo>
                  <a:pt x="13253" y="4181"/>
                </a:lnTo>
                <a:lnTo>
                  <a:pt x="13326" y="4280"/>
                </a:lnTo>
                <a:lnTo>
                  <a:pt x="13396" y="4380"/>
                </a:lnTo>
                <a:lnTo>
                  <a:pt x="13465" y="4482"/>
                </a:lnTo>
                <a:lnTo>
                  <a:pt x="13532" y="4584"/>
                </a:lnTo>
                <a:lnTo>
                  <a:pt x="13598" y="4688"/>
                </a:lnTo>
                <a:lnTo>
                  <a:pt x="13660" y="4794"/>
                </a:lnTo>
                <a:lnTo>
                  <a:pt x="13722" y="4901"/>
                </a:lnTo>
                <a:lnTo>
                  <a:pt x="13781" y="5009"/>
                </a:lnTo>
                <a:lnTo>
                  <a:pt x="13839" y="5118"/>
                </a:lnTo>
                <a:lnTo>
                  <a:pt x="13893" y="5227"/>
                </a:lnTo>
                <a:lnTo>
                  <a:pt x="13947" y="5339"/>
                </a:lnTo>
                <a:lnTo>
                  <a:pt x="13998" y="5452"/>
                </a:lnTo>
                <a:lnTo>
                  <a:pt x="14046" y="5566"/>
                </a:lnTo>
                <a:lnTo>
                  <a:pt x="14094" y="5681"/>
                </a:lnTo>
                <a:lnTo>
                  <a:pt x="14138" y="5797"/>
                </a:lnTo>
                <a:lnTo>
                  <a:pt x="14181" y="5914"/>
                </a:lnTo>
                <a:lnTo>
                  <a:pt x="14221" y="6033"/>
                </a:lnTo>
                <a:lnTo>
                  <a:pt x="14259" y="6152"/>
                </a:lnTo>
                <a:lnTo>
                  <a:pt x="14295" y="6272"/>
                </a:lnTo>
                <a:lnTo>
                  <a:pt x="14329" y="6393"/>
                </a:lnTo>
                <a:lnTo>
                  <a:pt x="14360" y="6515"/>
                </a:lnTo>
                <a:lnTo>
                  <a:pt x="14389" y="6638"/>
                </a:lnTo>
                <a:lnTo>
                  <a:pt x="14415" y="6762"/>
                </a:lnTo>
                <a:lnTo>
                  <a:pt x="14440" y="6886"/>
                </a:lnTo>
                <a:lnTo>
                  <a:pt x="14462" y="7012"/>
                </a:lnTo>
                <a:lnTo>
                  <a:pt x="14481" y="7138"/>
                </a:lnTo>
                <a:lnTo>
                  <a:pt x="14498" y="7265"/>
                </a:lnTo>
                <a:lnTo>
                  <a:pt x="14512" y="7393"/>
                </a:lnTo>
                <a:lnTo>
                  <a:pt x="14524" y="7522"/>
                </a:lnTo>
                <a:close/>
                <a:moveTo>
                  <a:pt x="3650" y="3319"/>
                </a:moveTo>
                <a:lnTo>
                  <a:pt x="3656" y="3318"/>
                </a:lnTo>
                <a:lnTo>
                  <a:pt x="3663" y="3316"/>
                </a:lnTo>
                <a:lnTo>
                  <a:pt x="3671" y="3313"/>
                </a:lnTo>
                <a:lnTo>
                  <a:pt x="3679" y="3309"/>
                </a:lnTo>
                <a:lnTo>
                  <a:pt x="3697" y="3301"/>
                </a:lnTo>
                <a:lnTo>
                  <a:pt x="3715" y="3292"/>
                </a:lnTo>
                <a:lnTo>
                  <a:pt x="3749" y="3274"/>
                </a:lnTo>
                <a:lnTo>
                  <a:pt x="3769" y="3264"/>
                </a:lnTo>
                <a:lnTo>
                  <a:pt x="3767" y="3304"/>
                </a:lnTo>
                <a:lnTo>
                  <a:pt x="3765" y="3333"/>
                </a:lnTo>
                <a:lnTo>
                  <a:pt x="3765" y="3349"/>
                </a:lnTo>
                <a:lnTo>
                  <a:pt x="3767" y="3366"/>
                </a:lnTo>
                <a:lnTo>
                  <a:pt x="3772" y="3386"/>
                </a:lnTo>
                <a:lnTo>
                  <a:pt x="3780" y="3412"/>
                </a:lnTo>
                <a:lnTo>
                  <a:pt x="3783" y="3413"/>
                </a:lnTo>
                <a:lnTo>
                  <a:pt x="3787" y="3417"/>
                </a:lnTo>
                <a:lnTo>
                  <a:pt x="3791" y="3422"/>
                </a:lnTo>
                <a:lnTo>
                  <a:pt x="3797" y="3429"/>
                </a:lnTo>
                <a:lnTo>
                  <a:pt x="3809" y="3447"/>
                </a:lnTo>
                <a:lnTo>
                  <a:pt x="3822" y="3470"/>
                </a:lnTo>
                <a:lnTo>
                  <a:pt x="3834" y="3494"/>
                </a:lnTo>
                <a:lnTo>
                  <a:pt x="3845" y="3518"/>
                </a:lnTo>
                <a:lnTo>
                  <a:pt x="3849" y="3530"/>
                </a:lnTo>
                <a:lnTo>
                  <a:pt x="3852" y="3541"/>
                </a:lnTo>
                <a:lnTo>
                  <a:pt x="3854" y="3551"/>
                </a:lnTo>
                <a:lnTo>
                  <a:pt x="3854" y="3560"/>
                </a:lnTo>
                <a:lnTo>
                  <a:pt x="3877" y="3557"/>
                </a:lnTo>
                <a:lnTo>
                  <a:pt x="3900" y="3553"/>
                </a:lnTo>
                <a:lnTo>
                  <a:pt x="3924" y="3549"/>
                </a:lnTo>
                <a:lnTo>
                  <a:pt x="3948" y="3547"/>
                </a:lnTo>
                <a:lnTo>
                  <a:pt x="3959" y="3547"/>
                </a:lnTo>
                <a:lnTo>
                  <a:pt x="3970" y="3549"/>
                </a:lnTo>
                <a:lnTo>
                  <a:pt x="3980" y="3551"/>
                </a:lnTo>
                <a:lnTo>
                  <a:pt x="3988" y="3556"/>
                </a:lnTo>
                <a:lnTo>
                  <a:pt x="3993" y="3558"/>
                </a:lnTo>
                <a:lnTo>
                  <a:pt x="3996" y="3561"/>
                </a:lnTo>
                <a:lnTo>
                  <a:pt x="4000" y="3565"/>
                </a:lnTo>
                <a:lnTo>
                  <a:pt x="4003" y="3569"/>
                </a:lnTo>
                <a:lnTo>
                  <a:pt x="4006" y="3574"/>
                </a:lnTo>
                <a:lnTo>
                  <a:pt x="4009" y="3579"/>
                </a:lnTo>
                <a:lnTo>
                  <a:pt x="4011" y="3585"/>
                </a:lnTo>
                <a:lnTo>
                  <a:pt x="4013" y="3593"/>
                </a:lnTo>
                <a:lnTo>
                  <a:pt x="3992" y="3592"/>
                </a:lnTo>
                <a:lnTo>
                  <a:pt x="3971" y="3589"/>
                </a:lnTo>
                <a:lnTo>
                  <a:pt x="3949" y="3586"/>
                </a:lnTo>
                <a:lnTo>
                  <a:pt x="3928" y="3581"/>
                </a:lnTo>
                <a:lnTo>
                  <a:pt x="3930" y="3596"/>
                </a:lnTo>
                <a:lnTo>
                  <a:pt x="3930" y="3610"/>
                </a:lnTo>
                <a:lnTo>
                  <a:pt x="3931" y="3621"/>
                </a:lnTo>
                <a:lnTo>
                  <a:pt x="3931" y="3631"/>
                </a:lnTo>
                <a:lnTo>
                  <a:pt x="3930" y="3640"/>
                </a:lnTo>
                <a:lnTo>
                  <a:pt x="3928" y="3648"/>
                </a:lnTo>
                <a:lnTo>
                  <a:pt x="3927" y="3655"/>
                </a:lnTo>
                <a:lnTo>
                  <a:pt x="3924" y="3661"/>
                </a:lnTo>
                <a:lnTo>
                  <a:pt x="3921" y="3665"/>
                </a:lnTo>
                <a:lnTo>
                  <a:pt x="3918" y="3669"/>
                </a:lnTo>
                <a:lnTo>
                  <a:pt x="3914" y="3672"/>
                </a:lnTo>
                <a:lnTo>
                  <a:pt x="3910" y="3674"/>
                </a:lnTo>
                <a:lnTo>
                  <a:pt x="3906" y="3675"/>
                </a:lnTo>
                <a:lnTo>
                  <a:pt x="3901" y="3675"/>
                </a:lnTo>
                <a:lnTo>
                  <a:pt x="3896" y="3675"/>
                </a:lnTo>
                <a:lnTo>
                  <a:pt x="3891" y="3675"/>
                </a:lnTo>
                <a:lnTo>
                  <a:pt x="3879" y="3672"/>
                </a:lnTo>
                <a:lnTo>
                  <a:pt x="3866" y="3668"/>
                </a:lnTo>
                <a:lnTo>
                  <a:pt x="3853" y="3663"/>
                </a:lnTo>
                <a:lnTo>
                  <a:pt x="3838" y="3658"/>
                </a:lnTo>
                <a:lnTo>
                  <a:pt x="3824" y="3653"/>
                </a:lnTo>
                <a:lnTo>
                  <a:pt x="3809" y="3649"/>
                </a:lnTo>
                <a:lnTo>
                  <a:pt x="3794" y="3646"/>
                </a:lnTo>
                <a:lnTo>
                  <a:pt x="3780" y="3645"/>
                </a:lnTo>
                <a:lnTo>
                  <a:pt x="3777" y="3642"/>
                </a:lnTo>
                <a:lnTo>
                  <a:pt x="3770" y="3638"/>
                </a:lnTo>
                <a:lnTo>
                  <a:pt x="3759" y="3633"/>
                </a:lnTo>
                <a:lnTo>
                  <a:pt x="3745" y="3627"/>
                </a:lnTo>
                <a:lnTo>
                  <a:pt x="3729" y="3621"/>
                </a:lnTo>
                <a:lnTo>
                  <a:pt x="3711" y="3616"/>
                </a:lnTo>
                <a:lnTo>
                  <a:pt x="3693" y="3612"/>
                </a:lnTo>
                <a:lnTo>
                  <a:pt x="3676" y="3609"/>
                </a:lnTo>
                <a:lnTo>
                  <a:pt x="3667" y="3609"/>
                </a:lnTo>
                <a:lnTo>
                  <a:pt x="3659" y="3608"/>
                </a:lnTo>
                <a:lnTo>
                  <a:pt x="3651" y="3609"/>
                </a:lnTo>
                <a:lnTo>
                  <a:pt x="3644" y="3610"/>
                </a:lnTo>
                <a:lnTo>
                  <a:pt x="3638" y="3612"/>
                </a:lnTo>
                <a:lnTo>
                  <a:pt x="3633" y="3615"/>
                </a:lnTo>
                <a:lnTo>
                  <a:pt x="3628" y="3618"/>
                </a:lnTo>
                <a:lnTo>
                  <a:pt x="3624" y="3623"/>
                </a:lnTo>
                <a:lnTo>
                  <a:pt x="3622" y="3628"/>
                </a:lnTo>
                <a:lnTo>
                  <a:pt x="3620" y="3634"/>
                </a:lnTo>
                <a:lnTo>
                  <a:pt x="3620" y="3642"/>
                </a:lnTo>
                <a:lnTo>
                  <a:pt x="3621" y="3651"/>
                </a:lnTo>
                <a:lnTo>
                  <a:pt x="3624" y="3660"/>
                </a:lnTo>
                <a:lnTo>
                  <a:pt x="3628" y="3672"/>
                </a:lnTo>
                <a:lnTo>
                  <a:pt x="3634" y="3684"/>
                </a:lnTo>
                <a:lnTo>
                  <a:pt x="3642" y="3698"/>
                </a:lnTo>
                <a:lnTo>
                  <a:pt x="3646" y="3698"/>
                </a:lnTo>
                <a:lnTo>
                  <a:pt x="3650" y="3700"/>
                </a:lnTo>
                <a:lnTo>
                  <a:pt x="3653" y="3702"/>
                </a:lnTo>
                <a:lnTo>
                  <a:pt x="3656" y="3704"/>
                </a:lnTo>
                <a:lnTo>
                  <a:pt x="3660" y="3711"/>
                </a:lnTo>
                <a:lnTo>
                  <a:pt x="3666" y="3721"/>
                </a:lnTo>
                <a:lnTo>
                  <a:pt x="3670" y="3726"/>
                </a:lnTo>
                <a:lnTo>
                  <a:pt x="3674" y="3731"/>
                </a:lnTo>
                <a:lnTo>
                  <a:pt x="3679" y="3736"/>
                </a:lnTo>
                <a:lnTo>
                  <a:pt x="3685" y="3741"/>
                </a:lnTo>
                <a:lnTo>
                  <a:pt x="3692" y="3746"/>
                </a:lnTo>
                <a:lnTo>
                  <a:pt x="3701" y="3751"/>
                </a:lnTo>
                <a:lnTo>
                  <a:pt x="3712" y="3756"/>
                </a:lnTo>
                <a:lnTo>
                  <a:pt x="3725" y="3760"/>
                </a:lnTo>
                <a:lnTo>
                  <a:pt x="3755" y="3770"/>
                </a:lnTo>
                <a:lnTo>
                  <a:pt x="3787" y="3779"/>
                </a:lnTo>
                <a:lnTo>
                  <a:pt x="3818" y="3786"/>
                </a:lnTo>
                <a:lnTo>
                  <a:pt x="3852" y="3793"/>
                </a:lnTo>
                <a:lnTo>
                  <a:pt x="3884" y="3800"/>
                </a:lnTo>
                <a:lnTo>
                  <a:pt x="3916" y="3806"/>
                </a:lnTo>
                <a:lnTo>
                  <a:pt x="3948" y="3811"/>
                </a:lnTo>
                <a:lnTo>
                  <a:pt x="3981" y="3816"/>
                </a:lnTo>
                <a:lnTo>
                  <a:pt x="3994" y="3818"/>
                </a:lnTo>
                <a:lnTo>
                  <a:pt x="4006" y="3819"/>
                </a:lnTo>
                <a:lnTo>
                  <a:pt x="4017" y="3819"/>
                </a:lnTo>
                <a:lnTo>
                  <a:pt x="4028" y="3819"/>
                </a:lnTo>
                <a:lnTo>
                  <a:pt x="4049" y="3817"/>
                </a:lnTo>
                <a:lnTo>
                  <a:pt x="4069" y="3814"/>
                </a:lnTo>
                <a:lnTo>
                  <a:pt x="4088" y="3811"/>
                </a:lnTo>
                <a:lnTo>
                  <a:pt x="4109" y="3807"/>
                </a:lnTo>
                <a:lnTo>
                  <a:pt x="4129" y="3805"/>
                </a:lnTo>
                <a:lnTo>
                  <a:pt x="4150" y="3804"/>
                </a:lnTo>
                <a:lnTo>
                  <a:pt x="4152" y="3801"/>
                </a:lnTo>
                <a:lnTo>
                  <a:pt x="4156" y="3798"/>
                </a:lnTo>
                <a:lnTo>
                  <a:pt x="4163" y="3794"/>
                </a:lnTo>
                <a:lnTo>
                  <a:pt x="4171" y="3788"/>
                </a:lnTo>
                <a:lnTo>
                  <a:pt x="4190" y="3777"/>
                </a:lnTo>
                <a:lnTo>
                  <a:pt x="4210" y="3764"/>
                </a:lnTo>
                <a:lnTo>
                  <a:pt x="4218" y="3757"/>
                </a:lnTo>
                <a:lnTo>
                  <a:pt x="4225" y="3751"/>
                </a:lnTo>
                <a:lnTo>
                  <a:pt x="4227" y="3748"/>
                </a:lnTo>
                <a:lnTo>
                  <a:pt x="4229" y="3746"/>
                </a:lnTo>
                <a:lnTo>
                  <a:pt x="4230" y="3743"/>
                </a:lnTo>
                <a:lnTo>
                  <a:pt x="4230" y="3741"/>
                </a:lnTo>
                <a:lnTo>
                  <a:pt x="4229" y="3738"/>
                </a:lnTo>
                <a:lnTo>
                  <a:pt x="4227" y="3736"/>
                </a:lnTo>
                <a:lnTo>
                  <a:pt x="4225" y="3735"/>
                </a:lnTo>
                <a:lnTo>
                  <a:pt x="4220" y="3733"/>
                </a:lnTo>
                <a:lnTo>
                  <a:pt x="4209" y="3731"/>
                </a:lnTo>
                <a:lnTo>
                  <a:pt x="4193" y="3730"/>
                </a:lnTo>
                <a:lnTo>
                  <a:pt x="4195" y="3720"/>
                </a:lnTo>
                <a:lnTo>
                  <a:pt x="4196" y="3710"/>
                </a:lnTo>
                <a:lnTo>
                  <a:pt x="4196" y="3701"/>
                </a:lnTo>
                <a:lnTo>
                  <a:pt x="4196" y="3694"/>
                </a:lnTo>
                <a:lnTo>
                  <a:pt x="4194" y="3687"/>
                </a:lnTo>
                <a:lnTo>
                  <a:pt x="4192" y="3681"/>
                </a:lnTo>
                <a:lnTo>
                  <a:pt x="4188" y="3676"/>
                </a:lnTo>
                <a:lnTo>
                  <a:pt x="4184" y="3671"/>
                </a:lnTo>
                <a:lnTo>
                  <a:pt x="4179" y="3668"/>
                </a:lnTo>
                <a:lnTo>
                  <a:pt x="4173" y="3664"/>
                </a:lnTo>
                <a:lnTo>
                  <a:pt x="4166" y="3662"/>
                </a:lnTo>
                <a:lnTo>
                  <a:pt x="4158" y="3660"/>
                </a:lnTo>
                <a:lnTo>
                  <a:pt x="4140" y="3657"/>
                </a:lnTo>
                <a:lnTo>
                  <a:pt x="4119" y="3656"/>
                </a:lnTo>
                <a:lnTo>
                  <a:pt x="4120" y="3651"/>
                </a:lnTo>
                <a:lnTo>
                  <a:pt x="4121" y="3646"/>
                </a:lnTo>
                <a:lnTo>
                  <a:pt x="4124" y="3641"/>
                </a:lnTo>
                <a:lnTo>
                  <a:pt x="4127" y="3637"/>
                </a:lnTo>
                <a:lnTo>
                  <a:pt x="4131" y="3634"/>
                </a:lnTo>
                <a:lnTo>
                  <a:pt x="4135" y="3631"/>
                </a:lnTo>
                <a:lnTo>
                  <a:pt x="4140" y="3629"/>
                </a:lnTo>
                <a:lnTo>
                  <a:pt x="4146" y="3627"/>
                </a:lnTo>
                <a:lnTo>
                  <a:pt x="4158" y="3624"/>
                </a:lnTo>
                <a:lnTo>
                  <a:pt x="4172" y="3622"/>
                </a:lnTo>
                <a:lnTo>
                  <a:pt x="4187" y="3622"/>
                </a:lnTo>
                <a:lnTo>
                  <a:pt x="4204" y="3622"/>
                </a:lnTo>
                <a:lnTo>
                  <a:pt x="4239" y="3625"/>
                </a:lnTo>
                <a:lnTo>
                  <a:pt x="4273" y="3629"/>
                </a:lnTo>
                <a:lnTo>
                  <a:pt x="4304" y="3633"/>
                </a:lnTo>
                <a:lnTo>
                  <a:pt x="4330" y="3635"/>
                </a:lnTo>
                <a:lnTo>
                  <a:pt x="4337" y="3621"/>
                </a:lnTo>
                <a:lnTo>
                  <a:pt x="4343" y="3610"/>
                </a:lnTo>
                <a:lnTo>
                  <a:pt x="4348" y="3600"/>
                </a:lnTo>
                <a:lnTo>
                  <a:pt x="4351" y="3590"/>
                </a:lnTo>
                <a:lnTo>
                  <a:pt x="4352" y="3582"/>
                </a:lnTo>
                <a:lnTo>
                  <a:pt x="4353" y="3575"/>
                </a:lnTo>
                <a:lnTo>
                  <a:pt x="4354" y="3569"/>
                </a:lnTo>
                <a:lnTo>
                  <a:pt x="4354" y="3562"/>
                </a:lnTo>
                <a:lnTo>
                  <a:pt x="4354" y="3550"/>
                </a:lnTo>
                <a:lnTo>
                  <a:pt x="4355" y="3536"/>
                </a:lnTo>
                <a:lnTo>
                  <a:pt x="4358" y="3528"/>
                </a:lnTo>
                <a:lnTo>
                  <a:pt x="4361" y="3519"/>
                </a:lnTo>
                <a:lnTo>
                  <a:pt x="4366" y="3508"/>
                </a:lnTo>
                <a:lnTo>
                  <a:pt x="4372" y="3496"/>
                </a:lnTo>
                <a:lnTo>
                  <a:pt x="4377" y="3489"/>
                </a:lnTo>
                <a:lnTo>
                  <a:pt x="4381" y="3482"/>
                </a:lnTo>
                <a:lnTo>
                  <a:pt x="4386" y="3476"/>
                </a:lnTo>
                <a:lnTo>
                  <a:pt x="4391" y="3471"/>
                </a:lnTo>
                <a:lnTo>
                  <a:pt x="4400" y="3462"/>
                </a:lnTo>
                <a:lnTo>
                  <a:pt x="4410" y="3456"/>
                </a:lnTo>
                <a:lnTo>
                  <a:pt x="4419" y="3452"/>
                </a:lnTo>
                <a:lnTo>
                  <a:pt x="4428" y="3450"/>
                </a:lnTo>
                <a:lnTo>
                  <a:pt x="4438" y="3448"/>
                </a:lnTo>
                <a:lnTo>
                  <a:pt x="4447" y="3447"/>
                </a:lnTo>
                <a:lnTo>
                  <a:pt x="4456" y="3446"/>
                </a:lnTo>
                <a:lnTo>
                  <a:pt x="4465" y="3445"/>
                </a:lnTo>
                <a:lnTo>
                  <a:pt x="4474" y="3443"/>
                </a:lnTo>
                <a:lnTo>
                  <a:pt x="4482" y="3439"/>
                </a:lnTo>
                <a:lnTo>
                  <a:pt x="4490" y="3434"/>
                </a:lnTo>
                <a:lnTo>
                  <a:pt x="4497" y="3426"/>
                </a:lnTo>
                <a:lnTo>
                  <a:pt x="4504" y="3416"/>
                </a:lnTo>
                <a:lnTo>
                  <a:pt x="4510" y="3402"/>
                </a:lnTo>
                <a:lnTo>
                  <a:pt x="4528" y="3409"/>
                </a:lnTo>
                <a:lnTo>
                  <a:pt x="4544" y="3418"/>
                </a:lnTo>
                <a:lnTo>
                  <a:pt x="4553" y="3422"/>
                </a:lnTo>
                <a:lnTo>
                  <a:pt x="4560" y="3427"/>
                </a:lnTo>
                <a:lnTo>
                  <a:pt x="4568" y="3433"/>
                </a:lnTo>
                <a:lnTo>
                  <a:pt x="4575" y="3438"/>
                </a:lnTo>
                <a:lnTo>
                  <a:pt x="4582" y="3445"/>
                </a:lnTo>
                <a:lnTo>
                  <a:pt x="4588" y="3452"/>
                </a:lnTo>
                <a:lnTo>
                  <a:pt x="4594" y="3459"/>
                </a:lnTo>
                <a:lnTo>
                  <a:pt x="4600" y="3468"/>
                </a:lnTo>
                <a:lnTo>
                  <a:pt x="4605" y="3477"/>
                </a:lnTo>
                <a:lnTo>
                  <a:pt x="4609" y="3486"/>
                </a:lnTo>
                <a:lnTo>
                  <a:pt x="4613" y="3497"/>
                </a:lnTo>
                <a:lnTo>
                  <a:pt x="4616" y="3508"/>
                </a:lnTo>
                <a:lnTo>
                  <a:pt x="4625" y="3516"/>
                </a:lnTo>
                <a:lnTo>
                  <a:pt x="4637" y="3530"/>
                </a:lnTo>
                <a:lnTo>
                  <a:pt x="4652" y="3547"/>
                </a:lnTo>
                <a:lnTo>
                  <a:pt x="4668" y="3567"/>
                </a:lnTo>
                <a:lnTo>
                  <a:pt x="4687" y="3589"/>
                </a:lnTo>
                <a:lnTo>
                  <a:pt x="4706" y="3612"/>
                </a:lnTo>
                <a:lnTo>
                  <a:pt x="4727" y="3634"/>
                </a:lnTo>
                <a:lnTo>
                  <a:pt x="4747" y="3654"/>
                </a:lnTo>
                <a:lnTo>
                  <a:pt x="4757" y="3663"/>
                </a:lnTo>
                <a:lnTo>
                  <a:pt x="4766" y="3671"/>
                </a:lnTo>
                <a:lnTo>
                  <a:pt x="4776" y="3678"/>
                </a:lnTo>
                <a:lnTo>
                  <a:pt x="4785" y="3685"/>
                </a:lnTo>
                <a:lnTo>
                  <a:pt x="4794" y="3690"/>
                </a:lnTo>
                <a:lnTo>
                  <a:pt x="4802" y="3693"/>
                </a:lnTo>
                <a:lnTo>
                  <a:pt x="4810" y="3695"/>
                </a:lnTo>
                <a:lnTo>
                  <a:pt x="4817" y="3696"/>
                </a:lnTo>
                <a:lnTo>
                  <a:pt x="4824" y="3694"/>
                </a:lnTo>
                <a:lnTo>
                  <a:pt x="4830" y="3691"/>
                </a:lnTo>
                <a:lnTo>
                  <a:pt x="4835" y="3686"/>
                </a:lnTo>
                <a:lnTo>
                  <a:pt x="4840" y="3678"/>
                </a:lnTo>
                <a:lnTo>
                  <a:pt x="4843" y="3669"/>
                </a:lnTo>
                <a:lnTo>
                  <a:pt x="4846" y="3656"/>
                </a:lnTo>
                <a:lnTo>
                  <a:pt x="4848" y="3642"/>
                </a:lnTo>
                <a:lnTo>
                  <a:pt x="4848" y="3624"/>
                </a:lnTo>
                <a:lnTo>
                  <a:pt x="4856" y="3627"/>
                </a:lnTo>
                <a:lnTo>
                  <a:pt x="4862" y="3630"/>
                </a:lnTo>
                <a:lnTo>
                  <a:pt x="4868" y="3633"/>
                </a:lnTo>
                <a:lnTo>
                  <a:pt x="4873" y="3637"/>
                </a:lnTo>
                <a:lnTo>
                  <a:pt x="4884" y="3647"/>
                </a:lnTo>
                <a:lnTo>
                  <a:pt x="4895" y="3659"/>
                </a:lnTo>
                <a:lnTo>
                  <a:pt x="4904" y="3672"/>
                </a:lnTo>
                <a:lnTo>
                  <a:pt x="4912" y="3686"/>
                </a:lnTo>
                <a:lnTo>
                  <a:pt x="4920" y="3702"/>
                </a:lnTo>
                <a:lnTo>
                  <a:pt x="4927" y="3719"/>
                </a:lnTo>
                <a:lnTo>
                  <a:pt x="4933" y="3735"/>
                </a:lnTo>
                <a:lnTo>
                  <a:pt x="4939" y="3752"/>
                </a:lnTo>
                <a:lnTo>
                  <a:pt x="4943" y="3769"/>
                </a:lnTo>
                <a:lnTo>
                  <a:pt x="4947" y="3786"/>
                </a:lnTo>
                <a:lnTo>
                  <a:pt x="4950" y="3802"/>
                </a:lnTo>
                <a:lnTo>
                  <a:pt x="4952" y="3818"/>
                </a:lnTo>
                <a:lnTo>
                  <a:pt x="4953" y="3833"/>
                </a:lnTo>
                <a:lnTo>
                  <a:pt x="4954" y="3847"/>
                </a:lnTo>
                <a:lnTo>
                  <a:pt x="4966" y="3845"/>
                </a:lnTo>
                <a:lnTo>
                  <a:pt x="4976" y="3842"/>
                </a:lnTo>
                <a:lnTo>
                  <a:pt x="4987" y="3839"/>
                </a:lnTo>
                <a:lnTo>
                  <a:pt x="4997" y="3836"/>
                </a:lnTo>
                <a:lnTo>
                  <a:pt x="5006" y="3832"/>
                </a:lnTo>
                <a:lnTo>
                  <a:pt x="5014" y="3828"/>
                </a:lnTo>
                <a:lnTo>
                  <a:pt x="5022" y="3824"/>
                </a:lnTo>
                <a:lnTo>
                  <a:pt x="5029" y="3819"/>
                </a:lnTo>
                <a:lnTo>
                  <a:pt x="5036" y="3814"/>
                </a:lnTo>
                <a:lnTo>
                  <a:pt x="5042" y="3809"/>
                </a:lnTo>
                <a:lnTo>
                  <a:pt x="5048" y="3803"/>
                </a:lnTo>
                <a:lnTo>
                  <a:pt x="5054" y="3797"/>
                </a:lnTo>
                <a:lnTo>
                  <a:pt x="5063" y="3784"/>
                </a:lnTo>
                <a:lnTo>
                  <a:pt x="5070" y="3771"/>
                </a:lnTo>
                <a:lnTo>
                  <a:pt x="5077" y="3756"/>
                </a:lnTo>
                <a:lnTo>
                  <a:pt x="5082" y="3740"/>
                </a:lnTo>
                <a:lnTo>
                  <a:pt x="5085" y="3724"/>
                </a:lnTo>
                <a:lnTo>
                  <a:pt x="5088" y="3706"/>
                </a:lnTo>
                <a:lnTo>
                  <a:pt x="5090" y="3689"/>
                </a:lnTo>
                <a:lnTo>
                  <a:pt x="5091" y="3671"/>
                </a:lnTo>
                <a:lnTo>
                  <a:pt x="5092" y="3653"/>
                </a:lnTo>
                <a:lnTo>
                  <a:pt x="5092" y="3635"/>
                </a:lnTo>
                <a:lnTo>
                  <a:pt x="5096" y="3634"/>
                </a:lnTo>
                <a:lnTo>
                  <a:pt x="5100" y="3633"/>
                </a:lnTo>
                <a:lnTo>
                  <a:pt x="5102" y="3630"/>
                </a:lnTo>
                <a:lnTo>
                  <a:pt x="5102" y="3627"/>
                </a:lnTo>
                <a:lnTo>
                  <a:pt x="5102" y="3623"/>
                </a:lnTo>
                <a:lnTo>
                  <a:pt x="5101" y="3619"/>
                </a:lnTo>
                <a:lnTo>
                  <a:pt x="5099" y="3614"/>
                </a:lnTo>
                <a:lnTo>
                  <a:pt x="5097" y="3609"/>
                </a:lnTo>
                <a:lnTo>
                  <a:pt x="5092" y="3599"/>
                </a:lnTo>
                <a:lnTo>
                  <a:pt x="5087" y="3587"/>
                </a:lnTo>
                <a:lnTo>
                  <a:pt x="5083" y="3578"/>
                </a:lnTo>
                <a:lnTo>
                  <a:pt x="5081" y="3571"/>
                </a:lnTo>
                <a:lnTo>
                  <a:pt x="5090" y="3568"/>
                </a:lnTo>
                <a:lnTo>
                  <a:pt x="5099" y="3567"/>
                </a:lnTo>
                <a:lnTo>
                  <a:pt x="5109" y="3568"/>
                </a:lnTo>
                <a:lnTo>
                  <a:pt x="5118" y="3569"/>
                </a:lnTo>
                <a:lnTo>
                  <a:pt x="5136" y="3574"/>
                </a:lnTo>
                <a:lnTo>
                  <a:pt x="5152" y="3578"/>
                </a:lnTo>
                <a:lnTo>
                  <a:pt x="5159" y="3580"/>
                </a:lnTo>
                <a:lnTo>
                  <a:pt x="5166" y="3580"/>
                </a:lnTo>
                <a:lnTo>
                  <a:pt x="5172" y="3580"/>
                </a:lnTo>
                <a:lnTo>
                  <a:pt x="5177" y="3578"/>
                </a:lnTo>
                <a:lnTo>
                  <a:pt x="5179" y="3577"/>
                </a:lnTo>
                <a:lnTo>
                  <a:pt x="5181" y="3574"/>
                </a:lnTo>
                <a:lnTo>
                  <a:pt x="5183" y="3572"/>
                </a:lnTo>
                <a:lnTo>
                  <a:pt x="5185" y="3569"/>
                </a:lnTo>
                <a:lnTo>
                  <a:pt x="5186" y="3561"/>
                </a:lnTo>
                <a:lnTo>
                  <a:pt x="5187" y="3550"/>
                </a:lnTo>
                <a:lnTo>
                  <a:pt x="5191" y="3550"/>
                </a:lnTo>
                <a:lnTo>
                  <a:pt x="5194" y="3551"/>
                </a:lnTo>
                <a:lnTo>
                  <a:pt x="5197" y="3552"/>
                </a:lnTo>
                <a:lnTo>
                  <a:pt x="5199" y="3553"/>
                </a:lnTo>
                <a:lnTo>
                  <a:pt x="5203" y="3557"/>
                </a:lnTo>
                <a:lnTo>
                  <a:pt x="5205" y="3563"/>
                </a:lnTo>
                <a:lnTo>
                  <a:pt x="5207" y="3569"/>
                </a:lnTo>
                <a:lnTo>
                  <a:pt x="5208" y="3576"/>
                </a:lnTo>
                <a:lnTo>
                  <a:pt x="5208" y="3584"/>
                </a:lnTo>
                <a:lnTo>
                  <a:pt x="5208" y="3593"/>
                </a:lnTo>
                <a:lnTo>
                  <a:pt x="5220" y="3595"/>
                </a:lnTo>
                <a:lnTo>
                  <a:pt x="5233" y="3596"/>
                </a:lnTo>
                <a:lnTo>
                  <a:pt x="5244" y="3597"/>
                </a:lnTo>
                <a:lnTo>
                  <a:pt x="5254" y="3597"/>
                </a:lnTo>
                <a:lnTo>
                  <a:pt x="5274" y="3597"/>
                </a:lnTo>
                <a:lnTo>
                  <a:pt x="5292" y="3596"/>
                </a:lnTo>
                <a:lnTo>
                  <a:pt x="5309" y="3594"/>
                </a:lnTo>
                <a:lnTo>
                  <a:pt x="5326" y="3594"/>
                </a:lnTo>
                <a:lnTo>
                  <a:pt x="5333" y="3595"/>
                </a:lnTo>
                <a:lnTo>
                  <a:pt x="5341" y="3596"/>
                </a:lnTo>
                <a:lnTo>
                  <a:pt x="5349" y="3597"/>
                </a:lnTo>
                <a:lnTo>
                  <a:pt x="5357" y="3599"/>
                </a:lnTo>
                <a:lnTo>
                  <a:pt x="5360" y="3601"/>
                </a:lnTo>
                <a:lnTo>
                  <a:pt x="5362" y="3603"/>
                </a:lnTo>
                <a:lnTo>
                  <a:pt x="5364" y="3605"/>
                </a:lnTo>
                <a:lnTo>
                  <a:pt x="5366" y="3609"/>
                </a:lnTo>
                <a:lnTo>
                  <a:pt x="5369" y="3618"/>
                </a:lnTo>
                <a:lnTo>
                  <a:pt x="5371" y="3628"/>
                </a:lnTo>
                <a:lnTo>
                  <a:pt x="5372" y="3641"/>
                </a:lnTo>
                <a:lnTo>
                  <a:pt x="5373" y="3655"/>
                </a:lnTo>
                <a:lnTo>
                  <a:pt x="5373" y="3670"/>
                </a:lnTo>
                <a:lnTo>
                  <a:pt x="5373" y="3686"/>
                </a:lnTo>
                <a:lnTo>
                  <a:pt x="5371" y="3720"/>
                </a:lnTo>
                <a:lnTo>
                  <a:pt x="5367" y="3752"/>
                </a:lnTo>
                <a:lnTo>
                  <a:pt x="5363" y="3781"/>
                </a:lnTo>
                <a:lnTo>
                  <a:pt x="5358" y="3804"/>
                </a:lnTo>
                <a:lnTo>
                  <a:pt x="5356" y="3810"/>
                </a:lnTo>
                <a:lnTo>
                  <a:pt x="5353" y="3815"/>
                </a:lnTo>
                <a:lnTo>
                  <a:pt x="5350" y="3820"/>
                </a:lnTo>
                <a:lnTo>
                  <a:pt x="5347" y="3825"/>
                </a:lnTo>
                <a:lnTo>
                  <a:pt x="5339" y="3834"/>
                </a:lnTo>
                <a:lnTo>
                  <a:pt x="5329" y="3841"/>
                </a:lnTo>
                <a:lnTo>
                  <a:pt x="5318" y="3849"/>
                </a:lnTo>
                <a:lnTo>
                  <a:pt x="5307" y="3855"/>
                </a:lnTo>
                <a:lnTo>
                  <a:pt x="5295" y="3860"/>
                </a:lnTo>
                <a:lnTo>
                  <a:pt x="5282" y="3865"/>
                </a:lnTo>
                <a:lnTo>
                  <a:pt x="5259" y="3873"/>
                </a:lnTo>
                <a:lnTo>
                  <a:pt x="5239" y="3881"/>
                </a:lnTo>
                <a:lnTo>
                  <a:pt x="5231" y="3885"/>
                </a:lnTo>
                <a:lnTo>
                  <a:pt x="5224" y="3889"/>
                </a:lnTo>
                <a:lnTo>
                  <a:pt x="5222" y="3892"/>
                </a:lnTo>
                <a:lnTo>
                  <a:pt x="5220" y="3894"/>
                </a:lnTo>
                <a:lnTo>
                  <a:pt x="5219" y="3897"/>
                </a:lnTo>
                <a:lnTo>
                  <a:pt x="5219" y="3899"/>
                </a:lnTo>
                <a:lnTo>
                  <a:pt x="5207" y="3909"/>
                </a:lnTo>
                <a:lnTo>
                  <a:pt x="5198" y="3918"/>
                </a:lnTo>
                <a:lnTo>
                  <a:pt x="5191" y="3927"/>
                </a:lnTo>
                <a:lnTo>
                  <a:pt x="5186" y="3936"/>
                </a:lnTo>
                <a:lnTo>
                  <a:pt x="5183" y="3944"/>
                </a:lnTo>
                <a:lnTo>
                  <a:pt x="5183" y="3953"/>
                </a:lnTo>
                <a:lnTo>
                  <a:pt x="5184" y="3961"/>
                </a:lnTo>
                <a:lnTo>
                  <a:pt x="5186" y="3968"/>
                </a:lnTo>
                <a:lnTo>
                  <a:pt x="5191" y="3977"/>
                </a:lnTo>
                <a:lnTo>
                  <a:pt x="5196" y="3985"/>
                </a:lnTo>
                <a:lnTo>
                  <a:pt x="5204" y="3992"/>
                </a:lnTo>
                <a:lnTo>
                  <a:pt x="5212" y="3999"/>
                </a:lnTo>
                <a:lnTo>
                  <a:pt x="5221" y="4006"/>
                </a:lnTo>
                <a:lnTo>
                  <a:pt x="5232" y="4013"/>
                </a:lnTo>
                <a:lnTo>
                  <a:pt x="5243" y="4019"/>
                </a:lnTo>
                <a:lnTo>
                  <a:pt x="5255" y="4026"/>
                </a:lnTo>
                <a:lnTo>
                  <a:pt x="5306" y="4050"/>
                </a:lnTo>
                <a:lnTo>
                  <a:pt x="5358" y="4074"/>
                </a:lnTo>
                <a:lnTo>
                  <a:pt x="5382" y="4086"/>
                </a:lnTo>
                <a:lnTo>
                  <a:pt x="5402" y="4098"/>
                </a:lnTo>
                <a:lnTo>
                  <a:pt x="5411" y="4104"/>
                </a:lnTo>
                <a:lnTo>
                  <a:pt x="5419" y="4110"/>
                </a:lnTo>
                <a:lnTo>
                  <a:pt x="5425" y="4116"/>
                </a:lnTo>
                <a:lnTo>
                  <a:pt x="5431" y="4122"/>
                </a:lnTo>
                <a:lnTo>
                  <a:pt x="5417" y="4121"/>
                </a:lnTo>
                <a:lnTo>
                  <a:pt x="5397" y="4119"/>
                </a:lnTo>
                <a:lnTo>
                  <a:pt x="5375" y="4117"/>
                </a:lnTo>
                <a:lnTo>
                  <a:pt x="5351" y="4114"/>
                </a:lnTo>
                <a:lnTo>
                  <a:pt x="5329" y="4110"/>
                </a:lnTo>
                <a:lnTo>
                  <a:pt x="5310" y="4107"/>
                </a:lnTo>
                <a:lnTo>
                  <a:pt x="5303" y="4105"/>
                </a:lnTo>
                <a:lnTo>
                  <a:pt x="5298" y="4104"/>
                </a:lnTo>
                <a:lnTo>
                  <a:pt x="5294" y="4102"/>
                </a:lnTo>
                <a:lnTo>
                  <a:pt x="5293" y="4101"/>
                </a:lnTo>
                <a:lnTo>
                  <a:pt x="5279" y="4102"/>
                </a:lnTo>
                <a:lnTo>
                  <a:pt x="5263" y="4104"/>
                </a:lnTo>
                <a:lnTo>
                  <a:pt x="5246" y="4107"/>
                </a:lnTo>
                <a:lnTo>
                  <a:pt x="5226" y="4111"/>
                </a:lnTo>
                <a:lnTo>
                  <a:pt x="5185" y="4121"/>
                </a:lnTo>
                <a:lnTo>
                  <a:pt x="5142" y="4131"/>
                </a:lnTo>
                <a:lnTo>
                  <a:pt x="5121" y="4135"/>
                </a:lnTo>
                <a:lnTo>
                  <a:pt x="5099" y="4138"/>
                </a:lnTo>
                <a:lnTo>
                  <a:pt x="5079" y="4140"/>
                </a:lnTo>
                <a:lnTo>
                  <a:pt x="5059" y="4140"/>
                </a:lnTo>
                <a:lnTo>
                  <a:pt x="5050" y="4140"/>
                </a:lnTo>
                <a:lnTo>
                  <a:pt x="5041" y="4139"/>
                </a:lnTo>
                <a:lnTo>
                  <a:pt x="5033" y="4137"/>
                </a:lnTo>
                <a:lnTo>
                  <a:pt x="5025" y="4136"/>
                </a:lnTo>
                <a:lnTo>
                  <a:pt x="5017" y="4133"/>
                </a:lnTo>
                <a:lnTo>
                  <a:pt x="5010" y="4130"/>
                </a:lnTo>
                <a:lnTo>
                  <a:pt x="5003" y="4126"/>
                </a:lnTo>
                <a:lnTo>
                  <a:pt x="4997" y="4122"/>
                </a:lnTo>
                <a:lnTo>
                  <a:pt x="5005" y="4121"/>
                </a:lnTo>
                <a:lnTo>
                  <a:pt x="5013" y="4120"/>
                </a:lnTo>
                <a:lnTo>
                  <a:pt x="5020" y="4119"/>
                </a:lnTo>
                <a:lnTo>
                  <a:pt x="5027" y="4117"/>
                </a:lnTo>
                <a:lnTo>
                  <a:pt x="5033" y="4114"/>
                </a:lnTo>
                <a:lnTo>
                  <a:pt x="5039" y="4111"/>
                </a:lnTo>
                <a:lnTo>
                  <a:pt x="5045" y="4108"/>
                </a:lnTo>
                <a:lnTo>
                  <a:pt x="5051" y="4104"/>
                </a:lnTo>
                <a:lnTo>
                  <a:pt x="5062" y="4094"/>
                </a:lnTo>
                <a:lnTo>
                  <a:pt x="5071" y="4083"/>
                </a:lnTo>
                <a:lnTo>
                  <a:pt x="5080" y="4071"/>
                </a:lnTo>
                <a:lnTo>
                  <a:pt x="5087" y="4057"/>
                </a:lnTo>
                <a:lnTo>
                  <a:pt x="5094" y="4043"/>
                </a:lnTo>
                <a:lnTo>
                  <a:pt x="5100" y="4027"/>
                </a:lnTo>
                <a:lnTo>
                  <a:pt x="5106" y="4011"/>
                </a:lnTo>
                <a:lnTo>
                  <a:pt x="5111" y="3993"/>
                </a:lnTo>
                <a:lnTo>
                  <a:pt x="5115" y="3976"/>
                </a:lnTo>
                <a:lnTo>
                  <a:pt x="5119" y="3957"/>
                </a:lnTo>
                <a:lnTo>
                  <a:pt x="5122" y="3939"/>
                </a:lnTo>
                <a:lnTo>
                  <a:pt x="5124" y="3920"/>
                </a:lnTo>
                <a:lnTo>
                  <a:pt x="5109" y="3916"/>
                </a:lnTo>
                <a:lnTo>
                  <a:pt x="5093" y="3913"/>
                </a:lnTo>
                <a:lnTo>
                  <a:pt x="5078" y="3912"/>
                </a:lnTo>
                <a:lnTo>
                  <a:pt x="5063" y="3912"/>
                </a:lnTo>
                <a:lnTo>
                  <a:pt x="5048" y="3914"/>
                </a:lnTo>
                <a:lnTo>
                  <a:pt x="5034" y="3918"/>
                </a:lnTo>
                <a:lnTo>
                  <a:pt x="5020" y="3922"/>
                </a:lnTo>
                <a:lnTo>
                  <a:pt x="5006" y="3929"/>
                </a:lnTo>
                <a:lnTo>
                  <a:pt x="4993" y="3936"/>
                </a:lnTo>
                <a:lnTo>
                  <a:pt x="4981" y="3945"/>
                </a:lnTo>
                <a:lnTo>
                  <a:pt x="4969" y="3954"/>
                </a:lnTo>
                <a:lnTo>
                  <a:pt x="4958" y="3965"/>
                </a:lnTo>
                <a:lnTo>
                  <a:pt x="4949" y="3978"/>
                </a:lnTo>
                <a:lnTo>
                  <a:pt x="4941" y="3990"/>
                </a:lnTo>
                <a:lnTo>
                  <a:pt x="4935" y="4004"/>
                </a:lnTo>
                <a:lnTo>
                  <a:pt x="4930" y="4018"/>
                </a:lnTo>
                <a:lnTo>
                  <a:pt x="4926" y="4029"/>
                </a:lnTo>
                <a:lnTo>
                  <a:pt x="4922" y="4039"/>
                </a:lnTo>
                <a:lnTo>
                  <a:pt x="4918" y="4048"/>
                </a:lnTo>
                <a:lnTo>
                  <a:pt x="4914" y="4055"/>
                </a:lnTo>
                <a:lnTo>
                  <a:pt x="4909" y="4061"/>
                </a:lnTo>
                <a:lnTo>
                  <a:pt x="4905" y="4066"/>
                </a:lnTo>
                <a:lnTo>
                  <a:pt x="4900" y="4070"/>
                </a:lnTo>
                <a:lnTo>
                  <a:pt x="4895" y="4073"/>
                </a:lnTo>
                <a:lnTo>
                  <a:pt x="4889" y="4075"/>
                </a:lnTo>
                <a:lnTo>
                  <a:pt x="4884" y="4077"/>
                </a:lnTo>
                <a:lnTo>
                  <a:pt x="4879" y="4077"/>
                </a:lnTo>
                <a:lnTo>
                  <a:pt x="4873" y="4078"/>
                </a:lnTo>
                <a:lnTo>
                  <a:pt x="4862" y="4077"/>
                </a:lnTo>
                <a:lnTo>
                  <a:pt x="4849" y="4075"/>
                </a:lnTo>
                <a:lnTo>
                  <a:pt x="4837" y="4072"/>
                </a:lnTo>
                <a:lnTo>
                  <a:pt x="4825" y="4070"/>
                </a:lnTo>
                <a:lnTo>
                  <a:pt x="4814" y="4068"/>
                </a:lnTo>
                <a:lnTo>
                  <a:pt x="4803" y="4069"/>
                </a:lnTo>
                <a:lnTo>
                  <a:pt x="4797" y="4069"/>
                </a:lnTo>
                <a:lnTo>
                  <a:pt x="4792" y="4071"/>
                </a:lnTo>
                <a:lnTo>
                  <a:pt x="4787" y="4073"/>
                </a:lnTo>
                <a:lnTo>
                  <a:pt x="4782" y="4077"/>
                </a:lnTo>
                <a:lnTo>
                  <a:pt x="4777" y="4081"/>
                </a:lnTo>
                <a:lnTo>
                  <a:pt x="4773" y="4086"/>
                </a:lnTo>
                <a:lnTo>
                  <a:pt x="4768" y="4092"/>
                </a:lnTo>
                <a:lnTo>
                  <a:pt x="4764" y="4101"/>
                </a:lnTo>
                <a:lnTo>
                  <a:pt x="4752" y="4106"/>
                </a:lnTo>
                <a:lnTo>
                  <a:pt x="4731" y="4115"/>
                </a:lnTo>
                <a:lnTo>
                  <a:pt x="4703" y="4126"/>
                </a:lnTo>
                <a:lnTo>
                  <a:pt x="4673" y="4138"/>
                </a:lnTo>
                <a:lnTo>
                  <a:pt x="4644" y="4148"/>
                </a:lnTo>
                <a:lnTo>
                  <a:pt x="4619" y="4156"/>
                </a:lnTo>
                <a:lnTo>
                  <a:pt x="4609" y="4157"/>
                </a:lnTo>
                <a:lnTo>
                  <a:pt x="4602" y="4158"/>
                </a:lnTo>
                <a:lnTo>
                  <a:pt x="4598" y="4157"/>
                </a:lnTo>
                <a:lnTo>
                  <a:pt x="4596" y="4156"/>
                </a:lnTo>
                <a:lnTo>
                  <a:pt x="4595" y="4155"/>
                </a:lnTo>
                <a:lnTo>
                  <a:pt x="4594" y="4153"/>
                </a:lnTo>
                <a:lnTo>
                  <a:pt x="4579" y="4156"/>
                </a:lnTo>
                <a:lnTo>
                  <a:pt x="4565" y="4159"/>
                </a:lnTo>
                <a:lnTo>
                  <a:pt x="4552" y="4163"/>
                </a:lnTo>
                <a:lnTo>
                  <a:pt x="4540" y="4168"/>
                </a:lnTo>
                <a:lnTo>
                  <a:pt x="4529" y="4173"/>
                </a:lnTo>
                <a:lnTo>
                  <a:pt x="4519" y="4179"/>
                </a:lnTo>
                <a:lnTo>
                  <a:pt x="4511" y="4185"/>
                </a:lnTo>
                <a:lnTo>
                  <a:pt x="4503" y="4192"/>
                </a:lnTo>
                <a:lnTo>
                  <a:pt x="4496" y="4200"/>
                </a:lnTo>
                <a:lnTo>
                  <a:pt x="4490" y="4208"/>
                </a:lnTo>
                <a:lnTo>
                  <a:pt x="4484" y="4216"/>
                </a:lnTo>
                <a:lnTo>
                  <a:pt x="4480" y="4227"/>
                </a:lnTo>
                <a:lnTo>
                  <a:pt x="4476" y="4236"/>
                </a:lnTo>
                <a:lnTo>
                  <a:pt x="4471" y="4246"/>
                </a:lnTo>
                <a:lnTo>
                  <a:pt x="4469" y="4256"/>
                </a:lnTo>
                <a:lnTo>
                  <a:pt x="4466" y="4267"/>
                </a:lnTo>
                <a:lnTo>
                  <a:pt x="4464" y="4290"/>
                </a:lnTo>
                <a:lnTo>
                  <a:pt x="4462" y="4314"/>
                </a:lnTo>
                <a:lnTo>
                  <a:pt x="4462" y="4340"/>
                </a:lnTo>
                <a:lnTo>
                  <a:pt x="4463" y="4367"/>
                </a:lnTo>
                <a:lnTo>
                  <a:pt x="4466" y="4423"/>
                </a:lnTo>
                <a:lnTo>
                  <a:pt x="4467" y="4482"/>
                </a:lnTo>
                <a:lnTo>
                  <a:pt x="4482" y="4490"/>
                </a:lnTo>
                <a:lnTo>
                  <a:pt x="4497" y="4500"/>
                </a:lnTo>
                <a:lnTo>
                  <a:pt x="4512" y="4512"/>
                </a:lnTo>
                <a:lnTo>
                  <a:pt x="4529" y="4524"/>
                </a:lnTo>
                <a:lnTo>
                  <a:pt x="4546" y="4538"/>
                </a:lnTo>
                <a:lnTo>
                  <a:pt x="4563" y="4552"/>
                </a:lnTo>
                <a:lnTo>
                  <a:pt x="4580" y="4568"/>
                </a:lnTo>
                <a:lnTo>
                  <a:pt x="4596" y="4583"/>
                </a:lnTo>
                <a:lnTo>
                  <a:pt x="4612" y="4600"/>
                </a:lnTo>
                <a:lnTo>
                  <a:pt x="4626" y="4616"/>
                </a:lnTo>
                <a:lnTo>
                  <a:pt x="4639" y="4632"/>
                </a:lnTo>
                <a:lnTo>
                  <a:pt x="4650" y="4647"/>
                </a:lnTo>
                <a:lnTo>
                  <a:pt x="4658" y="4663"/>
                </a:lnTo>
                <a:lnTo>
                  <a:pt x="4665" y="4677"/>
                </a:lnTo>
                <a:lnTo>
                  <a:pt x="4667" y="4684"/>
                </a:lnTo>
                <a:lnTo>
                  <a:pt x="4668" y="4691"/>
                </a:lnTo>
                <a:lnTo>
                  <a:pt x="4669" y="4697"/>
                </a:lnTo>
                <a:lnTo>
                  <a:pt x="4669" y="4703"/>
                </a:lnTo>
                <a:lnTo>
                  <a:pt x="4722" y="4713"/>
                </a:lnTo>
                <a:lnTo>
                  <a:pt x="4769" y="4722"/>
                </a:lnTo>
                <a:lnTo>
                  <a:pt x="4810" y="4731"/>
                </a:lnTo>
                <a:lnTo>
                  <a:pt x="4849" y="4738"/>
                </a:lnTo>
                <a:lnTo>
                  <a:pt x="4887" y="4746"/>
                </a:lnTo>
                <a:lnTo>
                  <a:pt x="4926" y="4753"/>
                </a:lnTo>
                <a:lnTo>
                  <a:pt x="4969" y="4760"/>
                </a:lnTo>
                <a:lnTo>
                  <a:pt x="5018" y="4767"/>
                </a:lnTo>
                <a:lnTo>
                  <a:pt x="5021" y="4771"/>
                </a:lnTo>
                <a:lnTo>
                  <a:pt x="5024" y="4776"/>
                </a:lnTo>
                <a:lnTo>
                  <a:pt x="5028" y="4780"/>
                </a:lnTo>
                <a:lnTo>
                  <a:pt x="5032" y="4784"/>
                </a:lnTo>
                <a:lnTo>
                  <a:pt x="5043" y="4791"/>
                </a:lnTo>
                <a:lnTo>
                  <a:pt x="5054" y="4798"/>
                </a:lnTo>
                <a:lnTo>
                  <a:pt x="5067" y="4805"/>
                </a:lnTo>
                <a:lnTo>
                  <a:pt x="5079" y="4811"/>
                </a:lnTo>
                <a:lnTo>
                  <a:pt x="5091" y="4815"/>
                </a:lnTo>
                <a:lnTo>
                  <a:pt x="5102" y="4819"/>
                </a:lnTo>
                <a:lnTo>
                  <a:pt x="5104" y="4827"/>
                </a:lnTo>
                <a:lnTo>
                  <a:pt x="5104" y="4835"/>
                </a:lnTo>
                <a:lnTo>
                  <a:pt x="5105" y="4842"/>
                </a:lnTo>
                <a:lnTo>
                  <a:pt x="5107" y="4848"/>
                </a:lnTo>
                <a:lnTo>
                  <a:pt x="5109" y="4855"/>
                </a:lnTo>
                <a:lnTo>
                  <a:pt x="5111" y="4861"/>
                </a:lnTo>
                <a:lnTo>
                  <a:pt x="5114" y="4865"/>
                </a:lnTo>
                <a:lnTo>
                  <a:pt x="5117" y="4870"/>
                </a:lnTo>
                <a:lnTo>
                  <a:pt x="5121" y="4874"/>
                </a:lnTo>
                <a:lnTo>
                  <a:pt x="5125" y="4877"/>
                </a:lnTo>
                <a:lnTo>
                  <a:pt x="5129" y="4880"/>
                </a:lnTo>
                <a:lnTo>
                  <a:pt x="5133" y="4883"/>
                </a:lnTo>
                <a:lnTo>
                  <a:pt x="5143" y="4888"/>
                </a:lnTo>
                <a:lnTo>
                  <a:pt x="5154" y="4891"/>
                </a:lnTo>
                <a:lnTo>
                  <a:pt x="5165" y="4893"/>
                </a:lnTo>
                <a:lnTo>
                  <a:pt x="5178" y="4895"/>
                </a:lnTo>
                <a:lnTo>
                  <a:pt x="5191" y="4895"/>
                </a:lnTo>
                <a:lnTo>
                  <a:pt x="5204" y="4895"/>
                </a:lnTo>
                <a:lnTo>
                  <a:pt x="5233" y="4895"/>
                </a:lnTo>
                <a:lnTo>
                  <a:pt x="5262" y="4894"/>
                </a:lnTo>
                <a:lnTo>
                  <a:pt x="5262" y="4884"/>
                </a:lnTo>
                <a:lnTo>
                  <a:pt x="5263" y="4876"/>
                </a:lnTo>
                <a:lnTo>
                  <a:pt x="5265" y="4870"/>
                </a:lnTo>
                <a:lnTo>
                  <a:pt x="5267" y="4865"/>
                </a:lnTo>
                <a:lnTo>
                  <a:pt x="5270" y="4862"/>
                </a:lnTo>
                <a:lnTo>
                  <a:pt x="5274" y="4861"/>
                </a:lnTo>
                <a:lnTo>
                  <a:pt x="5278" y="4860"/>
                </a:lnTo>
                <a:lnTo>
                  <a:pt x="5283" y="4861"/>
                </a:lnTo>
                <a:lnTo>
                  <a:pt x="5288" y="4863"/>
                </a:lnTo>
                <a:lnTo>
                  <a:pt x="5293" y="4867"/>
                </a:lnTo>
                <a:lnTo>
                  <a:pt x="5299" y="4871"/>
                </a:lnTo>
                <a:lnTo>
                  <a:pt x="5305" y="4876"/>
                </a:lnTo>
                <a:lnTo>
                  <a:pt x="5317" y="4889"/>
                </a:lnTo>
                <a:lnTo>
                  <a:pt x="5330" y="4904"/>
                </a:lnTo>
                <a:lnTo>
                  <a:pt x="5343" y="4921"/>
                </a:lnTo>
                <a:lnTo>
                  <a:pt x="5357" y="4939"/>
                </a:lnTo>
                <a:lnTo>
                  <a:pt x="5370" y="4958"/>
                </a:lnTo>
                <a:lnTo>
                  <a:pt x="5381" y="4976"/>
                </a:lnTo>
                <a:lnTo>
                  <a:pt x="5391" y="4994"/>
                </a:lnTo>
                <a:lnTo>
                  <a:pt x="5399" y="5009"/>
                </a:lnTo>
                <a:lnTo>
                  <a:pt x="5406" y="5022"/>
                </a:lnTo>
                <a:lnTo>
                  <a:pt x="5410" y="5032"/>
                </a:lnTo>
                <a:lnTo>
                  <a:pt x="5408" y="5032"/>
                </a:lnTo>
                <a:lnTo>
                  <a:pt x="5407" y="5033"/>
                </a:lnTo>
                <a:lnTo>
                  <a:pt x="5406" y="5034"/>
                </a:lnTo>
                <a:lnTo>
                  <a:pt x="5406" y="5037"/>
                </a:lnTo>
                <a:lnTo>
                  <a:pt x="5406" y="5043"/>
                </a:lnTo>
                <a:lnTo>
                  <a:pt x="5407" y="5051"/>
                </a:lnTo>
                <a:lnTo>
                  <a:pt x="5412" y="5071"/>
                </a:lnTo>
                <a:lnTo>
                  <a:pt x="5420" y="5095"/>
                </a:lnTo>
                <a:lnTo>
                  <a:pt x="5429" y="5123"/>
                </a:lnTo>
                <a:lnTo>
                  <a:pt x="5438" y="5149"/>
                </a:lnTo>
                <a:lnTo>
                  <a:pt x="5446" y="5172"/>
                </a:lnTo>
                <a:lnTo>
                  <a:pt x="5451" y="5190"/>
                </a:lnTo>
                <a:lnTo>
                  <a:pt x="5444" y="5188"/>
                </a:lnTo>
                <a:lnTo>
                  <a:pt x="5438" y="5188"/>
                </a:lnTo>
                <a:lnTo>
                  <a:pt x="5434" y="5188"/>
                </a:lnTo>
                <a:lnTo>
                  <a:pt x="5431" y="5190"/>
                </a:lnTo>
                <a:lnTo>
                  <a:pt x="5429" y="5194"/>
                </a:lnTo>
                <a:lnTo>
                  <a:pt x="5428" y="5198"/>
                </a:lnTo>
                <a:lnTo>
                  <a:pt x="5429" y="5204"/>
                </a:lnTo>
                <a:lnTo>
                  <a:pt x="5431" y="5211"/>
                </a:lnTo>
                <a:lnTo>
                  <a:pt x="5443" y="5216"/>
                </a:lnTo>
                <a:lnTo>
                  <a:pt x="5457" y="5219"/>
                </a:lnTo>
                <a:lnTo>
                  <a:pt x="5471" y="5222"/>
                </a:lnTo>
                <a:lnTo>
                  <a:pt x="5487" y="5223"/>
                </a:lnTo>
                <a:lnTo>
                  <a:pt x="5501" y="5224"/>
                </a:lnTo>
                <a:lnTo>
                  <a:pt x="5516" y="5224"/>
                </a:lnTo>
                <a:lnTo>
                  <a:pt x="5530" y="5223"/>
                </a:lnTo>
                <a:lnTo>
                  <a:pt x="5544" y="5221"/>
                </a:lnTo>
                <a:lnTo>
                  <a:pt x="5558" y="5217"/>
                </a:lnTo>
                <a:lnTo>
                  <a:pt x="5571" y="5213"/>
                </a:lnTo>
                <a:lnTo>
                  <a:pt x="5582" y="5207"/>
                </a:lnTo>
                <a:lnTo>
                  <a:pt x="5593" y="5200"/>
                </a:lnTo>
                <a:lnTo>
                  <a:pt x="5598" y="5196"/>
                </a:lnTo>
                <a:lnTo>
                  <a:pt x="5602" y="5192"/>
                </a:lnTo>
                <a:lnTo>
                  <a:pt x="5608" y="5187"/>
                </a:lnTo>
                <a:lnTo>
                  <a:pt x="5611" y="5182"/>
                </a:lnTo>
                <a:lnTo>
                  <a:pt x="5615" y="5177"/>
                </a:lnTo>
                <a:lnTo>
                  <a:pt x="5617" y="5171"/>
                </a:lnTo>
                <a:lnTo>
                  <a:pt x="5620" y="5165"/>
                </a:lnTo>
                <a:lnTo>
                  <a:pt x="5622" y="5159"/>
                </a:lnTo>
                <a:lnTo>
                  <a:pt x="5611" y="5158"/>
                </a:lnTo>
                <a:lnTo>
                  <a:pt x="5600" y="5155"/>
                </a:lnTo>
                <a:lnTo>
                  <a:pt x="5593" y="5152"/>
                </a:lnTo>
                <a:lnTo>
                  <a:pt x="5587" y="5147"/>
                </a:lnTo>
                <a:lnTo>
                  <a:pt x="5583" y="5140"/>
                </a:lnTo>
                <a:lnTo>
                  <a:pt x="5579" y="5133"/>
                </a:lnTo>
                <a:lnTo>
                  <a:pt x="5577" y="5125"/>
                </a:lnTo>
                <a:lnTo>
                  <a:pt x="5576" y="5117"/>
                </a:lnTo>
                <a:lnTo>
                  <a:pt x="5576" y="5078"/>
                </a:lnTo>
                <a:lnTo>
                  <a:pt x="5579" y="5042"/>
                </a:lnTo>
                <a:lnTo>
                  <a:pt x="5567" y="5033"/>
                </a:lnTo>
                <a:lnTo>
                  <a:pt x="5557" y="5024"/>
                </a:lnTo>
                <a:lnTo>
                  <a:pt x="5549" y="5014"/>
                </a:lnTo>
                <a:lnTo>
                  <a:pt x="5543" y="5003"/>
                </a:lnTo>
                <a:lnTo>
                  <a:pt x="5539" y="4992"/>
                </a:lnTo>
                <a:lnTo>
                  <a:pt x="5536" y="4981"/>
                </a:lnTo>
                <a:lnTo>
                  <a:pt x="5534" y="4969"/>
                </a:lnTo>
                <a:lnTo>
                  <a:pt x="5534" y="4958"/>
                </a:lnTo>
                <a:lnTo>
                  <a:pt x="5536" y="4947"/>
                </a:lnTo>
                <a:lnTo>
                  <a:pt x="5539" y="4937"/>
                </a:lnTo>
                <a:lnTo>
                  <a:pt x="5544" y="4928"/>
                </a:lnTo>
                <a:lnTo>
                  <a:pt x="5550" y="4919"/>
                </a:lnTo>
                <a:lnTo>
                  <a:pt x="5558" y="4911"/>
                </a:lnTo>
                <a:lnTo>
                  <a:pt x="5567" y="4904"/>
                </a:lnTo>
                <a:lnTo>
                  <a:pt x="5577" y="4899"/>
                </a:lnTo>
                <a:lnTo>
                  <a:pt x="5589" y="4894"/>
                </a:lnTo>
                <a:lnTo>
                  <a:pt x="5590" y="4899"/>
                </a:lnTo>
                <a:lnTo>
                  <a:pt x="5592" y="4904"/>
                </a:lnTo>
                <a:lnTo>
                  <a:pt x="5594" y="4907"/>
                </a:lnTo>
                <a:lnTo>
                  <a:pt x="5598" y="4910"/>
                </a:lnTo>
                <a:lnTo>
                  <a:pt x="5603" y="4912"/>
                </a:lnTo>
                <a:lnTo>
                  <a:pt x="5609" y="4913"/>
                </a:lnTo>
                <a:lnTo>
                  <a:pt x="5615" y="4913"/>
                </a:lnTo>
                <a:lnTo>
                  <a:pt x="5622" y="4913"/>
                </a:lnTo>
                <a:lnTo>
                  <a:pt x="5637" y="4911"/>
                </a:lnTo>
                <a:lnTo>
                  <a:pt x="5652" y="4906"/>
                </a:lnTo>
                <a:lnTo>
                  <a:pt x="5668" y="4900"/>
                </a:lnTo>
                <a:lnTo>
                  <a:pt x="5683" y="4892"/>
                </a:lnTo>
                <a:lnTo>
                  <a:pt x="5690" y="4888"/>
                </a:lnTo>
                <a:lnTo>
                  <a:pt x="5697" y="4883"/>
                </a:lnTo>
                <a:lnTo>
                  <a:pt x="5703" y="4878"/>
                </a:lnTo>
                <a:lnTo>
                  <a:pt x="5708" y="4873"/>
                </a:lnTo>
                <a:lnTo>
                  <a:pt x="5713" y="4868"/>
                </a:lnTo>
                <a:lnTo>
                  <a:pt x="5717" y="4862"/>
                </a:lnTo>
                <a:lnTo>
                  <a:pt x="5719" y="4857"/>
                </a:lnTo>
                <a:lnTo>
                  <a:pt x="5721" y="4852"/>
                </a:lnTo>
                <a:lnTo>
                  <a:pt x="5722" y="4845"/>
                </a:lnTo>
                <a:lnTo>
                  <a:pt x="5721" y="4839"/>
                </a:lnTo>
                <a:lnTo>
                  <a:pt x="5719" y="4834"/>
                </a:lnTo>
                <a:lnTo>
                  <a:pt x="5715" y="4829"/>
                </a:lnTo>
                <a:lnTo>
                  <a:pt x="5710" y="4824"/>
                </a:lnTo>
                <a:lnTo>
                  <a:pt x="5704" y="4819"/>
                </a:lnTo>
                <a:lnTo>
                  <a:pt x="5695" y="4814"/>
                </a:lnTo>
                <a:lnTo>
                  <a:pt x="5685" y="4809"/>
                </a:lnTo>
                <a:lnTo>
                  <a:pt x="5690" y="4796"/>
                </a:lnTo>
                <a:lnTo>
                  <a:pt x="5695" y="4783"/>
                </a:lnTo>
                <a:lnTo>
                  <a:pt x="5700" y="4768"/>
                </a:lnTo>
                <a:lnTo>
                  <a:pt x="5704" y="4754"/>
                </a:lnTo>
                <a:lnTo>
                  <a:pt x="5708" y="4738"/>
                </a:lnTo>
                <a:lnTo>
                  <a:pt x="5711" y="4722"/>
                </a:lnTo>
                <a:lnTo>
                  <a:pt x="5713" y="4707"/>
                </a:lnTo>
                <a:lnTo>
                  <a:pt x="5715" y="4691"/>
                </a:lnTo>
                <a:lnTo>
                  <a:pt x="5715" y="4675"/>
                </a:lnTo>
                <a:lnTo>
                  <a:pt x="5715" y="4660"/>
                </a:lnTo>
                <a:lnTo>
                  <a:pt x="5713" y="4645"/>
                </a:lnTo>
                <a:lnTo>
                  <a:pt x="5710" y="4631"/>
                </a:lnTo>
                <a:lnTo>
                  <a:pt x="5706" y="4617"/>
                </a:lnTo>
                <a:lnTo>
                  <a:pt x="5701" y="4604"/>
                </a:lnTo>
                <a:lnTo>
                  <a:pt x="5694" y="4591"/>
                </a:lnTo>
                <a:lnTo>
                  <a:pt x="5686" y="4579"/>
                </a:lnTo>
                <a:lnTo>
                  <a:pt x="5680" y="4573"/>
                </a:lnTo>
                <a:lnTo>
                  <a:pt x="5674" y="4569"/>
                </a:lnTo>
                <a:lnTo>
                  <a:pt x="5668" y="4565"/>
                </a:lnTo>
                <a:lnTo>
                  <a:pt x="5662" y="4563"/>
                </a:lnTo>
                <a:lnTo>
                  <a:pt x="5650" y="4560"/>
                </a:lnTo>
                <a:lnTo>
                  <a:pt x="5638" y="4558"/>
                </a:lnTo>
                <a:lnTo>
                  <a:pt x="5632" y="4557"/>
                </a:lnTo>
                <a:lnTo>
                  <a:pt x="5626" y="4556"/>
                </a:lnTo>
                <a:lnTo>
                  <a:pt x="5621" y="4554"/>
                </a:lnTo>
                <a:lnTo>
                  <a:pt x="5616" y="4551"/>
                </a:lnTo>
                <a:lnTo>
                  <a:pt x="5612" y="4546"/>
                </a:lnTo>
                <a:lnTo>
                  <a:pt x="5608" y="4541"/>
                </a:lnTo>
                <a:lnTo>
                  <a:pt x="5603" y="4533"/>
                </a:lnTo>
                <a:lnTo>
                  <a:pt x="5600" y="4524"/>
                </a:lnTo>
                <a:lnTo>
                  <a:pt x="5608" y="4522"/>
                </a:lnTo>
                <a:lnTo>
                  <a:pt x="5615" y="4518"/>
                </a:lnTo>
                <a:lnTo>
                  <a:pt x="5620" y="4515"/>
                </a:lnTo>
                <a:lnTo>
                  <a:pt x="5625" y="4510"/>
                </a:lnTo>
                <a:lnTo>
                  <a:pt x="5630" y="4505"/>
                </a:lnTo>
                <a:lnTo>
                  <a:pt x="5633" y="4499"/>
                </a:lnTo>
                <a:lnTo>
                  <a:pt x="5636" y="4493"/>
                </a:lnTo>
                <a:lnTo>
                  <a:pt x="5639" y="4486"/>
                </a:lnTo>
                <a:lnTo>
                  <a:pt x="5641" y="4479"/>
                </a:lnTo>
                <a:lnTo>
                  <a:pt x="5642" y="4470"/>
                </a:lnTo>
                <a:lnTo>
                  <a:pt x="5643" y="4462"/>
                </a:lnTo>
                <a:lnTo>
                  <a:pt x="5644" y="4453"/>
                </a:lnTo>
                <a:lnTo>
                  <a:pt x="5644" y="4436"/>
                </a:lnTo>
                <a:lnTo>
                  <a:pt x="5643" y="4417"/>
                </a:lnTo>
                <a:lnTo>
                  <a:pt x="5637" y="4378"/>
                </a:lnTo>
                <a:lnTo>
                  <a:pt x="5630" y="4337"/>
                </a:lnTo>
                <a:lnTo>
                  <a:pt x="5627" y="4319"/>
                </a:lnTo>
                <a:lnTo>
                  <a:pt x="5624" y="4301"/>
                </a:lnTo>
                <a:lnTo>
                  <a:pt x="5622" y="4285"/>
                </a:lnTo>
                <a:lnTo>
                  <a:pt x="5622" y="4270"/>
                </a:lnTo>
                <a:lnTo>
                  <a:pt x="5627" y="4268"/>
                </a:lnTo>
                <a:lnTo>
                  <a:pt x="5633" y="4268"/>
                </a:lnTo>
                <a:lnTo>
                  <a:pt x="5640" y="4268"/>
                </a:lnTo>
                <a:lnTo>
                  <a:pt x="5647" y="4268"/>
                </a:lnTo>
                <a:lnTo>
                  <a:pt x="5663" y="4270"/>
                </a:lnTo>
                <a:lnTo>
                  <a:pt x="5679" y="4272"/>
                </a:lnTo>
                <a:lnTo>
                  <a:pt x="5693" y="4275"/>
                </a:lnTo>
                <a:lnTo>
                  <a:pt x="5705" y="4276"/>
                </a:lnTo>
                <a:lnTo>
                  <a:pt x="5710" y="4275"/>
                </a:lnTo>
                <a:lnTo>
                  <a:pt x="5713" y="4274"/>
                </a:lnTo>
                <a:lnTo>
                  <a:pt x="5716" y="4273"/>
                </a:lnTo>
                <a:lnTo>
                  <a:pt x="5716" y="4270"/>
                </a:lnTo>
                <a:lnTo>
                  <a:pt x="5732" y="4271"/>
                </a:lnTo>
                <a:lnTo>
                  <a:pt x="5750" y="4274"/>
                </a:lnTo>
                <a:lnTo>
                  <a:pt x="5767" y="4279"/>
                </a:lnTo>
                <a:lnTo>
                  <a:pt x="5786" y="4284"/>
                </a:lnTo>
                <a:lnTo>
                  <a:pt x="5823" y="4296"/>
                </a:lnTo>
                <a:lnTo>
                  <a:pt x="5862" y="4306"/>
                </a:lnTo>
                <a:lnTo>
                  <a:pt x="5880" y="4309"/>
                </a:lnTo>
                <a:lnTo>
                  <a:pt x="5898" y="4310"/>
                </a:lnTo>
                <a:lnTo>
                  <a:pt x="5907" y="4309"/>
                </a:lnTo>
                <a:lnTo>
                  <a:pt x="5915" y="4308"/>
                </a:lnTo>
                <a:lnTo>
                  <a:pt x="5923" y="4307"/>
                </a:lnTo>
                <a:lnTo>
                  <a:pt x="5931" y="4304"/>
                </a:lnTo>
                <a:lnTo>
                  <a:pt x="5939" y="4301"/>
                </a:lnTo>
                <a:lnTo>
                  <a:pt x="5946" y="4296"/>
                </a:lnTo>
                <a:lnTo>
                  <a:pt x="5953" y="4291"/>
                </a:lnTo>
                <a:lnTo>
                  <a:pt x="5959" y="4285"/>
                </a:lnTo>
                <a:lnTo>
                  <a:pt x="5965" y="4278"/>
                </a:lnTo>
                <a:lnTo>
                  <a:pt x="5971" y="4269"/>
                </a:lnTo>
                <a:lnTo>
                  <a:pt x="5976" y="4259"/>
                </a:lnTo>
                <a:lnTo>
                  <a:pt x="5981" y="4248"/>
                </a:lnTo>
                <a:lnTo>
                  <a:pt x="5994" y="4254"/>
                </a:lnTo>
                <a:lnTo>
                  <a:pt x="6004" y="4260"/>
                </a:lnTo>
                <a:lnTo>
                  <a:pt x="6014" y="4266"/>
                </a:lnTo>
                <a:lnTo>
                  <a:pt x="6022" y="4271"/>
                </a:lnTo>
                <a:lnTo>
                  <a:pt x="6035" y="4282"/>
                </a:lnTo>
                <a:lnTo>
                  <a:pt x="6045" y="4293"/>
                </a:lnTo>
                <a:lnTo>
                  <a:pt x="6052" y="4302"/>
                </a:lnTo>
                <a:lnTo>
                  <a:pt x="6057" y="4311"/>
                </a:lnTo>
                <a:lnTo>
                  <a:pt x="6061" y="4319"/>
                </a:lnTo>
                <a:lnTo>
                  <a:pt x="6064" y="4326"/>
                </a:lnTo>
                <a:lnTo>
                  <a:pt x="6067" y="4332"/>
                </a:lnTo>
                <a:lnTo>
                  <a:pt x="6070" y="4336"/>
                </a:lnTo>
                <a:lnTo>
                  <a:pt x="6073" y="4337"/>
                </a:lnTo>
                <a:lnTo>
                  <a:pt x="6076" y="4338"/>
                </a:lnTo>
                <a:lnTo>
                  <a:pt x="6079" y="4339"/>
                </a:lnTo>
                <a:lnTo>
                  <a:pt x="6083" y="4339"/>
                </a:lnTo>
                <a:lnTo>
                  <a:pt x="6094" y="4338"/>
                </a:lnTo>
                <a:lnTo>
                  <a:pt x="6108" y="4335"/>
                </a:lnTo>
                <a:lnTo>
                  <a:pt x="6127" y="4330"/>
                </a:lnTo>
                <a:lnTo>
                  <a:pt x="6151" y="4322"/>
                </a:lnTo>
                <a:lnTo>
                  <a:pt x="6151" y="4326"/>
                </a:lnTo>
                <a:lnTo>
                  <a:pt x="6152" y="4330"/>
                </a:lnTo>
                <a:lnTo>
                  <a:pt x="6154" y="4335"/>
                </a:lnTo>
                <a:lnTo>
                  <a:pt x="6157" y="4340"/>
                </a:lnTo>
                <a:lnTo>
                  <a:pt x="6165" y="4353"/>
                </a:lnTo>
                <a:lnTo>
                  <a:pt x="6176" y="4367"/>
                </a:lnTo>
                <a:lnTo>
                  <a:pt x="6188" y="4382"/>
                </a:lnTo>
                <a:lnTo>
                  <a:pt x="6202" y="4398"/>
                </a:lnTo>
                <a:lnTo>
                  <a:pt x="6217" y="4414"/>
                </a:lnTo>
                <a:lnTo>
                  <a:pt x="6232" y="4430"/>
                </a:lnTo>
                <a:lnTo>
                  <a:pt x="6265" y="4461"/>
                </a:lnTo>
                <a:lnTo>
                  <a:pt x="6294" y="4488"/>
                </a:lnTo>
                <a:lnTo>
                  <a:pt x="6306" y="4499"/>
                </a:lnTo>
                <a:lnTo>
                  <a:pt x="6317" y="4507"/>
                </a:lnTo>
                <a:lnTo>
                  <a:pt x="6325" y="4511"/>
                </a:lnTo>
                <a:lnTo>
                  <a:pt x="6330" y="4513"/>
                </a:lnTo>
                <a:lnTo>
                  <a:pt x="6330" y="4518"/>
                </a:lnTo>
                <a:lnTo>
                  <a:pt x="6330" y="4525"/>
                </a:lnTo>
                <a:lnTo>
                  <a:pt x="6331" y="4533"/>
                </a:lnTo>
                <a:lnTo>
                  <a:pt x="6333" y="4542"/>
                </a:lnTo>
                <a:lnTo>
                  <a:pt x="6334" y="4547"/>
                </a:lnTo>
                <a:lnTo>
                  <a:pt x="6336" y="4551"/>
                </a:lnTo>
                <a:lnTo>
                  <a:pt x="6339" y="4555"/>
                </a:lnTo>
                <a:lnTo>
                  <a:pt x="6342" y="4558"/>
                </a:lnTo>
                <a:lnTo>
                  <a:pt x="6346" y="4561"/>
                </a:lnTo>
                <a:lnTo>
                  <a:pt x="6350" y="4564"/>
                </a:lnTo>
                <a:lnTo>
                  <a:pt x="6355" y="4565"/>
                </a:lnTo>
                <a:lnTo>
                  <a:pt x="6361" y="4566"/>
                </a:lnTo>
                <a:lnTo>
                  <a:pt x="6361" y="4571"/>
                </a:lnTo>
                <a:lnTo>
                  <a:pt x="6361" y="4574"/>
                </a:lnTo>
                <a:lnTo>
                  <a:pt x="6360" y="4577"/>
                </a:lnTo>
                <a:lnTo>
                  <a:pt x="6358" y="4578"/>
                </a:lnTo>
                <a:lnTo>
                  <a:pt x="6355" y="4577"/>
                </a:lnTo>
                <a:lnTo>
                  <a:pt x="6351" y="4576"/>
                </a:lnTo>
                <a:lnTo>
                  <a:pt x="6349" y="4576"/>
                </a:lnTo>
                <a:lnTo>
                  <a:pt x="6347" y="4576"/>
                </a:lnTo>
                <a:lnTo>
                  <a:pt x="6345" y="4577"/>
                </a:lnTo>
                <a:lnTo>
                  <a:pt x="6344" y="4580"/>
                </a:lnTo>
                <a:lnTo>
                  <a:pt x="6343" y="4584"/>
                </a:lnTo>
                <a:lnTo>
                  <a:pt x="6341" y="4589"/>
                </a:lnTo>
                <a:lnTo>
                  <a:pt x="6341" y="4597"/>
                </a:lnTo>
                <a:lnTo>
                  <a:pt x="6341" y="4608"/>
                </a:lnTo>
                <a:lnTo>
                  <a:pt x="6352" y="4610"/>
                </a:lnTo>
                <a:lnTo>
                  <a:pt x="6370" y="4612"/>
                </a:lnTo>
                <a:lnTo>
                  <a:pt x="6390" y="4614"/>
                </a:lnTo>
                <a:lnTo>
                  <a:pt x="6412" y="4615"/>
                </a:lnTo>
                <a:lnTo>
                  <a:pt x="6423" y="4614"/>
                </a:lnTo>
                <a:lnTo>
                  <a:pt x="6433" y="4613"/>
                </a:lnTo>
                <a:lnTo>
                  <a:pt x="6442" y="4612"/>
                </a:lnTo>
                <a:lnTo>
                  <a:pt x="6451" y="4609"/>
                </a:lnTo>
                <a:lnTo>
                  <a:pt x="6458" y="4605"/>
                </a:lnTo>
                <a:lnTo>
                  <a:pt x="6463" y="4601"/>
                </a:lnTo>
                <a:lnTo>
                  <a:pt x="6465" y="4597"/>
                </a:lnTo>
                <a:lnTo>
                  <a:pt x="6467" y="4594"/>
                </a:lnTo>
                <a:lnTo>
                  <a:pt x="6467" y="4590"/>
                </a:lnTo>
                <a:lnTo>
                  <a:pt x="6468" y="4587"/>
                </a:lnTo>
                <a:lnTo>
                  <a:pt x="6480" y="4586"/>
                </a:lnTo>
                <a:lnTo>
                  <a:pt x="6493" y="4583"/>
                </a:lnTo>
                <a:lnTo>
                  <a:pt x="6504" y="4578"/>
                </a:lnTo>
                <a:lnTo>
                  <a:pt x="6515" y="4573"/>
                </a:lnTo>
                <a:lnTo>
                  <a:pt x="6525" y="4565"/>
                </a:lnTo>
                <a:lnTo>
                  <a:pt x="6535" y="4557"/>
                </a:lnTo>
                <a:lnTo>
                  <a:pt x="6544" y="4547"/>
                </a:lnTo>
                <a:lnTo>
                  <a:pt x="6552" y="4537"/>
                </a:lnTo>
                <a:lnTo>
                  <a:pt x="6559" y="4526"/>
                </a:lnTo>
                <a:lnTo>
                  <a:pt x="6565" y="4514"/>
                </a:lnTo>
                <a:lnTo>
                  <a:pt x="6571" y="4502"/>
                </a:lnTo>
                <a:lnTo>
                  <a:pt x="6576" y="4489"/>
                </a:lnTo>
                <a:lnTo>
                  <a:pt x="6579" y="4477"/>
                </a:lnTo>
                <a:lnTo>
                  <a:pt x="6582" y="4463"/>
                </a:lnTo>
                <a:lnTo>
                  <a:pt x="6584" y="4451"/>
                </a:lnTo>
                <a:lnTo>
                  <a:pt x="6584" y="4439"/>
                </a:lnTo>
                <a:lnTo>
                  <a:pt x="6588" y="4437"/>
                </a:lnTo>
                <a:lnTo>
                  <a:pt x="6592" y="4437"/>
                </a:lnTo>
                <a:lnTo>
                  <a:pt x="6597" y="4438"/>
                </a:lnTo>
                <a:lnTo>
                  <a:pt x="6602" y="4441"/>
                </a:lnTo>
                <a:lnTo>
                  <a:pt x="6606" y="4445"/>
                </a:lnTo>
                <a:lnTo>
                  <a:pt x="6611" y="4450"/>
                </a:lnTo>
                <a:lnTo>
                  <a:pt x="6617" y="4456"/>
                </a:lnTo>
                <a:lnTo>
                  <a:pt x="6622" y="4463"/>
                </a:lnTo>
                <a:lnTo>
                  <a:pt x="6633" y="4481"/>
                </a:lnTo>
                <a:lnTo>
                  <a:pt x="6643" y="4501"/>
                </a:lnTo>
                <a:lnTo>
                  <a:pt x="6655" y="4522"/>
                </a:lnTo>
                <a:lnTo>
                  <a:pt x="6666" y="4545"/>
                </a:lnTo>
                <a:lnTo>
                  <a:pt x="6677" y="4568"/>
                </a:lnTo>
                <a:lnTo>
                  <a:pt x="6689" y="4590"/>
                </a:lnTo>
                <a:lnTo>
                  <a:pt x="6700" y="4612"/>
                </a:lnTo>
                <a:lnTo>
                  <a:pt x="6711" y="4632"/>
                </a:lnTo>
                <a:lnTo>
                  <a:pt x="6722" y="4648"/>
                </a:lnTo>
                <a:lnTo>
                  <a:pt x="6733" y="4661"/>
                </a:lnTo>
                <a:lnTo>
                  <a:pt x="6738" y="4665"/>
                </a:lnTo>
                <a:lnTo>
                  <a:pt x="6744" y="4669"/>
                </a:lnTo>
                <a:lnTo>
                  <a:pt x="6749" y="4671"/>
                </a:lnTo>
                <a:lnTo>
                  <a:pt x="6754" y="4672"/>
                </a:lnTo>
                <a:lnTo>
                  <a:pt x="6762" y="4683"/>
                </a:lnTo>
                <a:lnTo>
                  <a:pt x="6771" y="4695"/>
                </a:lnTo>
                <a:lnTo>
                  <a:pt x="6782" y="4707"/>
                </a:lnTo>
                <a:lnTo>
                  <a:pt x="6794" y="4720"/>
                </a:lnTo>
                <a:lnTo>
                  <a:pt x="6820" y="4747"/>
                </a:lnTo>
                <a:lnTo>
                  <a:pt x="6847" y="4774"/>
                </a:lnTo>
                <a:lnTo>
                  <a:pt x="6860" y="4787"/>
                </a:lnTo>
                <a:lnTo>
                  <a:pt x="6873" y="4800"/>
                </a:lnTo>
                <a:lnTo>
                  <a:pt x="6884" y="4813"/>
                </a:lnTo>
                <a:lnTo>
                  <a:pt x="6893" y="4826"/>
                </a:lnTo>
                <a:lnTo>
                  <a:pt x="6901" y="4838"/>
                </a:lnTo>
                <a:lnTo>
                  <a:pt x="6907" y="4850"/>
                </a:lnTo>
                <a:lnTo>
                  <a:pt x="6910" y="4857"/>
                </a:lnTo>
                <a:lnTo>
                  <a:pt x="6911" y="4862"/>
                </a:lnTo>
                <a:lnTo>
                  <a:pt x="6912" y="4868"/>
                </a:lnTo>
                <a:lnTo>
                  <a:pt x="6913" y="4873"/>
                </a:lnTo>
                <a:lnTo>
                  <a:pt x="6931" y="4888"/>
                </a:lnTo>
                <a:lnTo>
                  <a:pt x="6948" y="4902"/>
                </a:lnTo>
                <a:lnTo>
                  <a:pt x="6952" y="4906"/>
                </a:lnTo>
                <a:lnTo>
                  <a:pt x="6955" y="4911"/>
                </a:lnTo>
                <a:lnTo>
                  <a:pt x="6958" y="4917"/>
                </a:lnTo>
                <a:lnTo>
                  <a:pt x="6960" y="4925"/>
                </a:lnTo>
                <a:lnTo>
                  <a:pt x="6962" y="4933"/>
                </a:lnTo>
                <a:lnTo>
                  <a:pt x="6964" y="4943"/>
                </a:lnTo>
                <a:lnTo>
                  <a:pt x="6965" y="4954"/>
                </a:lnTo>
                <a:lnTo>
                  <a:pt x="6965" y="4968"/>
                </a:lnTo>
                <a:lnTo>
                  <a:pt x="6968" y="4967"/>
                </a:lnTo>
                <a:lnTo>
                  <a:pt x="6971" y="4966"/>
                </a:lnTo>
                <a:lnTo>
                  <a:pt x="6975" y="4965"/>
                </a:lnTo>
                <a:lnTo>
                  <a:pt x="6978" y="4962"/>
                </a:lnTo>
                <a:lnTo>
                  <a:pt x="6986" y="4957"/>
                </a:lnTo>
                <a:lnTo>
                  <a:pt x="6994" y="4950"/>
                </a:lnTo>
                <a:lnTo>
                  <a:pt x="7010" y="4934"/>
                </a:lnTo>
                <a:lnTo>
                  <a:pt x="7025" y="4919"/>
                </a:lnTo>
                <a:lnTo>
                  <a:pt x="7033" y="4913"/>
                </a:lnTo>
                <a:lnTo>
                  <a:pt x="7039" y="4910"/>
                </a:lnTo>
                <a:lnTo>
                  <a:pt x="7042" y="4909"/>
                </a:lnTo>
                <a:lnTo>
                  <a:pt x="7045" y="4908"/>
                </a:lnTo>
                <a:lnTo>
                  <a:pt x="7048" y="4909"/>
                </a:lnTo>
                <a:lnTo>
                  <a:pt x="7050" y="4910"/>
                </a:lnTo>
                <a:lnTo>
                  <a:pt x="7053" y="4912"/>
                </a:lnTo>
                <a:lnTo>
                  <a:pt x="7055" y="4915"/>
                </a:lnTo>
                <a:lnTo>
                  <a:pt x="7057" y="4919"/>
                </a:lnTo>
                <a:lnTo>
                  <a:pt x="7058" y="4925"/>
                </a:lnTo>
                <a:lnTo>
                  <a:pt x="7060" y="4938"/>
                </a:lnTo>
                <a:lnTo>
                  <a:pt x="7061" y="4957"/>
                </a:lnTo>
                <a:lnTo>
                  <a:pt x="7067" y="4958"/>
                </a:lnTo>
                <a:lnTo>
                  <a:pt x="7074" y="4960"/>
                </a:lnTo>
                <a:lnTo>
                  <a:pt x="7083" y="4963"/>
                </a:lnTo>
                <a:lnTo>
                  <a:pt x="7092" y="4968"/>
                </a:lnTo>
                <a:lnTo>
                  <a:pt x="7101" y="4974"/>
                </a:lnTo>
                <a:lnTo>
                  <a:pt x="7111" y="4981"/>
                </a:lnTo>
                <a:lnTo>
                  <a:pt x="7122" y="4988"/>
                </a:lnTo>
                <a:lnTo>
                  <a:pt x="7132" y="4997"/>
                </a:lnTo>
                <a:lnTo>
                  <a:pt x="7142" y="5005"/>
                </a:lnTo>
                <a:lnTo>
                  <a:pt x="7151" y="5014"/>
                </a:lnTo>
                <a:lnTo>
                  <a:pt x="7160" y="5024"/>
                </a:lnTo>
                <a:lnTo>
                  <a:pt x="7168" y="5034"/>
                </a:lnTo>
                <a:lnTo>
                  <a:pt x="7175" y="5044"/>
                </a:lnTo>
                <a:lnTo>
                  <a:pt x="7180" y="5054"/>
                </a:lnTo>
                <a:lnTo>
                  <a:pt x="7185" y="5064"/>
                </a:lnTo>
                <a:lnTo>
                  <a:pt x="7188" y="5073"/>
                </a:lnTo>
                <a:lnTo>
                  <a:pt x="7175" y="5074"/>
                </a:lnTo>
                <a:lnTo>
                  <a:pt x="7166" y="5077"/>
                </a:lnTo>
                <a:lnTo>
                  <a:pt x="7162" y="5078"/>
                </a:lnTo>
                <a:lnTo>
                  <a:pt x="7159" y="5080"/>
                </a:lnTo>
                <a:lnTo>
                  <a:pt x="7157" y="5082"/>
                </a:lnTo>
                <a:lnTo>
                  <a:pt x="7155" y="5085"/>
                </a:lnTo>
                <a:lnTo>
                  <a:pt x="7152" y="5091"/>
                </a:lnTo>
                <a:lnTo>
                  <a:pt x="7151" y="5097"/>
                </a:lnTo>
                <a:lnTo>
                  <a:pt x="7152" y="5104"/>
                </a:lnTo>
                <a:lnTo>
                  <a:pt x="7153" y="5111"/>
                </a:lnTo>
                <a:lnTo>
                  <a:pt x="7156" y="5125"/>
                </a:lnTo>
                <a:lnTo>
                  <a:pt x="7158" y="5137"/>
                </a:lnTo>
                <a:lnTo>
                  <a:pt x="7157" y="5141"/>
                </a:lnTo>
                <a:lnTo>
                  <a:pt x="7155" y="5145"/>
                </a:lnTo>
                <a:lnTo>
                  <a:pt x="7154" y="5146"/>
                </a:lnTo>
                <a:lnTo>
                  <a:pt x="7151" y="5147"/>
                </a:lnTo>
                <a:lnTo>
                  <a:pt x="7149" y="5148"/>
                </a:lnTo>
                <a:lnTo>
                  <a:pt x="7145" y="5148"/>
                </a:lnTo>
                <a:lnTo>
                  <a:pt x="7145" y="5155"/>
                </a:lnTo>
                <a:lnTo>
                  <a:pt x="7144" y="5160"/>
                </a:lnTo>
                <a:lnTo>
                  <a:pt x="7141" y="5165"/>
                </a:lnTo>
                <a:lnTo>
                  <a:pt x="7138" y="5170"/>
                </a:lnTo>
                <a:lnTo>
                  <a:pt x="7135" y="5173"/>
                </a:lnTo>
                <a:lnTo>
                  <a:pt x="7130" y="5176"/>
                </a:lnTo>
                <a:lnTo>
                  <a:pt x="7125" y="5179"/>
                </a:lnTo>
                <a:lnTo>
                  <a:pt x="7118" y="5181"/>
                </a:lnTo>
                <a:lnTo>
                  <a:pt x="7106" y="5184"/>
                </a:lnTo>
                <a:lnTo>
                  <a:pt x="7091" y="5185"/>
                </a:lnTo>
                <a:lnTo>
                  <a:pt x="7075" y="5184"/>
                </a:lnTo>
                <a:lnTo>
                  <a:pt x="7059" y="5182"/>
                </a:lnTo>
                <a:lnTo>
                  <a:pt x="7025" y="5176"/>
                </a:lnTo>
                <a:lnTo>
                  <a:pt x="6991" y="5169"/>
                </a:lnTo>
                <a:lnTo>
                  <a:pt x="6963" y="5162"/>
                </a:lnTo>
                <a:lnTo>
                  <a:pt x="6944" y="5159"/>
                </a:lnTo>
                <a:lnTo>
                  <a:pt x="6939" y="5179"/>
                </a:lnTo>
                <a:lnTo>
                  <a:pt x="6932" y="5197"/>
                </a:lnTo>
                <a:lnTo>
                  <a:pt x="6924" y="5212"/>
                </a:lnTo>
                <a:lnTo>
                  <a:pt x="6914" y="5226"/>
                </a:lnTo>
                <a:lnTo>
                  <a:pt x="6904" y="5239"/>
                </a:lnTo>
                <a:lnTo>
                  <a:pt x="6892" y="5250"/>
                </a:lnTo>
                <a:lnTo>
                  <a:pt x="6879" y="5259"/>
                </a:lnTo>
                <a:lnTo>
                  <a:pt x="6864" y="5266"/>
                </a:lnTo>
                <a:lnTo>
                  <a:pt x="6849" y="5272"/>
                </a:lnTo>
                <a:lnTo>
                  <a:pt x="6834" y="5276"/>
                </a:lnTo>
                <a:lnTo>
                  <a:pt x="6817" y="5280"/>
                </a:lnTo>
                <a:lnTo>
                  <a:pt x="6800" y="5282"/>
                </a:lnTo>
                <a:lnTo>
                  <a:pt x="6782" y="5284"/>
                </a:lnTo>
                <a:lnTo>
                  <a:pt x="6763" y="5284"/>
                </a:lnTo>
                <a:lnTo>
                  <a:pt x="6744" y="5284"/>
                </a:lnTo>
                <a:lnTo>
                  <a:pt x="6724" y="5283"/>
                </a:lnTo>
                <a:lnTo>
                  <a:pt x="6643" y="5277"/>
                </a:lnTo>
                <a:lnTo>
                  <a:pt x="6559" y="5270"/>
                </a:lnTo>
                <a:lnTo>
                  <a:pt x="6538" y="5269"/>
                </a:lnTo>
                <a:lnTo>
                  <a:pt x="6518" y="5268"/>
                </a:lnTo>
                <a:lnTo>
                  <a:pt x="6498" y="5268"/>
                </a:lnTo>
                <a:lnTo>
                  <a:pt x="6477" y="5269"/>
                </a:lnTo>
                <a:lnTo>
                  <a:pt x="6458" y="5271"/>
                </a:lnTo>
                <a:lnTo>
                  <a:pt x="6440" y="5273"/>
                </a:lnTo>
                <a:lnTo>
                  <a:pt x="6421" y="5277"/>
                </a:lnTo>
                <a:lnTo>
                  <a:pt x="6404" y="5282"/>
                </a:lnTo>
                <a:lnTo>
                  <a:pt x="6395" y="5285"/>
                </a:lnTo>
                <a:lnTo>
                  <a:pt x="6385" y="5289"/>
                </a:lnTo>
                <a:lnTo>
                  <a:pt x="6375" y="5295"/>
                </a:lnTo>
                <a:lnTo>
                  <a:pt x="6364" y="5301"/>
                </a:lnTo>
                <a:lnTo>
                  <a:pt x="6341" y="5316"/>
                </a:lnTo>
                <a:lnTo>
                  <a:pt x="6318" y="5335"/>
                </a:lnTo>
                <a:lnTo>
                  <a:pt x="6294" y="5356"/>
                </a:lnTo>
                <a:lnTo>
                  <a:pt x="6270" y="5379"/>
                </a:lnTo>
                <a:lnTo>
                  <a:pt x="6247" y="5404"/>
                </a:lnTo>
                <a:lnTo>
                  <a:pt x="6223" y="5430"/>
                </a:lnTo>
                <a:lnTo>
                  <a:pt x="6201" y="5456"/>
                </a:lnTo>
                <a:lnTo>
                  <a:pt x="6180" y="5485"/>
                </a:lnTo>
                <a:lnTo>
                  <a:pt x="6162" y="5512"/>
                </a:lnTo>
                <a:lnTo>
                  <a:pt x="6145" y="5539"/>
                </a:lnTo>
                <a:lnTo>
                  <a:pt x="6138" y="5552"/>
                </a:lnTo>
                <a:lnTo>
                  <a:pt x="6131" y="5565"/>
                </a:lnTo>
                <a:lnTo>
                  <a:pt x="6125" y="5578"/>
                </a:lnTo>
                <a:lnTo>
                  <a:pt x="6120" y="5590"/>
                </a:lnTo>
                <a:lnTo>
                  <a:pt x="6116" y="5602"/>
                </a:lnTo>
                <a:lnTo>
                  <a:pt x="6112" y="5614"/>
                </a:lnTo>
                <a:lnTo>
                  <a:pt x="6109" y="5625"/>
                </a:lnTo>
                <a:lnTo>
                  <a:pt x="6107" y="5635"/>
                </a:lnTo>
                <a:lnTo>
                  <a:pt x="6119" y="5635"/>
                </a:lnTo>
                <a:lnTo>
                  <a:pt x="6130" y="5634"/>
                </a:lnTo>
                <a:lnTo>
                  <a:pt x="6140" y="5633"/>
                </a:lnTo>
                <a:lnTo>
                  <a:pt x="6150" y="5631"/>
                </a:lnTo>
                <a:lnTo>
                  <a:pt x="6168" y="5626"/>
                </a:lnTo>
                <a:lnTo>
                  <a:pt x="6186" y="5619"/>
                </a:lnTo>
                <a:lnTo>
                  <a:pt x="6203" y="5611"/>
                </a:lnTo>
                <a:lnTo>
                  <a:pt x="6219" y="5601"/>
                </a:lnTo>
                <a:lnTo>
                  <a:pt x="6234" y="5590"/>
                </a:lnTo>
                <a:lnTo>
                  <a:pt x="6251" y="5579"/>
                </a:lnTo>
                <a:lnTo>
                  <a:pt x="6281" y="5556"/>
                </a:lnTo>
                <a:lnTo>
                  <a:pt x="6312" y="5534"/>
                </a:lnTo>
                <a:lnTo>
                  <a:pt x="6329" y="5523"/>
                </a:lnTo>
                <a:lnTo>
                  <a:pt x="6346" y="5513"/>
                </a:lnTo>
                <a:lnTo>
                  <a:pt x="6365" y="5505"/>
                </a:lnTo>
                <a:lnTo>
                  <a:pt x="6383" y="5497"/>
                </a:lnTo>
                <a:lnTo>
                  <a:pt x="6399" y="5497"/>
                </a:lnTo>
                <a:lnTo>
                  <a:pt x="6412" y="5495"/>
                </a:lnTo>
                <a:lnTo>
                  <a:pt x="6425" y="5492"/>
                </a:lnTo>
                <a:lnTo>
                  <a:pt x="6437" y="5489"/>
                </a:lnTo>
                <a:lnTo>
                  <a:pt x="6447" y="5485"/>
                </a:lnTo>
                <a:lnTo>
                  <a:pt x="6457" y="5479"/>
                </a:lnTo>
                <a:lnTo>
                  <a:pt x="6467" y="5473"/>
                </a:lnTo>
                <a:lnTo>
                  <a:pt x="6476" y="5468"/>
                </a:lnTo>
                <a:lnTo>
                  <a:pt x="6495" y="5456"/>
                </a:lnTo>
                <a:lnTo>
                  <a:pt x="6515" y="5444"/>
                </a:lnTo>
                <a:lnTo>
                  <a:pt x="6526" y="5438"/>
                </a:lnTo>
                <a:lnTo>
                  <a:pt x="6537" y="5432"/>
                </a:lnTo>
                <a:lnTo>
                  <a:pt x="6550" y="5427"/>
                </a:lnTo>
                <a:lnTo>
                  <a:pt x="6563" y="5423"/>
                </a:lnTo>
                <a:lnTo>
                  <a:pt x="6564" y="5427"/>
                </a:lnTo>
                <a:lnTo>
                  <a:pt x="6564" y="5430"/>
                </a:lnTo>
                <a:lnTo>
                  <a:pt x="6565" y="5432"/>
                </a:lnTo>
                <a:lnTo>
                  <a:pt x="6567" y="5434"/>
                </a:lnTo>
                <a:lnTo>
                  <a:pt x="6570" y="5437"/>
                </a:lnTo>
                <a:lnTo>
                  <a:pt x="6574" y="5439"/>
                </a:lnTo>
                <a:lnTo>
                  <a:pt x="6578" y="5441"/>
                </a:lnTo>
                <a:lnTo>
                  <a:pt x="6581" y="5444"/>
                </a:lnTo>
                <a:lnTo>
                  <a:pt x="6582" y="5446"/>
                </a:lnTo>
                <a:lnTo>
                  <a:pt x="6583" y="5448"/>
                </a:lnTo>
                <a:lnTo>
                  <a:pt x="6584" y="5451"/>
                </a:lnTo>
                <a:lnTo>
                  <a:pt x="6584" y="5455"/>
                </a:lnTo>
                <a:lnTo>
                  <a:pt x="6571" y="5455"/>
                </a:lnTo>
                <a:lnTo>
                  <a:pt x="6559" y="5456"/>
                </a:lnTo>
                <a:lnTo>
                  <a:pt x="6548" y="5457"/>
                </a:lnTo>
                <a:lnTo>
                  <a:pt x="6539" y="5459"/>
                </a:lnTo>
                <a:lnTo>
                  <a:pt x="6531" y="5461"/>
                </a:lnTo>
                <a:lnTo>
                  <a:pt x="6524" y="5464"/>
                </a:lnTo>
                <a:lnTo>
                  <a:pt x="6518" y="5467"/>
                </a:lnTo>
                <a:lnTo>
                  <a:pt x="6513" y="5471"/>
                </a:lnTo>
                <a:lnTo>
                  <a:pt x="6509" y="5475"/>
                </a:lnTo>
                <a:lnTo>
                  <a:pt x="6506" y="5479"/>
                </a:lnTo>
                <a:lnTo>
                  <a:pt x="6503" y="5485"/>
                </a:lnTo>
                <a:lnTo>
                  <a:pt x="6502" y="5490"/>
                </a:lnTo>
                <a:lnTo>
                  <a:pt x="6502" y="5495"/>
                </a:lnTo>
                <a:lnTo>
                  <a:pt x="6502" y="5501"/>
                </a:lnTo>
                <a:lnTo>
                  <a:pt x="6503" y="5507"/>
                </a:lnTo>
                <a:lnTo>
                  <a:pt x="6504" y="5513"/>
                </a:lnTo>
                <a:lnTo>
                  <a:pt x="6509" y="5526"/>
                </a:lnTo>
                <a:lnTo>
                  <a:pt x="6515" y="5539"/>
                </a:lnTo>
                <a:lnTo>
                  <a:pt x="6523" y="5553"/>
                </a:lnTo>
                <a:lnTo>
                  <a:pt x="6532" y="5567"/>
                </a:lnTo>
                <a:lnTo>
                  <a:pt x="6551" y="5596"/>
                </a:lnTo>
                <a:lnTo>
                  <a:pt x="6569" y="5624"/>
                </a:lnTo>
                <a:lnTo>
                  <a:pt x="6577" y="5636"/>
                </a:lnTo>
                <a:lnTo>
                  <a:pt x="6585" y="5647"/>
                </a:lnTo>
                <a:lnTo>
                  <a:pt x="6593" y="5658"/>
                </a:lnTo>
                <a:lnTo>
                  <a:pt x="6602" y="5667"/>
                </a:lnTo>
                <a:lnTo>
                  <a:pt x="6610" y="5675"/>
                </a:lnTo>
                <a:lnTo>
                  <a:pt x="6620" y="5683"/>
                </a:lnTo>
                <a:lnTo>
                  <a:pt x="6629" y="5690"/>
                </a:lnTo>
                <a:lnTo>
                  <a:pt x="6638" y="5696"/>
                </a:lnTo>
                <a:lnTo>
                  <a:pt x="6648" y="5701"/>
                </a:lnTo>
                <a:lnTo>
                  <a:pt x="6658" y="5705"/>
                </a:lnTo>
                <a:lnTo>
                  <a:pt x="6668" y="5709"/>
                </a:lnTo>
                <a:lnTo>
                  <a:pt x="6678" y="5712"/>
                </a:lnTo>
                <a:lnTo>
                  <a:pt x="6688" y="5715"/>
                </a:lnTo>
                <a:lnTo>
                  <a:pt x="6699" y="5717"/>
                </a:lnTo>
                <a:lnTo>
                  <a:pt x="6710" y="5718"/>
                </a:lnTo>
                <a:lnTo>
                  <a:pt x="6722" y="5719"/>
                </a:lnTo>
                <a:lnTo>
                  <a:pt x="6718" y="5727"/>
                </a:lnTo>
                <a:lnTo>
                  <a:pt x="6713" y="5734"/>
                </a:lnTo>
                <a:lnTo>
                  <a:pt x="6707" y="5739"/>
                </a:lnTo>
                <a:lnTo>
                  <a:pt x="6700" y="5742"/>
                </a:lnTo>
                <a:lnTo>
                  <a:pt x="6685" y="5747"/>
                </a:lnTo>
                <a:lnTo>
                  <a:pt x="6669" y="5749"/>
                </a:lnTo>
                <a:lnTo>
                  <a:pt x="6661" y="5750"/>
                </a:lnTo>
                <a:lnTo>
                  <a:pt x="6653" y="5752"/>
                </a:lnTo>
                <a:lnTo>
                  <a:pt x="6646" y="5754"/>
                </a:lnTo>
                <a:lnTo>
                  <a:pt x="6640" y="5757"/>
                </a:lnTo>
                <a:lnTo>
                  <a:pt x="6635" y="5761"/>
                </a:lnTo>
                <a:lnTo>
                  <a:pt x="6631" y="5767"/>
                </a:lnTo>
                <a:lnTo>
                  <a:pt x="6628" y="5774"/>
                </a:lnTo>
                <a:lnTo>
                  <a:pt x="6627" y="5783"/>
                </a:lnTo>
                <a:lnTo>
                  <a:pt x="6601" y="5792"/>
                </a:lnTo>
                <a:lnTo>
                  <a:pt x="6572" y="5805"/>
                </a:lnTo>
                <a:lnTo>
                  <a:pt x="6559" y="5812"/>
                </a:lnTo>
                <a:lnTo>
                  <a:pt x="6547" y="5819"/>
                </a:lnTo>
                <a:lnTo>
                  <a:pt x="6542" y="5823"/>
                </a:lnTo>
                <a:lnTo>
                  <a:pt x="6537" y="5827"/>
                </a:lnTo>
                <a:lnTo>
                  <a:pt x="6534" y="5831"/>
                </a:lnTo>
                <a:lnTo>
                  <a:pt x="6531" y="5836"/>
                </a:lnTo>
                <a:lnTo>
                  <a:pt x="6478" y="5841"/>
                </a:lnTo>
                <a:lnTo>
                  <a:pt x="6446" y="5844"/>
                </a:lnTo>
                <a:lnTo>
                  <a:pt x="6436" y="5844"/>
                </a:lnTo>
                <a:lnTo>
                  <a:pt x="6430" y="5844"/>
                </a:lnTo>
                <a:lnTo>
                  <a:pt x="6428" y="5844"/>
                </a:lnTo>
                <a:lnTo>
                  <a:pt x="6426" y="5843"/>
                </a:lnTo>
                <a:lnTo>
                  <a:pt x="6426" y="5842"/>
                </a:lnTo>
                <a:lnTo>
                  <a:pt x="6426" y="5841"/>
                </a:lnTo>
                <a:lnTo>
                  <a:pt x="6430" y="5836"/>
                </a:lnTo>
                <a:lnTo>
                  <a:pt x="6439" y="5827"/>
                </a:lnTo>
                <a:lnTo>
                  <a:pt x="6444" y="5822"/>
                </a:lnTo>
                <a:lnTo>
                  <a:pt x="6449" y="5816"/>
                </a:lnTo>
                <a:lnTo>
                  <a:pt x="6453" y="5809"/>
                </a:lnTo>
                <a:lnTo>
                  <a:pt x="6456" y="5802"/>
                </a:lnTo>
                <a:lnTo>
                  <a:pt x="6458" y="5805"/>
                </a:lnTo>
                <a:lnTo>
                  <a:pt x="6461" y="5806"/>
                </a:lnTo>
                <a:lnTo>
                  <a:pt x="6465" y="5808"/>
                </a:lnTo>
                <a:lnTo>
                  <a:pt x="6469" y="5809"/>
                </a:lnTo>
                <a:lnTo>
                  <a:pt x="6480" y="5809"/>
                </a:lnTo>
                <a:lnTo>
                  <a:pt x="6492" y="5808"/>
                </a:lnTo>
                <a:lnTo>
                  <a:pt x="6513" y="5806"/>
                </a:lnTo>
                <a:lnTo>
                  <a:pt x="6521" y="5804"/>
                </a:lnTo>
                <a:lnTo>
                  <a:pt x="6517" y="5788"/>
                </a:lnTo>
                <a:lnTo>
                  <a:pt x="6513" y="5775"/>
                </a:lnTo>
                <a:lnTo>
                  <a:pt x="6509" y="5766"/>
                </a:lnTo>
                <a:lnTo>
                  <a:pt x="6507" y="5759"/>
                </a:lnTo>
                <a:lnTo>
                  <a:pt x="6505" y="5753"/>
                </a:lnTo>
                <a:lnTo>
                  <a:pt x="6505" y="5747"/>
                </a:lnTo>
                <a:lnTo>
                  <a:pt x="6507" y="5740"/>
                </a:lnTo>
                <a:lnTo>
                  <a:pt x="6511" y="5730"/>
                </a:lnTo>
                <a:lnTo>
                  <a:pt x="6494" y="5730"/>
                </a:lnTo>
                <a:lnTo>
                  <a:pt x="6477" y="5731"/>
                </a:lnTo>
                <a:lnTo>
                  <a:pt x="6463" y="5734"/>
                </a:lnTo>
                <a:lnTo>
                  <a:pt x="6449" y="5737"/>
                </a:lnTo>
                <a:lnTo>
                  <a:pt x="6422" y="5744"/>
                </a:lnTo>
                <a:lnTo>
                  <a:pt x="6398" y="5752"/>
                </a:lnTo>
                <a:lnTo>
                  <a:pt x="6374" y="5759"/>
                </a:lnTo>
                <a:lnTo>
                  <a:pt x="6350" y="5766"/>
                </a:lnTo>
                <a:lnTo>
                  <a:pt x="6338" y="5769"/>
                </a:lnTo>
                <a:lnTo>
                  <a:pt x="6325" y="5771"/>
                </a:lnTo>
                <a:lnTo>
                  <a:pt x="6312" y="5772"/>
                </a:lnTo>
                <a:lnTo>
                  <a:pt x="6299" y="5773"/>
                </a:lnTo>
                <a:lnTo>
                  <a:pt x="6292" y="5783"/>
                </a:lnTo>
                <a:lnTo>
                  <a:pt x="6281" y="5796"/>
                </a:lnTo>
                <a:lnTo>
                  <a:pt x="6267" y="5810"/>
                </a:lnTo>
                <a:lnTo>
                  <a:pt x="6252" y="5824"/>
                </a:lnTo>
                <a:lnTo>
                  <a:pt x="6235" y="5837"/>
                </a:lnTo>
                <a:lnTo>
                  <a:pt x="6219" y="5847"/>
                </a:lnTo>
                <a:lnTo>
                  <a:pt x="6212" y="5851"/>
                </a:lnTo>
                <a:lnTo>
                  <a:pt x="6205" y="5854"/>
                </a:lnTo>
                <a:lnTo>
                  <a:pt x="6198" y="5856"/>
                </a:lnTo>
                <a:lnTo>
                  <a:pt x="6193" y="5857"/>
                </a:lnTo>
                <a:lnTo>
                  <a:pt x="6183" y="5884"/>
                </a:lnTo>
                <a:lnTo>
                  <a:pt x="6172" y="5914"/>
                </a:lnTo>
                <a:lnTo>
                  <a:pt x="6158" y="5946"/>
                </a:lnTo>
                <a:lnTo>
                  <a:pt x="6143" y="5978"/>
                </a:lnTo>
                <a:lnTo>
                  <a:pt x="6134" y="5995"/>
                </a:lnTo>
                <a:lnTo>
                  <a:pt x="6126" y="6010"/>
                </a:lnTo>
                <a:lnTo>
                  <a:pt x="6116" y="6024"/>
                </a:lnTo>
                <a:lnTo>
                  <a:pt x="6106" y="6038"/>
                </a:lnTo>
                <a:lnTo>
                  <a:pt x="6096" y="6050"/>
                </a:lnTo>
                <a:lnTo>
                  <a:pt x="6086" y="6062"/>
                </a:lnTo>
                <a:lnTo>
                  <a:pt x="6076" y="6071"/>
                </a:lnTo>
                <a:lnTo>
                  <a:pt x="6066" y="6079"/>
                </a:lnTo>
                <a:lnTo>
                  <a:pt x="6065" y="6078"/>
                </a:lnTo>
                <a:lnTo>
                  <a:pt x="6064" y="6077"/>
                </a:lnTo>
                <a:lnTo>
                  <a:pt x="6062" y="6078"/>
                </a:lnTo>
                <a:lnTo>
                  <a:pt x="6059" y="6078"/>
                </a:lnTo>
                <a:lnTo>
                  <a:pt x="6052" y="6081"/>
                </a:lnTo>
                <a:lnTo>
                  <a:pt x="6042" y="6087"/>
                </a:lnTo>
                <a:lnTo>
                  <a:pt x="6019" y="6102"/>
                </a:lnTo>
                <a:lnTo>
                  <a:pt x="5993" y="6121"/>
                </a:lnTo>
                <a:lnTo>
                  <a:pt x="5966" y="6140"/>
                </a:lnTo>
                <a:lnTo>
                  <a:pt x="5944" y="6157"/>
                </a:lnTo>
                <a:lnTo>
                  <a:pt x="5936" y="6164"/>
                </a:lnTo>
                <a:lnTo>
                  <a:pt x="5930" y="6170"/>
                </a:lnTo>
                <a:lnTo>
                  <a:pt x="5929" y="6172"/>
                </a:lnTo>
                <a:lnTo>
                  <a:pt x="5928" y="6173"/>
                </a:lnTo>
                <a:lnTo>
                  <a:pt x="5927" y="6174"/>
                </a:lnTo>
                <a:lnTo>
                  <a:pt x="5928" y="6174"/>
                </a:lnTo>
                <a:lnTo>
                  <a:pt x="5922" y="6184"/>
                </a:lnTo>
                <a:lnTo>
                  <a:pt x="5915" y="6192"/>
                </a:lnTo>
                <a:lnTo>
                  <a:pt x="5909" y="6200"/>
                </a:lnTo>
                <a:lnTo>
                  <a:pt x="5903" y="6207"/>
                </a:lnTo>
                <a:lnTo>
                  <a:pt x="5891" y="6219"/>
                </a:lnTo>
                <a:lnTo>
                  <a:pt x="5879" y="6231"/>
                </a:lnTo>
                <a:lnTo>
                  <a:pt x="5873" y="6239"/>
                </a:lnTo>
                <a:lnTo>
                  <a:pt x="5868" y="6246"/>
                </a:lnTo>
                <a:lnTo>
                  <a:pt x="5863" y="6254"/>
                </a:lnTo>
                <a:lnTo>
                  <a:pt x="5857" y="6263"/>
                </a:lnTo>
                <a:lnTo>
                  <a:pt x="5853" y="6273"/>
                </a:lnTo>
                <a:lnTo>
                  <a:pt x="5849" y="6284"/>
                </a:lnTo>
                <a:lnTo>
                  <a:pt x="5846" y="6297"/>
                </a:lnTo>
                <a:lnTo>
                  <a:pt x="5843" y="6312"/>
                </a:lnTo>
                <a:lnTo>
                  <a:pt x="5841" y="6314"/>
                </a:lnTo>
                <a:lnTo>
                  <a:pt x="5838" y="6320"/>
                </a:lnTo>
                <a:lnTo>
                  <a:pt x="5834" y="6327"/>
                </a:lnTo>
                <a:lnTo>
                  <a:pt x="5830" y="6337"/>
                </a:lnTo>
                <a:lnTo>
                  <a:pt x="5822" y="6362"/>
                </a:lnTo>
                <a:lnTo>
                  <a:pt x="5813" y="6391"/>
                </a:lnTo>
                <a:lnTo>
                  <a:pt x="5804" y="6419"/>
                </a:lnTo>
                <a:lnTo>
                  <a:pt x="5797" y="6446"/>
                </a:lnTo>
                <a:lnTo>
                  <a:pt x="5792" y="6467"/>
                </a:lnTo>
                <a:lnTo>
                  <a:pt x="5791" y="6481"/>
                </a:lnTo>
                <a:lnTo>
                  <a:pt x="5785" y="6485"/>
                </a:lnTo>
                <a:lnTo>
                  <a:pt x="5779" y="6491"/>
                </a:lnTo>
                <a:lnTo>
                  <a:pt x="5773" y="6497"/>
                </a:lnTo>
                <a:lnTo>
                  <a:pt x="5768" y="6504"/>
                </a:lnTo>
                <a:lnTo>
                  <a:pt x="5757" y="6518"/>
                </a:lnTo>
                <a:lnTo>
                  <a:pt x="5748" y="6535"/>
                </a:lnTo>
                <a:lnTo>
                  <a:pt x="5727" y="6571"/>
                </a:lnTo>
                <a:lnTo>
                  <a:pt x="5707" y="6608"/>
                </a:lnTo>
                <a:lnTo>
                  <a:pt x="5696" y="6628"/>
                </a:lnTo>
                <a:lnTo>
                  <a:pt x="5685" y="6645"/>
                </a:lnTo>
                <a:lnTo>
                  <a:pt x="5678" y="6653"/>
                </a:lnTo>
                <a:lnTo>
                  <a:pt x="5672" y="6661"/>
                </a:lnTo>
                <a:lnTo>
                  <a:pt x="5666" y="6668"/>
                </a:lnTo>
                <a:lnTo>
                  <a:pt x="5659" y="6675"/>
                </a:lnTo>
                <a:lnTo>
                  <a:pt x="5651" y="6681"/>
                </a:lnTo>
                <a:lnTo>
                  <a:pt x="5644" y="6687"/>
                </a:lnTo>
                <a:lnTo>
                  <a:pt x="5636" y="6692"/>
                </a:lnTo>
                <a:lnTo>
                  <a:pt x="5628" y="6696"/>
                </a:lnTo>
                <a:lnTo>
                  <a:pt x="5619" y="6699"/>
                </a:lnTo>
                <a:lnTo>
                  <a:pt x="5610" y="6701"/>
                </a:lnTo>
                <a:lnTo>
                  <a:pt x="5599" y="6703"/>
                </a:lnTo>
                <a:lnTo>
                  <a:pt x="5589" y="6703"/>
                </a:lnTo>
                <a:lnTo>
                  <a:pt x="5583" y="6716"/>
                </a:lnTo>
                <a:lnTo>
                  <a:pt x="5576" y="6727"/>
                </a:lnTo>
                <a:lnTo>
                  <a:pt x="5569" y="6738"/>
                </a:lnTo>
                <a:lnTo>
                  <a:pt x="5562" y="6749"/>
                </a:lnTo>
                <a:lnTo>
                  <a:pt x="5547" y="6766"/>
                </a:lnTo>
                <a:lnTo>
                  <a:pt x="5531" y="6782"/>
                </a:lnTo>
                <a:lnTo>
                  <a:pt x="5500" y="6810"/>
                </a:lnTo>
                <a:lnTo>
                  <a:pt x="5468" y="6836"/>
                </a:lnTo>
                <a:lnTo>
                  <a:pt x="5454" y="6849"/>
                </a:lnTo>
                <a:lnTo>
                  <a:pt x="5441" y="6863"/>
                </a:lnTo>
                <a:lnTo>
                  <a:pt x="5435" y="6872"/>
                </a:lnTo>
                <a:lnTo>
                  <a:pt x="5429" y="6880"/>
                </a:lnTo>
                <a:lnTo>
                  <a:pt x="5424" y="6889"/>
                </a:lnTo>
                <a:lnTo>
                  <a:pt x="5419" y="6898"/>
                </a:lnTo>
                <a:lnTo>
                  <a:pt x="5415" y="6908"/>
                </a:lnTo>
                <a:lnTo>
                  <a:pt x="5411" y="6918"/>
                </a:lnTo>
                <a:lnTo>
                  <a:pt x="5407" y="6929"/>
                </a:lnTo>
                <a:lnTo>
                  <a:pt x="5405" y="6941"/>
                </a:lnTo>
                <a:lnTo>
                  <a:pt x="5402" y="6955"/>
                </a:lnTo>
                <a:lnTo>
                  <a:pt x="5401" y="6968"/>
                </a:lnTo>
                <a:lnTo>
                  <a:pt x="5400" y="6983"/>
                </a:lnTo>
                <a:lnTo>
                  <a:pt x="5399" y="7000"/>
                </a:lnTo>
                <a:lnTo>
                  <a:pt x="5403" y="7005"/>
                </a:lnTo>
                <a:lnTo>
                  <a:pt x="5407" y="7010"/>
                </a:lnTo>
                <a:lnTo>
                  <a:pt x="5410" y="7016"/>
                </a:lnTo>
                <a:lnTo>
                  <a:pt x="5413" y="7023"/>
                </a:lnTo>
                <a:lnTo>
                  <a:pt x="5420" y="7038"/>
                </a:lnTo>
                <a:lnTo>
                  <a:pt x="5426" y="7055"/>
                </a:lnTo>
                <a:lnTo>
                  <a:pt x="5431" y="7074"/>
                </a:lnTo>
                <a:lnTo>
                  <a:pt x="5436" y="7094"/>
                </a:lnTo>
                <a:lnTo>
                  <a:pt x="5441" y="7116"/>
                </a:lnTo>
                <a:lnTo>
                  <a:pt x="5445" y="7139"/>
                </a:lnTo>
                <a:lnTo>
                  <a:pt x="5452" y="7183"/>
                </a:lnTo>
                <a:lnTo>
                  <a:pt x="5458" y="7225"/>
                </a:lnTo>
                <a:lnTo>
                  <a:pt x="5464" y="7263"/>
                </a:lnTo>
                <a:lnTo>
                  <a:pt x="5469" y="7291"/>
                </a:lnTo>
                <a:lnTo>
                  <a:pt x="5475" y="7318"/>
                </a:lnTo>
                <a:lnTo>
                  <a:pt x="5480" y="7346"/>
                </a:lnTo>
                <a:lnTo>
                  <a:pt x="5483" y="7359"/>
                </a:lnTo>
                <a:lnTo>
                  <a:pt x="5484" y="7372"/>
                </a:lnTo>
                <a:lnTo>
                  <a:pt x="5484" y="7384"/>
                </a:lnTo>
                <a:lnTo>
                  <a:pt x="5483" y="7395"/>
                </a:lnTo>
                <a:lnTo>
                  <a:pt x="5480" y="7406"/>
                </a:lnTo>
                <a:lnTo>
                  <a:pt x="5476" y="7415"/>
                </a:lnTo>
                <a:lnTo>
                  <a:pt x="5474" y="7419"/>
                </a:lnTo>
                <a:lnTo>
                  <a:pt x="5470" y="7423"/>
                </a:lnTo>
                <a:lnTo>
                  <a:pt x="5467" y="7427"/>
                </a:lnTo>
                <a:lnTo>
                  <a:pt x="5463" y="7430"/>
                </a:lnTo>
                <a:lnTo>
                  <a:pt x="5458" y="7433"/>
                </a:lnTo>
                <a:lnTo>
                  <a:pt x="5453" y="7436"/>
                </a:lnTo>
                <a:lnTo>
                  <a:pt x="5448" y="7438"/>
                </a:lnTo>
                <a:lnTo>
                  <a:pt x="5441" y="7440"/>
                </a:lnTo>
                <a:lnTo>
                  <a:pt x="5427" y="7443"/>
                </a:lnTo>
                <a:lnTo>
                  <a:pt x="5410" y="7444"/>
                </a:lnTo>
                <a:lnTo>
                  <a:pt x="5395" y="7422"/>
                </a:lnTo>
                <a:lnTo>
                  <a:pt x="5371" y="7383"/>
                </a:lnTo>
                <a:lnTo>
                  <a:pt x="5359" y="7362"/>
                </a:lnTo>
                <a:lnTo>
                  <a:pt x="5349" y="7344"/>
                </a:lnTo>
                <a:lnTo>
                  <a:pt x="5346" y="7338"/>
                </a:lnTo>
                <a:lnTo>
                  <a:pt x="5344" y="7333"/>
                </a:lnTo>
                <a:lnTo>
                  <a:pt x="5344" y="7331"/>
                </a:lnTo>
                <a:lnTo>
                  <a:pt x="5344" y="7329"/>
                </a:lnTo>
                <a:lnTo>
                  <a:pt x="5345" y="7328"/>
                </a:lnTo>
                <a:lnTo>
                  <a:pt x="5346" y="7328"/>
                </a:lnTo>
                <a:lnTo>
                  <a:pt x="5345" y="7319"/>
                </a:lnTo>
                <a:lnTo>
                  <a:pt x="5343" y="7308"/>
                </a:lnTo>
                <a:lnTo>
                  <a:pt x="5341" y="7295"/>
                </a:lnTo>
                <a:lnTo>
                  <a:pt x="5337" y="7281"/>
                </a:lnTo>
                <a:lnTo>
                  <a:pt x="5327" y="7249"/>
                </a:lnTo>
                <a:lnTo>
                  <a:pt x="5315" y="7214"/>
                </a:lnTo>
                <a:lnTo>
                  <a:pt x="5302" y="7181"/>
                </a:lnTo>
                <a:lnTo>
                  <a:pt x="5288" y="7149"/>
                </a:lnTo>
                <a:lnTo>
                  <a:pt x="5281" y="7135"/>
                </a:lnTo>
                <a:lnTo>
                  <a:pt x="5274" y="7122"/>
                </a:lnTo>
                <a:lnTo>
                  <a:pt x="5268" y="7110"/>
                </a:lnTo>
                <a:lnTo>
                  <a:pt x="5262" y="7101"/>
                </a:lnTo>
                <a:lnTo>
                  <a:pt x="5258" y="7095"/>
                </a:lnTo>
                <a:lnTo>
                  <a:pt x="5253" y="7091"/>
                </a:lnTo>
                <a:lnTo>
                  <a:pt x="5249" y="7087"/>
                </a:lnTo>
                <a:lnTo>
                  <a:pt x="5245" y="7084"/>
                </a:lnTo>
                <a:lnTo>
                  <a:pt x="5240" y="7082"/>
                </a:lnTo>
                <a:lnTo>
                  <a:pt x="5235" y="7080"/>
                </a:lnTo>
                <a:lnTo>
                  <a:pt x="5230" y="7078"/>
                </a:lnTo>
                <a:lnTo>
                  <a:pt x="5224" y="7077"/>
                </a:lnTo>
                <a:lnTo>
                  <a:pt x="5213" y="7076"/>
                </a:lnTo>
                <a:lnTo>
                  <a:pt x="5202" y="7077"/>
                </a:lnTo>
                <a:lnTo>
                  <a:pt x="5190" y="7078"/>
                </a:lnTo>
                <a:lnTo>
                  <a:pt x="5179" y="7080"/>
                </a:lnTo>
                <a:lnTo>
                  <a:pt x="5154" y="7085"/>
                </a:lnTo>
                <a:lnTo>
                  <a:pt x="5130" y="7089"/>
                </a:lnTo>
                <a:lnTo>
                  <a:pt x="5117" y="7090"/>
                </a:lnTo>
                <a:lnTo>
                  <a:pt x="5105" y="7090"/>
                </a:lnTo>
                <a:lnTo>
                  <a:pt x="5093" y="7088"/>
                </a:lnTo>
                <a:lnTo>
                  <a:pt x="5081" y="7084"/>
                </a:lnTo>
                <a:lnTo>
                  <a:pt x="5078" y="7080"/>
                </a:lnTo>
                <a:lnTo>
                  <a:pt x="5075" y="7075"/>
                </a:lnTo>
                <a:lnTo>
                  <a:pt x="5070" y="7071"/>
                </a:lnTo>
                <a:lnTo>
                  <a:pt x="5065" y="7067"/>
                </a:lnTo>
                <a:lnTo>
                  <a:pt x="5053" y="7059"/>
                </a:lnTo>
                <a:lnTo>
                  <a:pt x="5038" y="7053"/>
                </a:lnTo>
                <a:lnTo>
                  <a:pt x="5021" y="7047"/>
                </a:lnTo>
                <a:lnTo>
                  <a:pt x="5003" y="7042"/>
                </a:lnTo>
                <a:lnTo>
                  <a:pt x="4984" y="7037"/>
                </a:lnTo>
                <a:lnTo>
                  <a:pt x="4963" y="7034"/>
                </a:lnTo>
                <a:lnTo>
                  <a:pt x="4921" y="7028"/>
                </a:lnTo>
                <a:lnTo>
                  <a:pt x="4881" y="7024"/>
                </a:lnTo>
                <a:lnTo>
                  <a:pt x="4845" y="7022"/>
                </a:lnTo>
                <a:lnTo>
                  <a:pt x="4817" y="7021"/>
                </a:lnTo>
                <a:lnTo>
                  <a:pt x="4821" y="7035"/>
                </a:lnTo>
                <a:lnTo>
                  <a:pt x="4827" y="7046"/>
                </a:lnTo>
                <a:lnTo>
                  <a:pt x="4834" y="7057"/>
                </a:lnTo>
                <a:lnTo>
                  <a:pt x="4840" y="7067"/>
                </a:lnTo>
                <a:lnTo>
                  <a:pt x="4847" y="7077"/>
                </a:lnTo>
                <a:lnTo>
                  <a:pt x="4853" y="7088"/>
                </a:lnTo>
                <a:lnTo>
                  <a:pt x="4856" y="7094"/>
                </a:lnTo>
                <a:lnTo>
                  <a:pt x="4857" y="7101"/>
                </a:lnTo>
                <a:lnTo>
                  <a:pt x="4859" y="7108"/>
                </a:lnTo>
                <a:lnTo>
                  <a:pt x="4860" y="7116"/>
                </a:lnTo>
                <a:lnTo>
                  <a:pt x="4823" y="7133"/>
                </a:lnTo>
                <a:lnTo>
                  <a:pt x="4792" y="7146"/>
                </a:lnTo>
                <a:lnTo>
                  <a:pt x="4777" y="7151"/>
                </a:lnTo>
                <a:lnTo>
                  <a:pt x="4761" y="7154"/>
                </a:lnTo>
                <a:lnTo>
                  <a:pt x="4752" y="7155"/>
                </a:lnTo>
                <a:lnTo>
                  <a:pt x="4743" y="7156"/>
                </a:lnTo>
                <a:lnTo>
                  <a:pt x="4734" y="7155"/>
                </a:lnTo>
                <a:lnTo>
                  <a:pt x="4723" y="7154"/>
                </a:lnTo>
                <a:lnTo>
                  <a:pt x="4707" y="7151"/>
                </a:lnTo>
                <a:lnTo>
                  <a:pt x="4694" y="7147"/>
                </a:lnTo>
                <a:lnTo>
                  <a:pt x="4681" y="7142"/>
                </a:lnTo>
                <a:lnTo>
                  <a:pt x="4671" y="7136"/>
                </a:lnTo>
                <a:lnTo>
                  <a:pt x="4653" y="7122"/>
                </a:lnTo>
                <a:lnTo>
                  <a:pt x="4636" y="7108"/>
                </a:lnTo>
                <a:lnTo>
                  <a:pt x="4628" y="7101"/>
                </a:lnTo>
                <a:lnTo>
                  <a:pt x="4620" y="7095"/>
                </a:lnTo>
                <a:lnTo>
                  <a:pt x="4611" y="7089"/>
                </a:lnTo>
                <a:lnTo>
                  <a:pt x="4600" y="7085"/>
                </a:lnTo>
                <a:lnTo>
                  <a:pt x="4588" y="7081"/>
                </a:lnTo>
                <a:lnTo>
                  <a:pt x="4575" y="7079"/>
                </a:lnTo>
                <a:lnTo>
                  <a:pt x="4559" y="7078"/>
                </a:lnTo>
                <a:lnTo>
                  <a:pt x="4542" y="7079"/>
                </a:lnTo>
                <a:lnTo>
                  <a:pt x="4527" y="7081"/>
                </a:lnTo>
                <a:lnTo>
                  <a:pt x="4512" y="7083"/>
                </a:lnTo>
                <a:lnTo>
                  <a:pt x="4498" y="7087"/>
                </a:lnTo>
                <a:lnTo>
                  <a:pt x="4484" y="7091"/>
                </a:lnTo>
                <a:lnTo>
                  <a:pt x="4469" y="7095"/>
                </a:lnTo>
                <a:lnTo>
                  <a:pt x="4456" y="7100"/>
                </a:lnTo>
                <a:lnTo>
                  <a:pt x="4443" y="7106"/>
                </a:lnTo>
                <a:lnTo>
                  <a:pt x="4430" y="7112"/>
                </a:lnTo>
                <a:lnTo>
                  <a:pt x="4418" y="7120"/>
                </a:lnTo>
                <a:lnTo>
                  <a:pt x="4406" y="7127"/>
                </a:lnTo>
                <a:lnTo>
                  <a:pt x="4395" y="7135"/>
                </a:lnTo>
                <a:lnTo>
                  <a:pt x="4384" y="7143"/>
                </a:lnTo>
                <a:lnTo>
                  <a:pt x="4373" y="7152"/>
                </a:lnTo>
                <a:lnTo>
                  <a:pt x="4363" y="7161"/>
                </a:lnTo>
                <a:lnTo>
                  <a:pt x="4353" y="7171"/>
                </a:lnTo>
                <a:lnTo>
                  <a:pt x="4343" y="7181"/>
                </a:lnTo>
                <a:lnTo>
                  <a:pt x="4334" y="7192"/>
                </a:lnTo>
                <a:lnTo>
                  <a:pt x="4326" y="7203"/>
                </a:lnTo>
                <a:lnTo>
                  <a:pt x="4318" y="7214"/>
                </a:lnTo>
                <a:lnTo>
                  <a:pt x="4311" y="7226"/>
                </a:lnTo>
                <a:lnTo>
                  <a:pt x="4304" y="7238"/>
                </a:lnTo>
                <a:lnTo>
                  <a:pt x="4298" y="7251"/>
                </a:lnTo>
                <a:lnTo>
                  <a:pt x="4292" y="7264"/>
                </a:lnTo>
                <a:lnTo>
                  <a:pt x="4287" y="7277"/>
                </a:lnTo>
                <a:lnTo>
                  <a:pt x="4282" y="7291"/>
                </a:lnTo>
                <a:lnTo>
                  <a:pt x="4278" y="7304"/>
                </a:lnTo>
                <a:lnTo>
                  <a:pt x="4275" y="7318"/>
                </a:lnTo>
                <a:lnTo>
                  <a:pt x="4272" y="7332"/>
                </a:lnTo>
                <a:lnTo>
                  <a:pt x="4270" y="7347"/>
                </a:lnTo>
                <a:lnTo>
                  <a:pt x="4268" y="7361"/>
                </a:lnTo>
                <a:lnTo>
                  <a:pt x="4267" y="7377"/>
                </a:lnTo>
                <a:lnTo>
                  <a:pt x="4267" y="7392"/>
                </a:lnTo>
                <a:lnTo>
                  <a:pt x="4265" y="7393"/>
                </a:lnTo>
                <a:lnTo>
                  <a:pt x="4264" y="7395"/>
                </a:lnTo>
                <a:lnTo>
                  <a:pt x="4262" y="7400"/>
                </a:lnTo>
                <a:lnTo>
                  <a:pt x="4261" y="7405"/>
                </a:lnTo>
                <a:lnTo>
                  <a:pt x="4259" y="7421"/>
                </a:lnTo>
                <a:lnTo>
                  <a:pt x="4257" y="7441"/>
                </a:lnTo>
                <a:lnTo>
                  <a:pt x="4255" y="7491"/>
                </a:lnTo>
                <a:lnTo>
                  <a:pt x="4254" y="7550"/>
                </a:lnTo>
                <a:lnTo>
                  <a:pt x="4255" y="7608"/>
                </a:lnTo>
                <a:lnTo>
                  <a:pt x="4257" y="7659"/>
                </a:lnTo>
                <a:lnTo>
                  <a:pt x="4259" y="7680"/>
                </a:lnTo>
                <a:lnTo>
                  <a:pt x="4261" y="7695"/>
                </a:lnTo>
                <a:lnTo>
                  <a:pt x="4262" y="7701"/>
                </a:lnTo>
                <a:lnTo>
                  <a:pt x="4264" y="7705"/>
                </a:lnTo>
                <a:lnTo>
                  <a:pt x="4265" y="7708"/>
                </a:lnTo>
                <a:lnTo>
                  <a:pt x="4267" y="7709"/>
                </a:lnTo>
                <a:lnTo>
                  <a:pt x="4268" y="7725"/>
                </a:lnTo>
                <a:lnTo>
                  <a:pt x="4270" y="7741"/>
                </a:lnTo>
                <a:lnTo>
                  <a:pt x="4274" y="7757"/>
                </a:lnTo>
                <a:lnTo>
                  <a:pt x="4278" y="7772"/>
                </a:lnTo>
                <a:lnTo>
                  <a:pt x="4284" y="7787"/>
                </a:lnTo>
                <a:lnTo>
                  <a:pt x="4290" y="7801"/>
                </a:lnTo>
                <a:lnTo>
                  <a:pt x="4297" y="7815"/>
                </a:lnTo>
                <a:lnTo>
                  <a:pt x="4304" y="7828"/>
                </a:lnTo>
                <a:lnTo>
                  <a:pt x="4317" y="7854"/>
                </a:lnTo>
                <a:lnTo>
                  <a:pt x="4329" y="7881"/>
                </a:lnTo>
                <a:lnTo>
                  <a:pt x="4333" y="7894"/>
                </a:lnTo>
                <a:lnTo>
                  <a:pt x="4337" y="7906"/>
                </a:lnTo>
                <a:lnTo>
                  <a:pt x="4339" y="7919"/>
                </a:lnTo>
                <a:lnTo>
                  <a:pt x="4340" y="7931"/>
                </a:lnTo>
                <a:lnTo>
                  <a:pt x="4348" y="7932"/>
                </a:lnTo>
                <a:lnTo>
                  <a:pt x="4355" y="7933"/>
                </a:lnTo>
                <a:lnTo>
                  <a:pt x="4362" y="7935"/>
                </a:lnTo>
                <a:lnTo>
                  <a:pt x="4368" y="7938"/>
                </a:lnTo>
                <a:lnTo>
                  <a:pt x="4382" y="7946"/>
                </a:lnTo>
                <a:lnTo>
                  <a:pt x="4396" y="7956"/>
                </a:lnTo>
                <a:lnTo>
                  <a:pt x="4410" y="7968"/>
                </a:lnTo>
                <a:lnTo>
                  <a:pt x="4424" y="7981"/>
                </a:lnTo>
                <a:lnTo>
                  <a:pt x="4438" y="7995"/>
                </a:lnTo>
                <a:lnTo>
                  <a:pt x="4452" y="8011"/>
                </a:lnTo>
                <a:lnTo>
                  <a:pt x="4466" y="8026"/>
                </a:lnTo>
                <a:lnTo>
                  <a:pt x="4481" y="8040"/>
                </a:lnTo>
                <a:lnTo>
                  <a:pt x="4495" y="8053"/>
                </a:lnTo>
                <a:lnTo>
                  <a:pt x="4509" y="8065"/>
                </a:lnTo>
                <a:lnTo>
                  <a:pt x="4523" y="8075"/>
                </a:lnTo>
                <a:lnTo>
                  <a:pt x="4536" y="8083"/>
                </a:lnTo>
                <a:lnTo>
                  <a:pt x="4543" y="8086"/>
                </a:lnTo>
                <a:lnTo>
                  <a:pt x="4550" y="8088"/>
                </a:lnTo>
                <a:lnTo>
                  <a:pt x="4556" y="8089"/>
                </a:lnTo>
                <a:lnTo>
                  <a:pt x="4563" y="8090"/>
                </a:lnTo>
                <a:lnTo>
                  <a:pt x="4564" y="8100"/>
                </a:lnTo>
                <a:lnTo>
                  <a:pt x="4564" y="8108"/>
                </a:lnTo>
                <a:lnTo>
                  <a:pt x="4563" y="8116"/>
                </a:lnTo>
                <a:lnTo>
                  <a:pt x="4563" y="8123"/>
                </a:lnTo>
                <a:lnTo>
                  <a:pt x="4562" y="8130"/>
                </a:lnTo>
                <a:lnTo>
                  <a:pt x="4562" y="8135"/>
                </a:lnTo>
                <a:lnTo>
                  <a:pt x="4562" y="8140"/>
                </a:lnTo>
                <a:lnTo>
                  <a:pt x="4563" y="8144"/>
                </a:lnTo>
                <a:lnTo>
                  <a:pt x="4566" y="8147"/>
                </a:lnTo>
                <a:lnTo>
                  <a:pt x="4570" y="8149"/>
                </a:lnTo>
                <a:lnTo>
                  <a:pt x="4576" y="8151"/>
                </a:lnTo>
                <a:lnTo>
                  <a:pt x="4585" y="8152"/>
                </a:lnTo>
                <a:lnTo>
                  <a:pt x="4610" y="8154"/>
                </a:lnTo>
                <a:lnTo>
                  <a:pt x="4648" y="8154"/>
                </a:lnTo>
                <a:lnTo>
                  <a:pt x="4658" y="8144"/>
                </a:lnTo>
                <a:lnTo>
                  <a:pt x="4681" y="8125"/>
                </a:lnTo>
                <a:lnTo>
                  <a:pt x="4694" y="8113"/>
                </a:lnTo>
                <a:lnTo>
                  <a:pt x="4706" y="8099"/>
                </a:lnTo>
                <a:lnTo>
                  <a:pt x="4711" y="8092"/>
                </a:lnTo>
                <a:lnTo>
                  <a:pt x="4716" y="8084"/>
                </a:lnTo>
                <a:lnTo>
                  <a:pt x="4719" y="8077"/>
                </a:lnTo>
                <a:lnTo>
                  <a:pt x="4721" y="8069"/>
                </a:lnTo>
                <a:lnTo>
                  <a:pt x="4714" y="8066"/>
                </a:lnTo>
                <a:lnTo>
                  <a:pt x="4708" y="8064"/>
                </a:lnTo>
                <a:lnTo>
                  <a:pt x="4702" y="8061"/>
                </a:lnTo>
                <a:lnTo>
                  <a:pt x="4698" y="8057"/>
                </a:lnTo>
                <a:lnTo>
                  <a:pt x="4694" y="8054"/>
                </a:lnTo>
                <a:lnTo>
                  <a:pt x="4691" y="8049"/>
                </a:lnTo>
                <a:lnTo>
                  <a:pt x="4689" y="8045"/>
                </a:lnTo>
                <a:lnTo>
                  <a:pt x="4687" y="8040"/>
                </a:lnTo>
                <a:lnTo>
                  <a:pt x="4686" y="8035"/>
                </a:lnTo>
                <a:lnTo>
                  <a:pt x="4686" y="8030"/>
                </a:lnTo>
                <a:lnTo>
                  <a:pt x="4687" y="8024"/>
                </a:lnTo>
                <a:lnTo>
                  <a:pt x="4688" y="8019"/>
                </a:lnTo>
                <a:lnTo>
                  <a:pt x="4691" y="8007"/>
                </a:lnTo>
                <a:lnTo>
                  <a:pt x="4697" y="7994"/>
                </a:lnTo>
                <a:lnTo>
                  <a:pt x="4704" y="7983"/>
                </a:lnTo>
                <a:lnTo>
                  <a:pt x="4712" y="7971"/>
                </a:lnTo>
                <a:lnTo>
                  <a:pt x="4721" y="7960"/>
                </a:lnTo>
                <a:lnTo>
                  <a:pt x="4733" y="7950"/>
                </a:lnTo>
                <a:lnTo>
                  <a:pt x="4743" y="7940"/>
                </a:lnTo>
                <a:lnTo>
                  <a:pt x="4754" y="7932"/>
                </a:lnTo>
                <a:lnTo>
                  <a:pt x="4765" y="7926"/>
                </a:lnTo>
                <a:lnTo>
                  <a:pt x="4775" y="7921"/>
                </a:lnTo>
                <a:lnTo>
                  <a:pt x="4775" y="7927"/>
                </a:lnTo>
                <a:lnTo>
                  <a:pt x="4776" y="7933"/>
                </a:lnTo>
                <a:lnTo>
                  <a:pt x="4777" y="7937"/>
                </a:lnTo>
                <a:lnTo>
                  <a:pt x="4779" y="7941"/>
                </a:lnTo>
                <a:lnTo>
                  <a:pt x="4782" y="7944"/>
                </a:lnTo>
                <a:lnTo>
                  <a:pt x="4784" y="7946"/>
                </a:lnTo>
                <a:lnTo>
                  <a:pt x="4788" y="7948"/>
                </a:lnTo>
                <a:lnTo>
                  <a:pt x="4791" y="7948"/>
                </a:lnTo>
                <a:lnTo>
                  <a:pt x="4799" y="7948"/>
                </a:lnTo>
                <a:lnTo>
                  <a:pt x="4808" y="7945"/>
                </a:lnTo>
                <a:lnTo>
                  <a:pt x="4817" y="7941"/>
                </a:lnTo>
                <a:lnTo>
                  <a:pt x="4827" y="7936"/>
                </a:lnTo>
                <a:lnTo>
                  <a:pt x="4837" y="7929"/>
                </a:lnTo>
                <a:lnTo>
                  <a:pt x="4846" y="7922"/>
                </a:lnTo>
                <a:lnTo>
                  <a:pt x="4856" y="7914"/>
                </a:lnTo>
                <a:lnTo>
                  <a:pt x="4864" y="7907"/>
                </a:lnTo>
                <a:lnTo>
                  <a:pt x="4876" y="7896"/>
                </a:lnTo>
                <a:lnTo>
                  <a:pt x="4881" y="7889"/>
                </a:lnTo>
                <a:lnTo>
                  <a:pt x="4904" y="7881"/>
                </a:lnTo>
                <a:lnTo>
                  <a:pt x="4943" y="7865"/>
                </a:lnTo>
                <a:lnTo>
                  <a:pt x="4981" y="7852"/>
                </a:lnTo>
                <a:lnTo>
                  <a:pt x="4997" y="7846"/>
                </a:lnTo>
                <a:lnTo>
                  <a:pt x="4998" y="7839"/>
                </a:lnTo>
                <a:lnTo>
                  <a:pt x="4998" y="7832"/>
                </a:lnTo>
                <a:lnTo>
                  <a:pt x="4999" y="7827"/>
                </a:lnTo>
                <a:lnTo>
                  <a:pt x="5001" y="7822"/>
                </a:lnTo>
                <a:lnTo>
                  <a:pt x="5002" y="7819"/>
                </a:lnTo>
                <a:lnTo>
                  <a:pt x="5004" y="7816"/>
                </a:lnTo>
                <a:lnTo>
                  <a:pt x="5006" y="7814"/>
                </a:lnTo>
                <a:lnTo>
                  <a:pt x="5009" y="7812"/>
                </a:lnTo>
                <a:lnTo>
                  <a:pt x="5011" y="7812"/>
                </a:lnTo>
                <a:lnTo>
                  <a:pt x="5014" y="7812"/>
                </a:lnTo>
                <a:lnTo>
                  <a:pt x="5017" y="7812"/>
                </a:lnTo>
                <a:lnTo>
                  <a:pt x="5019" y="7813"/>
                </a:lnTo>
                <a:lnTo>
                  <a:pt x="5025" y="7817"/>
                </a:lnTo>
                <a:lnTo>
                  <a:pt x="5029" y="7823"/>
                </a:lnTo>
                <a:lnTo>
                  <a:pt x="5034" y="7830"/>
                </a:lnTo>
                <a:lnTo>
                  <a:pt x="5037" y="7838"/>
                </a:lnTo>
                <a:lnTo>
                  <a:pt x="5039" y="7847"/>
                </a:lnTo>
                <a:lnTo>
                  <a:pt x="5039" y="7856"/>
                </a:lnTo>
                <a:lnTo>
                  <a:pt x="5039" y="7860"/>
                </a:lnTo>
                <a:lnTo>
                  <a:pt x="5038" y="7865"/>
                </a:lnTo>
                <a:lnTo>
                  <a:pt x="5036" y="7869"/>
                </a:lnTo>
                <a:lnTo>
                  <a:pt x="5034" y="7873"/>
                </a:lnTo>
                <a:lnTo>
                  <a:pt x="5031" y="7878"/>
                </a:lnTo>
                <a:lnTo>
                  <a:pt x="5027" y="7882"/>
                </a:lnTo>
                <a:lnTo>
                  <a:pt x="5023" y="7886"/>
                </a:lnTo>
                <a:lnTo>
                  <a:pt x="5018" y="7889"/>
                </a:lnTo>
                <a:lnTo>
                  <a:pt x="5013" y="7889"/>
                </a:lnTo>
                <a:lnTo>
                  <a:pt x="5008" y="7890"/>
                </a:lnTo>
                <a:lnTo>
                  <a:pt x="5004" y="7892"/>
                </a:lnTo>
                <a:lnTo>
                  <a:pt x="4999" y="7893"/>
                </a:lnTo>
                <a:lnTo>
                  <a:pt x="4992" y="7898"/>
                </a:lnTo>
                <a:lnTo>
                  <a:pt x="4985" y="7904"/>
                </a:lnTo>
                <a:lnTo>
                  <a:pt x="4980" y="7911"/>
                </a:lnTo>
                <a:lnTo>
                  <a:pt x="4974" y="7919"/>
                </a:lnTo>
                <a:lnTo>
                  <a:pt x="4970" y="7928"/>
                </a:lnTo>
                <a:lnTo>
                  <a:pt x="4966" y="7937"/>
                </a:lnTo>
                <a:lnTo>
                  <a:pt x="4959" y="7954"/>
                </a:lnTo>
                <a:lnTo>
                  <a:pt x="4952" y="7969"/>
                </a:lnTo>
                <a:lnTo>
                  <a:pt x="4948" y="7975"/>
                </a:lnTo>
                <a:lnTo>
                  <a:pt x="4944" y="7980"/>
                </a:lnTo>
                <a:lnTo>
                  <a:pt x="4941" y="7982"/>
                </a:lnTo>
                <a:lnTo>
                  <a:pt x="4939" y="7983"/>
                </a:lnTo>
                <a:lnTo>
                  <a:pt x="4936" y="7984"/>
                </a:lnTo>
                <a:lnTo>
                  <a:pt x="4933" y="7984"/>
                </a:lnTo>
                <a:lnTo>
                  <a:pt x="4928" y="8010"/>
                </a:lnTo>
                <a:lnTo>
                  <a:pt x="4921" y="8034"/>
                </a:lnTo>
                <a:lnTo>
                  <a:pt x="4914" y="8058"/>
                </a:lnTo>
                <a:lnTo>
                  <a:pt x="4906" y="8082"/>
                </a:lnTo>
                <a:lnTo>
                  <a:pt x="4898" y="8105"/>
                </a:lnTo>
                <a:lnTo>
                  <a:pt x="4891" y="8130"/>
                </a:lnTo>
                <a:lnTo>
                  <a:pt x="4884" y="8153"/>
                </a:lnTo>
                <a:lnTo>
                  <a:pt x="4877" y="8178"/>
                </a:lnTo>
                <a:lnTo>
                  <a:pt x="4874" y="8192"/>
                </a:lnTo>
                <a:lnTo>
                  <a:pt x="4873" y="8205"/>
                </a:lnTo>
                <a:lnTo>
                  <a:pt x="4874" y="8216"/>
                </a:lnTo>
                <a:lnTo>
                  <a:pt x="4875" y="8227"/>
                </a:lnTo>
                <a:lnTo>
                  <a:pt x="4878" y="8236"/>
                </a:lnTo>
                <a:lnTo>
                  <a:pt x="4882" y="8245"/>
                </a:lnTo>
                <a:lnTo>
                  <a:pt x="4885" y="8255"/>
                </a:lnTo>
                <a:lnTo>
                  <a:pt x="4890" y="8263"/>
                </a:lnTo>
                <a:lnTo>
                  <a:pt x="4894" y="8271"/>
                </a:lnTo>
                <a:lnTo>
                  <a:pt x="4898" y="8279"/>
                </a:lnTo>
                <a:lnTo>
                  <a:pt x="4901" y="8288"/>
                </a:lnTo>
                <a:lnTo>
                  <a:pt x="4904" y="8297"/>
                </a:lnTo>
                <a:lnTo>
                  <a:pt x="4905" y="8307"/>
                </a:lnTo>
                <a:lnTo>
                  <a:pt x="4906" y="8318"/>
                </a:lnTo>
                <a:lnTo>
                  <a:pt x="4905" y="8330"/>
                </a:lnTo>
                <a:lnTo>
                  <a:pt x="4902" y="8344"/>
                </a:lnTo>
                <a:lnTo>
                  <a:pt x="4917" y="8346"/>
                </a:lnTo>
                <a:lnTo>
                  <a:pt x="4933" y="8348"/>
                </a:lnTo>
                <a:lnTo>
                  <a:pt x="4949" y="8349"/>
                </a:lnTo>
                <a:lnTo>
                  <a:pt x="4965" y="8350"/>
                </a:lnTo>
                <a:lnTo>
                  <a:pt x="4997" y="8351"/>
                </a:lnTo>
                <a:lnTo>
                  <a:pt x="5029" y="8350"/>
                </a:lnTo>
                <a:lnTo>
                  <a:pt x="5060" y="8348"/>
                </a:lnTo>
                <a:lnTo>
                  <a:pt x="5092" y="8346"/>
                </a:lnTo>
                <a:lnTo>
                  <a:pt x="5124" y="8345"/>
                </a:lnTo>
                <a:lnTo>
                  <a:pt x="5156" y="8344"/>
                </a:lnTo>
                <a:lnTo>
                  <a:pt x="5155" y="8333"/>
                </a:lnTo>
                <a:lnTo>
                  <a:pt x="5153" y="8322"/>
                </a:lnTo>
                <a:lnTo>
                  <a:pt x="5150" y="8312"/>
                </a:lnTo>
                <a:lnTo>
                  <a:pt x="5145" y="8302"/>
                </a:lnTo>
                <a:lnTo>
                  <a:pt x="5156" y="8303"/>
                </a:lnTo>
                <a:lnTo>
                  <a:pt x="5165" y="8304"/>
                </a:lnTo>
                <a:lnTo>
                  <a:pt x="5174" y="8308"/>
                </a:lnTo>
                <a:lnTo>
                  <a:pt x="5181" y="8312"/>
                </a:lnTo>
                <a:lnTo>
                  <a:pt x="5187" y="8317"/>
                </a:lnTo>
                <a:lnTo>
                  <a:pt x="5192" y="8323"/>
                </a:lnTo>
                <a:lnTo>
                  <a:pt x="5196" y="8330"/>
                </a:lnTo>
                <a:lnTo>
                  <a:pt x="5199" y="8338"/>
                </a:lnTo>
                <a:lnTo>
                  <a:pt x="5202" y="8346"/>
                </a:lnTo>
                <a:lnTo>
                  <a:pt x="5204" y="8355"/>
                </a:lnTo>
                <a:lnTo>
                  <a:pt x="5205" y="8365"/>
                </a:lnTo>
                <a:lnTo>
                  <a:pt x="5206" y="8375"/>
                </a:lnTo>
                <a:lnTo>
                  <a:pt x="5206" y="8397"/>
                </a:lnTo>
                <a:lnTo>
                  <a:pt x="5205" y="8418"/>
                </a:lnTo>
                <a:lnTo>
                  <a:pt x="5204" y="8440"/>
                </a:lnTo>
                <a:lnTo>
                  <a:pt x="5202" y="8461"/>
                </a:lnTo>
                <a:lnTo>
                  <a:pt x="5202" y="8480"/>
                </a:lnTo>
                <a:lnTo>
                  <a:pt x="5202" y="8497"/>
                </a:lnTo>
                <a:lnTo>
                  <a:pt x="5203" y="8506"/>
                </a:lnTo>
                <a:lnTo>
                  <a:pt x="5205" y="8513"/>
                </a:lnTo>
                <a:lnTo>
                  <a:pt x="5207" y="8519"/>
                </a:lnTo>
                <a:lnTo>
                  <a:pt x="5210" y="8525"/>
                </a:lnTo>
                <a:lnTo>
                  <a:pt x="5213" y="8529"/>
                </a:lnTo>
                <a:lnTo>
                  <a:pt x="5218" y="8532"/>
                </a:lnTo>
                <a:lnTo>
                  <a:pt x="5223" y="8534"/>
                </a:lnTo>
                <a:lnTo>
                  <a:pt x="5230" y="8535"/>
                </a:lnTo>
                <a:lnTo>
                  <a:pt x="5231" y="8551"/>
                </a:lnTo>
                <a:lnTo>
                  <a:pt x="5232" y="8566"/>
                </a:lnTo>
                <a:lnTo>
                  <a:pt x="5234" y="8582"/>
                </a:lnTo>
                <a:lnTo>
                  <a:pt x="5237" y="8597"/>
                </a:lnTo>
                <a:lnTo>
                  <a:pt x="5244" y="8625"/>
                </a:lnTo>
                <a:lnTo>
                  <a:pt x="5251" y="8653"/>
                </a:lnTo>
                <a:lnTo>
                  <a:pt x="5259" y="8678"/>
                </a:lnTo>
                <a:lnTo>
                  <a:pt x="5266" y="8702"/>
                </a:lnTo>
                <a:lnTo>
                  <a:pt x="5268" y="8714"/>
                </a:lnTo>
                <a:lnTo>
                  <a:pt x="5270" y="8725"/>
                </a:lnTo>
                <a:lnTo>
                  <a:pt x="5272" y="8735"/>
                </a:lnTo>
                <a:lnTo>
                  <a:pt x="5272" y="8746"/>
                </a:lnTo>
                <a:lnTo>
                  <a:pt x="5282" y="8753"/>
                </a:lnTo>
                <a:lnTo>
                  <a:pt x="5292" y="8762"/>
                </a:lnTo>
                <a:lnTo>
                  <a:pt x="5301" y="8769"/>
                </a:lnTo>
                <a:lnTo>
                  <a:pt x="5310" y="8778"/>
                </a:lnTo>
                <a:lnTo>
                  <a:pt x="5318" y="8786"/>
                </a:lnTo>
                <a:lnTo>
                  <a:pt x="5325" y="8795"/>
                </a:lnTo>
                <a:lnTo>
                  <a:pt x="5331" y="8804"/>
                </a:lnTo>
                <a:lnTo>
                  <a:pt x="5337" y="8814"/>
                </a:lnTo>
                <a:lnTo>
                  <a:pt x="5341" y="8824"/>
                </a:lnTo>
                <a:lnTo>
                  <a:pt x="5345" y="8834"/>
                </a:lnTo>
                <a:lnTo>
                  <a:pt x="5348" y="8845"/>
                </a:lnTo>
                <a:lnTo>
                  <a:pt x="5350" y="8856"/>
                </a:lnTo>
                <a:lnTo>
                  <a:pt x="5350" y="8867"/>
                </a:lnTo>
                <a:lnTo>
                  <a:pt x="5350" y="8879"/>
                </a:lnTo>
                <a:lnTo>
                  <a:pt x="5348" y="8892"/>
                </a:lnTo>
                <a:lnTo>
                  <a:pt x="5346" y="8905"/>
                </a:lnTo>
                <a:lnTo>
                  <a:pt x="5376" y="8909"/>
                </a:lnTo>
                <a:lnTo>
                  <a:pt x="5410" y="8912"/>
                </a:lnTo>
                <a:lnTo>
                  <a:pt x="5429" y="8913"/>
                </a:lnTo>
                <a:lnTo>
                  <a:pt x="5447" y="8913"/>
                </a:lnTo>
                <a:lnTo>
                  <a:pt x="5465" y="8913"/>
                </a:lnTo>
                <a:lnTo>
                  <a:pt x="5484" y="8911"/>
                </a:lnTo>
                <a:lnTo>
                  <a:pt x="5501" y="8909"/>
                </a:lnTo>
                <a:lnTo>
                  <a:pt x="5517" y="8904"/>
                </a:lnTo>
                <a:lnTo>
                  <a:pt x="5524" y="8902"/>
                </a:lnTo>
                <a:lnTo>
                  <a:pt x="5531" y="8899"/>
                </a:lnTo>
                <a:lnTo>
                  <a:pt x="5537" y="8895"/>
                </a:lnTo>
                <a:lnTo>
                  <a:pt x="5543" y="8892"/>
                </a:lnTo>
                <a:lnTo>
                  <a:pt x="5549" y="8887"/>
                </a:lnTo>
                <a:lnTo>
                  <a:pt x="5554" y="8881"/>
                </a:lnTo>
                <a:lnTo>
                  <a:pt x="5558" y="8876"/>
                </a:lnTo>
                <a:lnTo>
                  <a:pt x="5561" y="8870"/>
                </a:lnTo>
                <a:lnTo>
                  <a:pt x="5564" y="8864"/>
                </a:lnTo>
                <a:lnTo>
                  <a:pt x="5566" y="8857"/>
                </a:lnTo>
                <a:lnTo>
                  <a:pt x="5567" y="8849"/>
                </a:lnTo>
                <a:lnTo>
                  <a:pt x="5568" y="8841"/>
                </a:lnTo>
                <a:lnTo>
                  <a:pt x="5587" y="8842"/>
                </a:lnTo>
                <a:lnTo>
                  <a:pt x="5603" y="8844"/>
                </a:lnTo>
                <a:lnTo>
                  <a:pt x="5619" y="8848"/>
                </a:lnTo>
                <a:lnTo>
                  <a:pt x="5631" y="8854"/>
                </a:lnTo>
                <a:lnTo>
                  <a:pt x="5642" y="8860"/>
                </a:lnTo>
                <a:lnTo>
                  <a:pt x="5651" y="8868"/>
                </a:lnTo>
                <a:lnTo>
                  <a:pt x="5658" y="8877"/>
                </a:lnTo>
                <a:lnTo>
                  <a:pt x="5664" y="8888"/>
                </a:lnTo>
                <a:lnTo>
                  <a:pt x="5669" y="8899"/>
                </a:lnTo>
                <a:lnTo>
                  <a:pt x="5673" y="8910"/>
                </a:lnTo>
                <a:lnTo>
                  <a:pt x="5675" y="8922"/>
                </a:lnTo>
                <a:lnTo>
                  <a:pt x="5676" y="8935"/>
                </a:lnTo>
                <a:lnTo>
                  <a:pt x="5677" y="8948"/>
                </a:lnTo>
                <a:lnTo>
                  <a:pt x="5677" y="8962"/>
                </a:lnTo>
                <a:lnTo>
                  <a:pt x="5676" y="8975"/>
                </a:lnTo>
                <a:lnTo>
                  <a:pt x="5674" y="8989"/>
                </a:lnTo>
                <a:lnTo>
                  <a:pt x="5693" y="8988"/>
                </a:lnTo>
                <a:lnTo>
                  <a:pt x="5710" y="8987"/>
                </a:lnTo>
                <a:lnTo>
                  <a:pt x="5725" y="8984"/>
                </a:lnTo>
                <a:lnTo>
                  <a:pt x="5740" y="8980"/>
                </a:lnTo>
                <a:lnTo>
                  <a:pt x="5752" y="8975"/>
                </a:lnTo>
                <a:lnTo>
                  <a:pt x="5762" y="8970"/>
                </a:lnTo>
                <a:lnTo>
                  <a:pt x="5771" y="8963"/>
                </a:lnTo>
                <a:lnTo>
                  <a:pt x="5778" y="8956"/>
                </a:lnTo>
                <a:lnTo>
                  <a:pt x="5785" y="8949"/>
                </a:lnTo>
                <a:lnTo>
                  <a:pt x="5790" y="8940"/>
                </a:lnTo>
                <a:lnTo>
                  <a:pt x="5795" y="8932"/>
                </a:lnTo>
                <a:lnTo>
                  <a:pt x="5798" y="8923"/>
                </a:lnTo>
                <a:lnTo>
                  <a:pt x="5801" y="8913"/>
                </a:lnTo>
                <a:lnTo>
                  <a:pt x="5803" y="8904"/>
                </a:lnTo>
                <a:lnTo>
                  <a:pt x="5804" y="8894"/>
                </a:lnTo>
                <a:lnTo>
                  <a:pt x="5805" y="8884"/>
                </a:lnTo>
                <a:lnTo>
                  <a:pt x="5807" y="8844"/>
                </a:lnTo>
                <a:lnTo>
                  <a:pt x="5809" y="8811"/>
                </a:lnTo>
                <a:lnTo>
                  <a:pt x="5811" y="8804"/>
                </a:lnTo>
                <a:lnTo>
                  <a:pt x="5813" y="8797"/>
                </a:lnTo>
                <a:lnTo>
                  <a:pt x="5816" y="8792"/>
                </a:lnTo>
                <a:lnTo>
                  <a:pt x="5819" y="8787"/>
                </a:lnTo>
                <a:lnTo>
                  <a:pt x="5823" y="8783"/>
                </a:lnTo>
                <a:lnTo>
                  <a:pt x="5829" y="8780"/>
                </a:lnTo>
                <a:lnTo>
                  <a:pt x="5835" y="8779"/>
                </a:lnTo>
                <a:lnTo>
                  <a:pt x="5843" y="8778"/>
                </a:lnTo>
                <a:lnTo>
                  <a:pt x="5846" y="8766"/>
                </a:lnTo>
                <a:lnTo>
                  <a:pt x="5850" y="8758"/>
                </a:lnTo>
                <a:lnTo>
                  <a:pt x="5852" y="8753"/>
                </a:lnTo>
                <a:lnTo>
                  <a:pt x="5855" y="8750"/>
                </a:lnTo>
                <a:lnTo>
                  <a:pt x="5857" y="8748"/>
                </a:lnTo>
                <a:lnTo>
                  <a:pt x="5861" y="8747"/>
                </a:lnTo>
                <a:lnTo>
                  <a:pt x="5864" y="8746"/>
                </a:lnTo>
                <a:lnTo>
                  <a:pt x="5866" y="8746"/>
                </a:lnTo>
                <a:lnTo>
                  <a:pt x="5870" y="8746"/>
                </a:lnTo>
                <a:lnTo>
                  <a:pt x="5873" y="8747"/>
                </a:lnTo>
                <a:lnTo>
                  <a:pt x="5879" y="8752"/>
                </a:lnTo>
                <a:lnTo>
                  <a:pt x="5887" y="8760"/>
                </a:lnTo>
                <a:lnTo>
                  <a:pt x="5895" y="8763"/>
                </a:lnTo>
                <a:lnTo>
                  <a:pt x="5903" y="8765"/>
                </a:lnTo>
                <a:lnTo>
                  <a:pt x="5910" y="8764"/>
                </a:lnTo>
                <a:lnTo>
                  <a:pt x="5918" y="8763"/>
                </a:lnTo>
                <a:lnTo>
                  <a:pt x="5925" y="8760"/>
                </a:lnTo>
                <a:lnTo>
                  <a:pt x="5932" y="8754"/>
                </a:lnTo>
                <a:lnTo>
                  <a:pt x="5939" y="8749"/>
                </a:lnTo>
                <a:lnTo>
                  <a:pt x="5945" y="8743"/>
                </a:lnTo>
                <a:lnTo>
                  <a:pt x="5959" y="8730"/>
                </a:lnTo>
                <a:lnTo>
                  <a:pt x="5972" y="8717"/>
                </a:lnTo>
                <a:lnTo>
                  <a:pt x="5986" y="8704"/>
                </a:lnTo>
                <a:lnTo>
                  <a:pt x="5999" y="8694"/>
                </a:lnTo>
                <a:lnTo>
                  <a:pt x="6011" y="8687"/>
                </a:lnTo>
                <a:lnTo>
                  <a:pt x="6028" y="8677"/>
                </a:lnTo>
                <a:lnTo>
                  <a:pt x="6045" y="8668"/>
                </a:lnTo>
                <a:lnTo>
                  <a:pt x="6055" y="8665"/>
                </a:lnTo>
                <a:lnTo>
                  <a:pt x="6073" y="8674"/>
                </a:lnTo>
                <a:lnTo>
                  <a:pt x="6084" y="8680"/>
                </a:lnTo>
                <a:lnTo>
                  <a:pt x="6088" y="8683"/>
                </a:lnTo>
                <a:lnTo>
                  <a:pt x="6092" y="8686"/>
                </a:lnTo>
                <a:lnTo>
                  <a:pt x="6096" y="8691"/>
                </a:lnTo>
                <a:lnTo>
                  <a:pt x="6100" y="8697"/>
                </a:lnTo>
                <a:lnTo>
                  <a:pt x="6112" y="8697"/>
                </a:lnTo>
                <a:lnTo>
                  <a:pt x="6123" y="8696"/>
                </a:lnTo>
                <a:lnTo>
                  <a:pt x="6133" y="8694"/>
                </a:lnTo>
                <a:lnTo>
                  <a:pt x="6144" y="8691"/>
                </a:lnTo>
                <a:lnTo>
                  <a:pt x="6166" y="8685"/>
                </a:lnTo>
                <a:lnTo>
                  <a:pt x="6187" y="8676"/>
                </a:lnTo>
                <a:lnTo>
                  <a:pt x="6207" y="8666"/>
                </a:lnTo>
                <a:lnTo>
                  <a:pt x="6228" y="8655"/>
                </a:lnTo>
                <a:lnTo>
                  <a:pt x="6248" y="8643"/>
                </a:lnTo>
                <a:lnTo>
                  <a:pt x="6267" y="8629"/>
                </a:lnTo>
                <a:lnTo>
                  <a:pt x="6274" y="8630"/>
                </a:lnTo>
                <a:lnTo>
                  <a:pt x="6280" y="8633"/>
                </a:lnTo>
                <a:lnTo>
                  <a:pt x="6286" y="8636"/>
                </a:lnTo>
                <a:lnTo>
                  <a:pt x="6291" y="8640"/>
                </a:lnTo>
                <a:lnTo>
                  <a:pt x="6296" y="8645"/>
                </a:lnTo>
                <a:lnTo>
                  <a:pt x="6301" y="8649"/>
                </a:lnTo>
                <a:lnTo>
                  <a:pt x="6305" y="8655"/>
                </a:lnTo>
                <a:lnTo>
                  <a:pt x="6309" y="8661"/>
                </a:lnTo>
                <a:lnTo>
                  <a:pt x="6324" y="8689"/>
                </a:lnTo>
                <a:lnTo>
                  <a:pt x="6339" y="8721"/>
                </a:lnTo>
                <a:lnTo>
                  <a:pt x="6347" y="8737"/>
                </a:lnTo>
                <a:lnTo>
                  <a:pt x="6357" y="8753"/>
                </a:lnTo>
                <a:lnTo>
                  <a:pt x="6362" y="8761"/>
                </a:lnTo>
                <a:lnTo>
                  <a:pt x="6369" y="8768"/>
                </a:lnTo>
                <a:lnTo>
                  <a:pt x="6375" y="8775"/>
                </a:lnTo>
                <a:lnTo>
                  <a:pt x="6382" y="8782"/>
                </a:lnTo>
                <a:lnTo>
                  <a:pt x="6389" y="8788"/>
                </a:lnTo>
                <a:lnTo>
                  <a:pt x="6397" y="8793"/>
                </a:lnTo>
                <a:lnTo>
                  <a:pt x="6406" y="8798"/>
                </a:lnTo>
                <a:lnTo>
                  <a:pt x="6415" y="8803"/>
                </a:lnTo>
                <a:lnTo>
                  <a:pt x="6425" y="8807"/>
                </a:lnTo>
                <a:lnTo>
                  <a:pt x="6436" y="8810"/>
                </a:lnTo>
                <a:lnTo>
                  <a:pt x="6448" y="8812"/>
                </a:lnTo>
                <a:lnTo>
                  <a:pt x="6461" y="8813"/>
                </a:lnTo>
                <a:lnTo>
                  <a:pt x="6486" y="8815"/>
                </a:lnTo>
                <a:lnTo>
                  <a:pt x="6516" y="8818"/>
                </a:lnTo>
                <a:lnTo>
                  <a:pt x="6549" y="8820"/>
                </a:lnTo>
                <a:lnTo>
                  <a:pt x="6584" y="8820"/>
                </a:lnTo>
                <a:lnTo>
                  <a:pt x="6601" y="8820"/>
                </a:lnTo>
                <a:lnTo>
                  <a:pt x="6619" y="8820"/>
                </a:lnTo>
                <a:lnTo>
                  <a:pt x="6635" y="8818"/>
                </a:lnTo>
                <a:lnTo>
                  <a:pt x="6651" y="8816"/>
                </a:lnTo>
                <a:lnTo>
                  <a:pt x="6665" y="8814"/>
                </a:lnTo>
                <a:lnTo>
                  <a:pt x="6679" y="8810"/>
                </a:lnTo>
                <a:lnTo>
                  <a:pt x="6690" y="8805"/>
                </a:lnTo>
                <a:lnTo>
                  <a:pt x="6701" y="8799"/>
                </a:lnTo>
                <a:lnTo>
                  <a:pt x="6703" y="8798"/>
                </a:lnTo>
                <a:lnTo>
                  <a:pt x="6707" y="8798"/>
                </a:lnTo>
                <a:lnTo>
                  <a:pt x="6710" y="8799"/>
                </a:lnTo>
                <a:lnTo>
                  <a:pt x="6715" y="8801"/>
                </a:lnTo>
                <a:lnTo>
                  <a:pt x="6724" y="8806"/>
                </a:lnTo>
                <a:lnTo>
                  <a:pt x="6734" y="8812"/>
                </a:lnTo>
                <a:lnTo>
                  <a:pt x="6745" y="8820"/>
                </a:lnTo>
                <a:lnTo>
                  <a:pt x="6754" y="8829"/>
                </a:lnTo>
                <a:lnTo>
                  <a:pt x="6760" y="8837"/>
                </a:lnTo>
                <a:lnTo>
                  <a:pt x="6764" y="8843"/>
                </a:lnTo>
                <a:lnTo>
                  <a:pt x="6772" y="8844"/>
                </a:lnTo>
                <a:lnTo>
                  <a:pt x="6779" y="8845"/>
                </a:lnTo>
                <a:lnTo>
                  <a:pt x="6785" y="8847"/>
                </a:lnTo>
                <a:lnTo>
                  <a:pt x="6791" y="8850"/>
                </a:lnTo>
                <a:lnTo>
                  <a:pt x="6795" y="8853"/>
                </a:lnTo>
                <a:lnTo>
                  <a:pt x="6799" y="8856"/>
                </a:lnTo>
                <a:lnTo>
                  <a:pt x="6802" y="8860"/>
                </a:lnTo>
                <a:lnTo>
                  <a:pt x="6805" y="8864"/>
                </a:lnTo>
                <a:lnTo>
                  <a:pt x="6811" y="8871"/>
                </a:lnTo>
                <a:lnTo>
                  <a:pt x="6815" y="8878"/>
                </a:lnTo>
                <a:lnTo>
                  <a:pt x="6818" y="8880"/>
                </a:lnTo>
                <a:lnTo>
                  <a:pt x="6821" y="8882"/>
                </a:lnTo>
                <a:lnTo>
                  <a:pt x="6824" y="8884"/>
                </a:lnTo>
                <a:lnTo>
                  <a:pt x="6827" y="8884"/>
                </a:lnTo>
                <a:lnTo>
                  <a:pt x="6829" y="8888"/>
                </a:lnTo>
                <a:lnTo>
                  <a:pt x="6831" y="8890"/>
                </a:lnTo>
                <a:lnTo>
                  <a:pt x="6834" y="8893"/>
                </a:lnTo>
                <a:lnTo>
                  <a:pt x="6836" y="8894"/>
                </a:lnTo>
                <a:lnTo>
                  <a:pt x="6839" y="8895"/>
                </a:lnTo>
                <a:lnTo>
                  <a:pt x="6842" y="8896"/>
                </a:lnTo>
                <a:lnTo>
                  <a:pt x="6845" y="8896"/>
                </a:lnTo>
                <a:lnTo>
                  <a:pt x="6848" y="8895"/>
                </a:lnTo>
                <a:lnTo>
                  <a:pt x="6850" y="8898"/>
                </a:lnTo>
                <a:lnTo>
                  <a:pt x="6852" y="8901"/>
                </a:lnTo>
                <a:lnTo>
                  <a:pt x="6855" y="8904"/>
                </a:lnTo>
                <a:lnTo>
                  <a:pt x="6858" y="8907"/>
                </a:lnTo>
                <a:lnTo>
                  <a:pt x="6866" y="8913"/>
                </a:lnTo>
                <a:lnTo>
                  <a:pt x="6876" y="8919"/>
                </a:lnTo>
                <a:lnTo>
                  <a:pt x="6886" y="8928"/>
                </a:lnTo>
                <a:lnTo>
                  <a:pt x="6895" y="8938"/>
                </a:lnTo>
                <a:lnTo>
                  <a:pt x="6900" y="8944"/>
                </a:lnTo>
                <a:lnTo>
                  <a:pt x="6905" y="8951"/>
                </a:lnTo>
                <a:lnTo>
                  <a:pt x="6909" y="8959"/>
                </a:lnTo>
                <a:lnTo>
                  <a:pt x="6913" y="8968"/>
                </a:lnTo>
                <a:lnTo>
                  <a:pt x="6913" y="8972"/>
                </a:lnTo>
                <a:lnTo>
                  <a:pt x="6914" y="8976"/>
                </a:lnTo>
                <a:lnTo>
                  <a:pt x="6915" y="8980"/>
                </a:lnTo>
                <a:lnTo>
                  <a:pt x="6917" y="8984"/>
                </a:lnTo>
                <a:lnTo>
                  <a:pt x="6921" y="8990"/>
                </a:lnTo>
                <a:lnTo>
                  <a:pt x="6927" y="8996"/>
                </a:lnTo>
                <a:lnTo>
                  <a:pt x="6935" y="9002"/>
                </a:lnTo>
                <a:lnTo>
                  <a:pt x="6943" y="9007"/>
                </a:lnTo>
                <a:lnTo>
                  <a:pt x="6951" y="9012"/>
                </a:lnTo>
                <a:lnTo>
                  <a:pt x="6960" y="9017"/>
                </a:lnTo>
                <a:lnTo>
                  <a:pt x="6977" y="9025"/>
                </a:lnTo>
                <a:lnTo>
                  <a:pt x="6992" y="9034"/>
                </a:lnTo>
                <a:lnTo>
                  <a:pt x="6999" y="9038"/>
                </a:lnTo>
                <a:lnTo>
                  <a:pt x="7004" y="9043"/>
                </a:lnTo>
                <a:lnTo>
                  <a:pt x="7007" y="9048"/>
                </a:lnTo>
                <a:lnTo>
                  <a:pt x="7008" y="9053"/>
                </a:lnTo>
                <a:lnTo>
                  <a:pt x="7019" y="9059"/>
                </a:lnTo>
                <a:lnTo>
                  <a:pt x="7027" y="9065"/>
                </a:lnTo>
                <a:lnTo>
                  <a:pt x="7032" y="9070"/>
                </a:lnTo>
                <a:lnTo>
                  <a:pt x="7035" y="9075"/>
                </a:lnTo>
                <a:lnTo>
                  <a:pt x="7036" y="9079"/>
                </a:lnTo>
                <a:lnTo>
                  <a:pt x="7036" y="9083"/>
                </a:lnTo>
                <a:lnTo>
                  <a:pt x="7036" y="9088"/>
                </a:lnTo>
                <a:lnTo>
                  <a:pt x="7035" y="9091"/>
                </a:lnTo>
                <a:lnTo>
                  <a:pt x="7035" y="9095"/>
                </a:lnTo>
                <a:lnTo>
                  <a:pt x="7035" y="9099"/>
                </a:lnTo>
                <a:lnTo>
                  <a:pt x="7038" y="9104"/>
                </a:lnTo>
                <a:lnTo>
                  <a:pt x="7042" y="9108"/>
                </a:lnTo>
                <a:lnTo>
                  <a:pt x="7048" y="9112"/>
                </a:lnTo>
                <a:lnTo>
                  <a:pt x="7058" y="9117"/>
                </a:lnTo>
                <a:lnTo>
                  <a:pt x="7071" y="9122"/>
                </a:lnTo>
                <a:lnTo>
                  <a:pt x="7088" y="9128"/>
                </a:lnTo>
                <a:lnTo>
                  <a:pt x="7110" y="9136"/>
                </a:lnTo>
                <a:lnTo>
                  <a:pt x="7132" y="9144"/>
                </a:lnTo>
                <a:lnTo>
                  <a:pt x="7153" y="9152"/>
                </a:lnTo>
                <a:lnTo>
                  <a:pt x="7174" y="9160"/>
                </a:lnTo>
                <a:lnTo>
                  <a:pt x="7195" y="9167"/>
                </a:lnTo>
                <a:lnTo>
                  <a:pt x="7216" y="9173"/>
                </a:lnTo>
                <a:lnTo>
                  <a:pt x="7239" y="9177"/>
                </a:lnTo>
                <a:lnTo>
                  <a:pt x="7262" y="9180"/>
                </a:lnTo>
                <a:lnTo>
                  <a:pt x="7264" y="9173"/>
                </a:lnTo>
                <a:lnTo>
                  <a:pt x="7266" y="9168"/>
                </a:lnTo>
                <a:lnTo>
                  <a:pt x="7269" y="9163"/>
                </a:lnTo>
                <a:lnTo>
                  <a:pt x="7271" y="9159"/>
                </a:lnTo>
                <a:lnTo>
                  <a:pt x="7274" y="9156"/>
                </a:lnTo>
                <a:lnTo>
                  <a:pt x="7277" y="9153"/>
                </a:lnTo>
                <a:lnTo>
                  <a:pt x="7281" y="9151"/>
                </a:lnTo>
                <a:lnTo>
                  <a:pt x="7284" y="9150"/>
                </a:lnTo>
                <a:lnTo>
                  <a:pt x="7291" y="9149"/>
                </a:lnTo>
                <a:lnTo>
                  <a:pt x="7299" y="9151"/>
                </a:lnTo>
                <a:lnTo>
                  <a:pt x="7307" y="9153"/>
                </a:lnTo>
                <a:lnTo>
                  <a:pt x="7315" y="9157"/>
                </a:lnTo>
                <a:lnTo>
                  <a:pt x="7332" y="9168"/>
                </a:lnTo>
                <a:lnTo>
                  <a:pt x="7349" y="9179"/>
                </a:lnTo>
                <a:lnTo>
                  <a:pt x="7357" y="9183"/>
                </a:lnTo>
                <a:lnTo>
                  <a:pt x="7364" y="9187"/>
                </a:lnTo>
                <a:lnTo>
                  <a:pt x="7372" y="9190"/>
                </a:lnTo>
                <a:lnTo>
                  <a:pt x="7379" y="9191"/>
                </a:lnTo>
                <a:lnTo>
                  <a:pt x="7385" y="9201"/>
                </a:lnTo>
                <a:lnTo>
                  <a:pt x="7390" y="9207"/>
                </a:lnTo>
                <a:lnTo>
                  <a:pt x="7395" y="9210"/>
                </a:lnTo>
                <a:lnTo>
                  <a:pt x="7400" y="9212"/>
                </a:lnTo>
                <a:lnTo>
                  <a:pt x="7404" y="9213"/>
                </a:lnTo>
                <a:lnTo>
                  <a:pt x="7409" y="9216"/>
                </a:lnTo>
                <a:lnTo>
                  <a:pt x="7414" y="9222"/>
                </a:lnTo>
                <a:lnTo>
                  <a:pt x="7420" y="9233"/>
                </a:lnTo>
                <a:lnTo>
                  <a:pt x="7437" y="9247"/>
                </a:lnTo>
                <a:lnTo>
                  <a:pt x="7450" y="9258"/>
                </a:lnTo>
                <a:lnTo>
                  <a:pt x="7460" y="9269"/>
                </a:lnTo>
                <a:lnTo>
                  <a:pt x="7467" y="9277"/>
                </a:lnTo>
                <a:lnTo>
                  <a:pt x="7472" y="9284"/>
                </a:lnTo>
                <a:lnTo>
                  <a:pt x="7475" y="9290"/>
                </a:lnTo>
                <a:lnTo>
                  <a:pt x="7477" y="9295"/>
                </a:lnTo>
                <a:lnTo>
                  <a:pt x="7478" y="9300"/>
                </a:lnTo>
                <a:lnTo>
                  <a:pt x="7478" y="9310"/>
                </a:lnTo>
                <a:lnTo>
                  <a:pt x="7479" y="9324"/>
                </a:lnTo>
                <a:lnTo>
                  <a:pt x="7480" y="9332"/>
                </a:lnTo>
                <a:lnTo>
                  <a:pt x="7483" y="9343"/>
                </a:lnTo>
                <a:lnTo>
                  <a:pt x="7487" y="9355"/>
                </a:lnTo>
                <a:lnTo>
                  <a:pt x="7494" y="9370"/>
                </a:lnTo>
                <a:lnTo>
                  <a:pt x="7503" y="9377"/>
                </a:lnTo>
                <a:lnTo>
                  <a:pt x="7511" y="9385"/>
                </a:lnTo>
                <a:lnTo>
                  <a:pt x="7518" y="9396"/>
                </a:lnTo>
                <a:lnTo>
                  <a:pt x="7524" y="9406"/>
                </a:lnTo>
                <a:lnTo>
                  <a:pt x="7530" y="9418"/>
                </a:lnTo>
                <a:lnTo>
                  <a:pt x="7535" y="9431"/>
                </a:lnTo>
                <a:lnTo>
                  <a:pt x="7540" y="9445"/>
                </a:lnTo>
                <a:lnTo>
                  <a:pt x="7544" y="9459"/>
                </a:lnTo>
                <a:lnTo>
                  <a:pt x="7552" y="9488"/>
                </a:lnTo>
                <a:lnTo>
                  <a:pt x="7558" y="9519"/>
                </a:lnTo>
                <a:lnTo>
                  <a:pt x="7564" y="9546"/>
                </a:lnTo>
                <a:lnTo>
                  <a:pt x="7569" y="9571"/>
                </a:lnTo>
                <a:lnTo>
                  <a:pt x="7565" y="9572"/>
                </a:lnTo>
                <a:lnTo>
                  <a:pt x="7562" y="9573"/>
                </a:lnTo>
                <a:lnTo>
                  <a:pt x="7560" y="9575"/>
                </a:lnTo>
                <a:lnTo>
                  <a:pt x="7557" y="9578"/>
                </a:lnTo>
                <a:lnTo>
                  <a:pt x="7554" y="9585"/>
                </a:lnTo>
                <a:lnTo>
                  <a:pt x="7551" y="9594"/>
                </a:lnTo>
                <a:lnTo>
                  <a:pt x="7549" y="9605"/>
                </a:lnTo>
                <a:lnTo>
                  <a:pt x="7549" y="9618"/>
                </a:lnTo>
                <a:lnTo>
                  <a:pt x="7549" y="9631"/>
                </a:lnTo>
                <a:lnTo>
                  <a:pt x="7549" y="9646"/>
                </a:lnTo>
                <a:lnTo>
                  <a:pt x="7551" y="9674"/>
                </a:lnTo>
                <a:lnTo>
                  <a:pt x="7554" y="9700"/>
                </a:lnTo>
                <a:lnTo>
                  <a:pt x="7557" y="9719"/>
                </a:lnTo>
                <a:lnTo>
                  <a:pt x="7558" y="9730"/>
                </a:lnTo>
                <a:lnTo>
                  <a:pt x="7554" y="9730"/>
                </a:lnTo>
                <a:lnTo>
                  <a:pt x="7552" y="9731"/>
                </a:lnTo>
                <a:lnTo>
                  <a:pt x="7550" y="9732"/>
                </a:lnTo>
                <a:lnTo>
                  <a:pt x="7550" y="9733"/>
                </a:lnTo>
                <a:lnTo>
                  <a:pt x="7552" y="9737"/>
                </a:lnTo>
                <a:lnTo>
                  <a:pt x="7557" y="9742"/>
                </a:lnTo>
                <a:lnTo>
                  <a:pt x="7564" y="9747"/>
                </a:lnTo>
                <a:lnTo>
                  <a:pt x="7574" y="9752"/>
                </a:lnTo>
                <a:lnTo>
                  <a:pt x="7586" y="9756"/>
                </a:lnTo>
                <a:lnTo>
                  <a:pt x="7599" y="9760"/>
                </a:lnTo>
                <a:lnTo>
                  <a:pt x="7612" y="9762"/>
                </a:lnTo>
                <a:lnTo>
                  <a:pt x="7626" y="9763"/>
                </a:lnTo>
                <a:lnTo>
                  <a:pt x="7632" y="9763"/>
                </a:lnTo>
                <a:lnTo>
                  <a:pt x="7639" y="9762"/>
                </a:lnTo>
                <a:lnTo>
                  <a:pt x="7644" y="9760"/>
                </a:lnTo>
                <a:lnTo>
                  <a:pt x="7650" y="9758"/>
                </a:lnTo>
                <a:lnTo>
                  <a:pt x="7655" y="9755"/>
                </a:lnTo>
                <a:lnTo>
                  <a:pt x="7660" y="9751"/>
                </a:lnTo>
                <a:lnTo>
                  <a:pt x="7664" y="9746"/>
                </a:lnTo>
                <a:lnTo>
                  <a:pt x="7668" y="9741"/>
                </a:lnTo>
                <a:lnTo>
                  <a:pt x="7671" y="9734"/>
                </a:lnTo>
                <a:lnTo>
                  <a:pt x="7673" y="9727"/>
                </a:lnTo>
                <a:lnTo>
                  <a:pt x="7674" y="9719"/>
                </a:lnTo>
                <a:lnTo>
                  <a:pt x="7675" y="9709"/>
                </a:lnTo>
                <a:lnTo>
                  <a:pt x="7687" y="9712"/>
                </a:lnTo>
                <a:lnTo>
                  <a:pt x="7698" y="9716"/>
                </a:lnTo>
                <a:lnTo>
                  <a:pt x="7710" y="9721"/>
                </a:lnTo>
                <a:lnTo>
                  <a:pt x="7720" y="9727"/>
                </a:lnTo>
                <a:lnTo>
                  <a:pt x="7741" y="9740"/>
                </a:lnTo>
                <a:lnTo>
                  <a:pt x="7761" y="9755"/>
                </a:lnTo>
                <a:lnTo>
                  <a:pt x="7780" y="9770"/>
                </a:lnTo>
                <a:lnTo>
                  <a:pt x="7798" y="9782"/>
                </a:lnTo>
                <a:lnTo>
                  <a:pt x="7806" y="9787"/>
                </a:lnTo>
                <a:lnTo>
                  <a:pt x="7815" y="9791"/>
                </a:lnTo>
                <a:lnTo>
                  <a:pt x="7824" y="9793"/>
                </a:lnTo>
                <a:lnTo>
                  <a:pt x="7833" y="9794"/>
                </a:lnTo>
                <a:lnTo>
                  <a:pt x="7831" y="9800"/>
                </a:lnTo>
                <a:lnTo>
                  <a:pt x="7829" y="9805"/>
                </a:lnTo>
                <a:lnTo>
                  <a:pt x="7828" y="9811"/>
                </a:lnTo>
                <a:lnTo>
                  <a:pt x="7828" y="9816"/>
                </a:lnTo>
                <a:lnTo>
                  <a:pt x="7829" y="9822"/>
                </a:lnTo>
                <a:lnTo>
                  <a:pt x="7829" y="9827"/>
                </a:lnTo>
                <a:lnTo>
                  <a:pt x="7831" y="9832"/>
                </a:lnTo>
                <a:lnTo>
                  <a:pt x="7833" y="9836"/>
                </a:lnTo>
                <a:lnTo>
                  <a:pt x="7838" y="9844"/>
                </a:lnTo>
                <a:lnTo>
                  <a:pt x="7844" y="9851"/>
                </a:lnTo>
                <a:lnTo>
                  <a:pt x="7851" y="9857"/>
                </a:lnTo>
                <a:lnTo>
                  <a:pt x="7859" y="9860"/>
                </a:lnTo>
                <a:lnTo>
                  <a:pt x="7863" y="9862"/>
                </a:lnTo>
                <a:lnTo>
                  <a:pt x="7868" y="9862"/>
                </a:lnTo>
                <a:lnTo>
                  <a:pt x="7872" y="9862"/>
                </a:lnTo>
                <a:lnTo>
                  <a:pt x="7877" y="9862"/>
                </a:lnTo>
                <a:lnTo>
                  <a:pt x="7881" y="9861"/>
                </a:lnTo>
                <a:lnTo>
                  <a:pt x="7885" y="9859"/>
                </a:lnTo>
                <a:lnTo>
                  <a:pt x="7889" y="9857"/>
                </a:lnTo>
                <a:lnTo>
                  <a:pt x="7892" y="9854"/>
                </a:lnTo>
                <a:lnTo>
                  <a:pt x="7895" y="9850"/>
                </a:lnTo>
                <a:lnTo>
                  <a:pt x="7898" y="9846"/>
                </a:lnTo>
                <a:lnTo>
                  <a:pt x="7901" y="9841"/>
                </a:lnTo>
                <a:lnTo>
                  <a:pt x="7903" y="9836"/>
                </a:lnTo>
                <a:lnTo>
                  <a:pt x="7905" y="9829"/>
                </a:lnTo>
                <a:lnTo>
                  <a:pt x="7906" y="9822"/>
                </a:lnTo>
                <a:lnTo>
                  <a:pt x="7907" y="9814"/>
                </a:lnTo>
                <a:lnTo>
                  <a:pt x="7907" y="9805"/>
                </a:lnTo>
                <a:lnTo>
                  <a:pt x="7916" y="9806"/>
                </a:lnTo>
                <a:lnTo>
                  <a:pt x="7925" y="9808"/>
                </a:lnTo>
                <a:lnTo>
                  <a:pt x="7932" y="9811"/>
                </a:lnTo>
                <a:lnTo>
                  <a:pt x="7939" y="9815"/>
                </a:lnTo>
                <a:lnTo>
                  <a:pt x="7945" y="9819"/>
                </a:lnTo>
                <a:lnTo>
                  <a:pt x="7951" y="9824"/>
                </a:lnTo>
                <a:lnTo>
                  <a:pt x="7956" y="9829"/>
                </a:lnTo>
                <a:lnTo>
                  <a:pt x="7961" y="9835"/>
                </a:lnTo>
                <a:lnTo>
                  <a:pt x="7965" y="9841"/>
                </a:lnTo>
                <a:lnTo>
                  <a:pt x="7968" y="9848"/>
                </a:lnTo>
                <a:lnTo>
                  <a:pt x="7971" y="9855"/>
                </a:lnTo>
                <a:lnTo>
                  <a:pt x="7974" y="9862"/>
                </a:lnTo>
                <a:lnTo>
                  <a:pt x="7978" y="9878"/>
                </a:lnTo>
                <a:lnTo>
                  <a:pt x="7980" y="9896"/>
                </a:lnTo>
                <a:lnTo>
                  <a:pt x="7981" y="9913"/>
                </a:lnTo>
                <a:lnTo>
                  <a:pt x="7981" y="9930"/>
                </a:lnTo>
                <a:lnTo>
                  <a:pt x="7980" y="9947"/>
                </a:lnTo>
                <a:lnTo>
                  <a:pt x="7979" y="9963"/>
                </a:lnTo>
                <a:lnTo>
                  <a:pt x="7975" y="9993"/>
                </a:lnTo>
                <a:lnTo>
                  <a:pt x="7970" y="10016"/>
                </a:lnTo>
                <a:lnTo>
                  <a:pt x="7985" y="10015"/>
                </a:lnTo>
                <a:lnTo>
                  <a:pt x="7998" y="10013"/>
                </a:lnTo>
                <a:lnTo>
                  <a:pt x="8011" y="10010"/>
                </a:lnTo>
                <a:lnTo>
                  <a:pt x="8022" y="10007"/>
                </a:lnTo>
                <a:lnTo>
                  <a:pt x="8041" y="9998"/>
                </a:lnTo>
                <a:lnTo>
                  <a:pt x="8059" y="9987"/>
                </a:lnTo>
                <a:lnTo>
                  <a:pt x="8068" y="9982"/>
                </a:lnTo>
                <a:lnTo>
                  <a:pt x="8077" y="9977"/>
                </a:lnTo>
                <a:lnTo>
                  <a:pt x="8086" y="9972"/>
                </a:lnTo>
                <a:lnTo>
                  <a:pt x="8096" y="9968"/>
                </a:lnTo>
                <a:lnTo>
                  <a:pt x="8107" y="9965"/>
                </a:lnTo>
                <a:lnTo>
                  <a:pt x="8120" y="9962"/>
                </a:lnTo>
                <a:lnTo>
                  <a:pt x="8134" y="9961"/>
                </a:lnTo>
                <a:lnTo>
                  <a:pt x="8149" y="9961"/>
                </a:lnTo>
                <a:lnTo>
                  <a:pt x="8186" y="9966"/>
                </a:lnTo>
                <a:lnTo>
                  <a:pt x="8219" y="9972"/>
                </a:lnTo>
                <a:lnTo>
                  <a:pt x="8227" y="9973"/>
                </a:lnTo>
                <a:lnTo>
                  <a:pt x="8234" y="9972"/>
                </a:lnTo>
                <a:lnTo>
                  <a:pt x="8241" y="9971"/>
                </a:lnTo>
                <a:lnTo>
                  <a:pt x="8247" y="9968"/>
                </a:lnTo>
                <a:lnTo>
                  <a:pt x="8254" y="9964"/>
                </a:lnTo>
                <a:lnTo>
                  <a:pt x="8259" y="9959"/>
                </a:lnTo>
                <a:lnTo>
                  <a:pt x="8264" y="9951"/>
                </a:lnTo>
                <a:lnTo>
                  <a:pt x="8267" y="9942"/>
                </a:lnTo>
                <a:lnTo>
                  <a:pt x="8289" y="9949"/>
                </a:lnTo>
                <a:lnTo>
                  <a:pt x="8309" y="9957"/>
                </a:lnTo>
                <a:lnTo>
                  <a:pt x="8327" y="9964"/>
                </a:lnTo>
                <a:lnTo>
                  <a:pt x="8344" y="9972"/>
                </a:lnTo>
                <a:lnTo>
                  <a:pt x="8361" y="9980"/>
                </a:lnTo>
                <a:lnTo>
                  <a:pt x="8376" y="9988"/>
                </a:lnTo>
                <a:lnTo>
                  <a:pt x="8392" y="9996"/>
                </a:lnTo>
                <a:lnTo>
                  <a:pt x="8406" y="10005"/>
                </a:lnTo>
                <a:lnTo>
                  <a:pt x="8433" y="10024"/>
                </a:lnTo>
                <a:lnTo>
                  <a:pt x="8459" y="10044"/>
                </a:lnTo>
                <a:lnTo>
                  <a:pt x="8486" y="10067"/>
                </a:lnTo>
                <a:lnTo>
                  <a:pt x="8515" y="10092"/>
                </a:lnTo>
                <a:lnTo>
                  <a:pt x="8528" y="10104"/>
                </a:lnTo>
                <a:lnTo>
                  <a:pt x="8540" y="10116"/>
                </a:lnTo>
                <a:lnTo>
                  <a:pt x="8550" y="10130"/>
                </a:lnTo>
                <a:lnTo>
                  <a:pt x="8561" y="10146"/>
                </a:lnTo>
                <a:lnTo>
                  <a:pt x="8570" y="10161"/>
                </a:lnTo>
                <a:lnTo>
                  <a:pt x="8579" y="10178"/>
                </a:lnTo>
                <a:lnTo>
                  <a:pt x="8587" y="10195"/>
                </a:lnTo>
                <a:lnTo>
                  <a:pt x="8595" y="10212"/>
                </a:lnTo>
                <a:lnTo>
                  <a:pt x="8602" y="10230"/>
                </a:lnTo>
                <a:lnTo>
                  <a:pt x="8607" y="10249"/>
                </a:lnTo>
                <a:lnTo>
                  <a:pt x="8613" y="10268"/>
                </a:lnTo>
                <a:lnTo>
                  <a:pt x="8617" y="10288"/>
                </a:lnTo>
                <a:lnTo>
                  <a:pt x="8621" y="10307"/>
                </a:lnTo>
                <a:lnTo>
                  <a:pt x="8624" y="10327"/>
                </a:lnTo>
                <a:lnTo>
                  <a:pt x="8626" y="10347"/>
                </a:lnTo>
                <a:lnTo>
                  <a:pt x="8627" y="10366"/>
                </a:lnTo>
                <a:lnTo>
                  <a:pt x="8628" y="10386"/>
                </a:lnTo>
                <a:lnTo>
                  <a:pt x="8627" y="10407"/>
                </a:lnTo>
                <a:lnTo>
                  <a:pt x="8626" y="10426"/>
                </a:lnTo>
                <a:lnTo>
                  <a:pt x="8624" y="10445"/>
                </a:lnTo>
                <a:lnTo>
                  <a:pt x="8621" y="10464"/>
                </a:lnTo>
                <a:lnTo>
                  <a:pt x="8617" y="10482"/>
                </a:lnTo>
                <a:lnTo>
                  <a:pt x="8613" y="10500"/>
                </a:lnTo>
                <a:lnTo>
                  <a:pt x="8607" y="10518"/>
                </a:lnTo>
                <a:lnTo>
                  <a:pt x="8601" y="10535"/>
                </a:lnTo>
                <a:lnTo>
                  <a:pt x="8594" y="10551"/>
                </a:lnTo>
                <a:lnTo>
                  <a:pt x="8586" y="10567"/>
                </a:lnTo>
                <a:lnTo>
                  <a:pt x="8577" y="10581"/>
                </a:lnTo>
                <a:lnTo>
                  <a:pt x="8567" y="10595"/>
                </a:lnTo>
                <a:lnTo>
                  <a:pt x="8556" y="10607"/>
                </a:lnTo>
                <a:lnTo>
                  <a:pt x="8544" y="10619"/>
                </a:lnTo>
                <a:lnTo>
                  <a:pt x="8532" y="10629"/>
                </a:lnTo>
                <a:lnTo>
                  <a:pt x="8530" y="10635"/>
                </a:lnTo>
                <a:lnTo>
                  <a:pt x="8525" y="10643"/>
                </a:lnTo>
                <a:lnTo>
                  <a:pt x="8518" y="10655"/>
                </a:lnTo>
                <a:lnTo>
                  <a:pt x="8508" y="10668"/>
                </a:lnTo>
                <a:lnTo>
                  <a:pt x="8482" y="10699"/>
                </a:lnTo>
                <a:lnTo>
                  <a:pt x="8454" y="10732"/>
                </a:lnTo>
                <a:lnTo>
                  <a:pt x="8425" y="10765"/>
                </a:lnTo>
                <a:lnTo>
                  <a:pt x="8400" y="10794"/>
                </a:lnTo>
                <a:lnTo>
                  <a:pt x="8382" y="10813"/>
                </a:lnTo>
                <a:lnTo>
                  <a:pt x="8373" y="10821"/>
                </a:lnTo>
                <a:lnTo>
                  <a:pt x="8372" y="10836"/>
                </a:lnTo>
                <a:lnTo>
                  <a:pt x="8372" y="10865"/>
                </a:lnTo>
                <a:lnTo>
                  <a:pt x="8371" y="10904"/>
                </a:lnTo>
                <a:lnTo>
                  <a:pt x="8369" y="10945"/>
                </a:lnTo>
                <a:lnTo>
                  <a:pt x="8368" y="10985"/>
                </a:lnTo>
                <a:lnTo>
                  <a:pt x="8366" y="11019"/>
                </a:lnTo>
                <a:lnTo>
                  <a:pt x="8365" y="11034"/>
                </a:lnTo>
                <a:lnTo>
                  <a:pt x="8364" y="11044"/>
                </a:lnTo>
                <a:lnTo>
                  <a:pt x="8363" y="11051"/>
                </a:lnTo>
                <a:lnTo>
                  <a:pt x="8362" y="11053"/>
                </a:lnTo>
                <a:lnTo>
                  <a:pt x="8360" y="11077"/>
                </a:lnTo>
                <a:lnTo>
                  <a:pt x="8356" y="11114"/>
                </a:lnTo>
                <a:lnTo>
                  <a:pt x="8350" y="11159"/>
                </a:lnTo>
                <a:lnTo>
                  <a:pt x="8342" y="11207"/>
                </a:lnTo>
                <a:lnTo>
                  <a:pt x="8337" y="11230"/>
                </a:lnTo>
                <a:lnTo>
                  <a:pt x="8332" y="11252"/>
                </a:lnTo>
                <a:lnTo>
                  <a:pt x="8327" y="11272"/>
                </a:lnTo>
                <a:lnTo>
                  <a:pt x="8322" y="11292"/>
                </a:lnTo>
                <a:lnTo>
                  <a:pt x="8316" y="11307"/>
                </a:lnTo>
                <a:lnTo>
                  <a:pt x="8310" y="11318"/>
                </a:lnTo>
                <a:lnTo>
                  <a:pt x="8307" y="11323"/>
                </a:lnTo>
                <a:lnTo>
                  <a:pt x="8305" y="11326"/>
                </a:lnTo>
                <a:lnTo>
                  <a:pt x="8302" y="11328"/>
                </a:lnTo>
                <a:lnTo>
                  <a:pt x="8299" y="11328"/>
                </a:lnTo>
                <a:lnTo>
                  <a:pt x="8298" y="11350"/>
                </a:lnTo>
                <a:lnTo>
                  <a:pt x="8295" y="11369"/>
                </a:lnTo>
                <a:lnTo>
                  <a:pt x="8292" y="11386"/>
                </a:lnTo>
                <a:lnTo>
                  <a:pt x="8286" y="11402"/>
                </a:lnTo>
                <a:lnTo>
                  <a:pt x="8280" y="11418"/>
                </a:lnTo>
                <a:lnTo>
                  <a:pt x="8273" y="11432"/>
                </a:lnTo>
                <a:lnTo>
                  <a:pt x="8265" y="11445"/>
                </a:lnTo>
                <a:lnTo>
                  <a:pt x="8257" y="11458"/>
                </a:lnTo>
                <a:lnTo>
                  <a:pt x="8238" y="11484"/>
                </a:lnTo>
                <a:lnTo>
                  <a:pt x="8221" y="11512"/>
                </a:lnTo>
                <a:lnTo>
                  <a:pt x="8213" y="11527"/>
                </a:lnTo>
                <a:lnTo>
                  <a:pt x="8206" y="11544"/>
                </a:lnTo>
                <a:lnTo>
                  <a:pt x="8199" y="11563"/>
                </a:lnTo>
                <a:lnTo>
                  <a:pt x="8193" y="11582"/>
                </a:lnTo>
                <a:lnTo>
                  <a:pt x="8165" y="11602"/>
                </a:lnTo>
                <a:lnTo>
                  <a:pt x="8129" y="11623"/>
                </a:lnTo>
                <a:lnTo>
                  <a:pt x="8088" y="11646"/>
                </a:lnTo>
                <a:lnTo>
                  <a:pt x="8047" y="11671"/>
                </a:lnTo>
                <a:lnTo>
                  <a:pt x="8027" y="11683"/>
                </a:lnTo>
                <a:lnTo>
                  <a:pt x="8007" y="11695"/>
                </a:lnTo>
                <a:lnTo>
                  <a:pt x="7988" y="11707"/>
                </a:lnTo>
                <a:lnTo>
                  <a:pt x="7972" y="11719"/>
                </a:lnTo>
                <a:lnTo>
                  <a:pt x="7957" y="11730"/>
                </a:lnTo>
                <a:lnTo>
                  <a:pt x="7945" y="11741"/>
                </a:lnTo>
                <a:lnTo>
                  <a:pt x="7940" y="11747"/>
                </a:lnTo>
                <a:lnTo>
                  <a:pt x="7935" y="11752"/>
                </a:lnTo>
                <a:lnTo>
                  <a:pt x="7931" y="11757"/>
                </a:lnTo>
                <a:lnTo>
                  <a:pt x="7928" y="11762"/>
                </a:lnTo>
                <a:lnTo>
                  <a:pt x="7919" y="11762"/>
                </a:lnTo>
                <a:lnTo>
                  <a:pt x="7910" y="11764"/>
                </a:lnTo>
                <a:lnTo>
                  <a:pt x="7902" y="11766"/>
                </a:lnTo>
                <a:lnTo>
                  <a:pt x="7893" y="11769"/>
                </a:lnTo>
                <a:lnTo>
                  <a:pt x="7877" y="11775"/>
                </a:lnTo>
                <a:lnTo>
                  <a:pt x="7859" y="11784"/>
                </a:lnTo>
                <a:lnTo>
                  <a:pt x="7843" y="11792"/>
                </a:lnTo>
                <a:lnTo>
                  <a:pt x="7826" y="11798"/>
                </a:lnTo>
                <a:lnTo>
                  <a:pt x="7818" y="11801"/>
                </a:lnTo>
                <a:lnTo>
                  <a:pt x="7809" y="11803"/>
                </a:lnTo>
                <a:lnTo>
                  <a:pt x="7800" y="11804"/>
                </a:lnTo>
                <a:lnTo>
                  <a:pt x="7791" y="11805"/>
                </a:lnTo>
                <a:lnTo>
                  <a:pt x="7784" y="11814"/>
                </a:lnTo>
                <a:lnTo>
                  <a:pt x="7770" y="11829"/>
                </a:lnTo>
                <a:lnTo>
                  <a:pt x="7753" y="11848"/>
                </a:lnTo>
                <a:lnTo>
                  <a:pt x="7733" y="11868"/>
                </a:lnTo>
                <a:lnTo>
                  <a:pt x="7715" y="11888"/>
                </a:lnTo>
                <a:lnTo>
                  <a:pt x="7701" y="11904"/>
                </a:lnTo>
                <a:lnTo>
                  <a:pt x="7696" y="11912"/>
                </a:lnTo>
                <a:lnTo>
                  <a:pt x="7694" y="11917"/>
                </a:lnTo>
                <a:lnTo>
                  <a:pt x="7693" y="11919"/>
                </a:lnTo>
                <a:lnTo>
                  <a:pt x="7693" y="11920"/>
                </a:lnTo>
                <a:lnTo>
                  <a:pt x="7694" y="11921"/>
                </a:lnTo>
                <a:lnTo>
                  <a:pt x="7695" y="11921"/>
                </a:lnTo>
                <a:lnTo>
                  <a:pt x="7693" y="11954"/>
                </a:lnTo>
                <a:lnTo>
                  <a:pt x="7692" y="11993"/>
                </a:lnTo>
                <a:lnTo>
                  <a:pt x="7691" y="12037"/>
                </a:lnTo>
                <a:lnTo>
                  <a:pt x="7690" y="12081"/>
                </a:lnTo>
                <a:lnTo>
                  <a:pt x="7689" y="12103"/>
                </a:lnTo>
                <a:lnTo>
                  <a:pt x="7687" y="12125"/>
                </a:lnTo>
                <a:lnTo>
                  <a:pt x="7685" y="12145"/>
                </a:lnTo>
                <a:lnTo>
                  <a:pt x="7682" y="12165"/>
                </a:lnTo>
                <a:lnTo>
                  <a:pt x="7678" y="12183"/>
                </a:lnTo>
                <a:lnTo>
                  <a:pt x="7673" y="12198"/>
                </a:lnTo>
                <a:lnTo>
                  <a:pt x="7670" y="12205"/>
                </a:lnTo>
                <a:lnTo>
                  <a:pt x="7667" y="12212"/>
                </a:lnTo>
                <a:lnTo>
                  <a:pt x="7664" y="12217"/>
                </a:lnTo>
                <a:lnTo>
                  <a:pt x="7660" y="12222"/>
                </a:lnTo>
                <a:lnTo>
                  <a:pt x="7650" y="12233"/>
                </a:lnTo>
                <a:lnTo>
                  <a:pt x="7639" y="12241"/>
                </a:lnTo>
                <a:lnTo>
                  <a:pt x="7629" y="12248"/>
                </a:lnTo>
                <a:lnTo>
                  <a:pt x="7619" y="12255"/>
                </a:lnTo>
                <a:lnTo>
                  <a:pt x="7615" y="12259"/>
                </a:lnTo>
                <a:lnTo>
                  <a:pt x="7612" y="12263"/>
                </a:lnTo>
                <a:lnTo>
                  <a:pt x="7609" y="12267"/>
                </a:lnTo>
                <a:lnTo>
                  <a:pt x="7607" y="12273"/>
                </a:lnTo>
                <a:lnTo>
                  <a:pt x="7607" y="12278"/>
                </a:lnTo>
                <a:lnTo>
                  <a:pt x="7607" y="12286"/>
                </a:lnTo>
                <a:lnTo>
                  <a:pt x="7608" y="12294"/>
                </a:lnTo>
                <a:lnTo>
                  <a:pt x="7611" y="12303"/>
                </a:lnTo>
                <a:lnTo>
                  <a:pt x="7601" y="12303"/>
                </a:lnTo>
                <a:lnTo>
                  <a:pt x="7594" y="12304"/>
                </a:lnTo>
                <a:lnTo>
                  <a:pt x="7588" y="12306"/>
                </a:lnTo>
                <a:lnTo>
                  <a:pt x="7585" y="12309"/>
                </a:lnTo>
                <a:lnTo>
                  <a:pt x="7581" y="12316"/>
                </a:lnTo>
                <a:lnTo>
                  <a:pt x="7579" y="12323"/>
                </a:lnTo>
                <a:lnTo>
                  <a:pt x="7577" y="12327"/>
                </a:lnTo>
                <a:lnTo>
                  <a:pt x="7575" y="12331"/>
                </a:lnTo>
                <a:lnTo>
                  <a:pt x="7571" y="12335"/>
                </a:lnTo>
                <a:lnTo>
                  <a:pt x="7566" y="12338"/>
                </a:lnTo>
                <a:lnTo>
                  <a:pt x="7559" y="12340"/>
                </a:lnTo>
                <a:lnTo>
                  <a:pt x="7549" y="12343"/>
                </a:lnTo>
                <a:lnTo>
                  <a:pt x="7537" y="12344"/>
                </a:lnTo>
                <a:lnTo>
                  <a:pt x="7521" y="12344"/>
                </a:lnTo>
                <a:lnTo>
                  <a:pt x="7510" y="12345"/>
                </a:lnTo>
                <a:lnTo>
                  <a:pt x="7496" y="12348"/>
                </a:lnTo>
                <a:lnTo>
                  <a:pt x="7483" y="12353"/>
                </a:lnTo>
                <a:lnTo>
                  <a:pt x="7470" y="12359"/>
                </a:lnTo>
                <a:lnTo>
                  <a:pt x="7456" y="12366"/>
                </a:lnTo>
                <a:lnTo>
                  <a:pt x="7443" y="12375"/>
                </a:lnTo>
                <a:lnTo>
                  <a:pt x="7429" y="12384"/>
                </a:lnTo>
                <a:lnTo>
                  <a:pt x="7416" y="12395"/>
                </a:lnTo>
                <a:lnTo>
                  <a:pt x="7404" y="12407"/>
                </a:lnTo>
                <a:lnTo>
                  <a:pt x="7392" y="12420"/>
                </a:lnTo>
                <a:lnTo>
                  <a:pt x="7382" y="12433"/>
                </a:lnTo>
                <a:lnTo>
                  <a:pt x="7373" y="12446"/>
                </a:lnTo>
                <a:lnTo>
                  <a:pt x="7364" y="12460"/>
                </a:lnTo>
                <a:lnTo>
                  <a:pt x="7359" y="12473"/>
                </a:lnTo>
                <a:lnTo>
                  <a:pt x="7356" y="12480"/>
                </a:lnTo>
                <a:lnTo>
                  <a:pt x="7355" y="12487"/>
                </a:lnTo>
                <a:lnTo>
                  <a:pt x="7354" y="12493"/>
                </a:lnTo>
                <a:lnTo>
                  <a:pt x="7353" y="12500"/>
                </a:lnTo>
                <a:lnTo>
                  <a:pt x="7352" y="12516"/>
                </a:lnTo>
                <a:lnTo>
                  <a:pt x="7350" y="12531"/>
                </a:lnTo>
                <a:lnTo>
                  <a:pt x="7348" y="12547"/>
                </a:lnTo>
                <a:lnTo>
                  <a:pt x="7346" y="12562"/>
                </a:lnTo>
                <a:lnTo>
                  <a:pt x="7343" y="12576"/>
                </a:lnTo>
                <a:lnTo>
                  <a:pt x="7339" y="12589"/>
                </a:lnTo>
                <a:lnTo>
                  <a:pt x="7334" y="12602"/>
                </a:lnTo>
                <a:lnTo>
                  <a:pt x="7329" y="12615"/>
                </a:lnTo>
                <a:lnTo>
                  <a:pt x="7322" y="12627"/>
                </a:lnTo>
                <a:lnTo>
                  <a:pt x="7315" y="12639"/>
                </a:lnTo>
                <a:lnTo>
                  <a:pt x="7307" y="12651"/>
                </a:lnTo>
                <a:lnTo>
                  <a:pt x="7298" y="12662"/>
                </a:lnTo>
                <a:lnTo>
                  <a:pt x="7288" y="12674"/>
                </a:lnTo>
                <a:lnTo>
                  <a:pt x="7277" y="12684"/>
                </a:lnTo>
                <a:lnTo>
                  <a:pt x="7265" y="12694"/>
                </a:lnTo>
                <a:lnTo>
                  <a:pt x="7251" y="12705"/>
                </a:lnTo>
                <a:lnTo>
                  <a:pt x="7251" y="12707"/>
                </a:lnTo>
                <a:lnTo>
                  <a:pt x="7250" y="12710"/>
                </a:lnTo>
                <a:lnTo>
                  <a:pt x="7248" y="12712"/>
                </a:lnTo>
                <a:lnTo>
                  <a:pt x="7246" y="12715"/>
                </a:lnTo>
                <a:lnTo>
                  <a:pt x="7238" y="12720"/>
                </a:lnTo>
                <a:lnTo>
                  <a:pt x="7229" y="12724"/>
                </a:lnTo>
                <a:lnTo>
                  <a:pt x="7207" y="12734"/>
                </a:lnTo>
                <a:lnTo>
                  <a:pt x="7182" y="12744"/>
                </a:lnTo>
                <a:lnTo>
                  <a:pt x="7169" y="12751"/>
                </a:lnTo>
                <a:lnTo>
                  <a:pt x="7157" y="12757"/>
                </a:lnTo>
                <a:lnTo>
                  <a:pt x="7146" y="12765"/>
                </a:lnTo>
                <a:lnTo>
                  <a:pt x="7135" y="12773"/>
                </a:lnTo>
                <a:lnTo>
                  <a:pt x="7131" y="12778"/>
                </a:lnTo>
                <a:lnTo>
                  <a:pt x="7127" y="12783"/>
                </a:lnTo>
                <a:lnTo>
                  <a:pt x="7123" y="12788"/>
                </a:lnTo>
                <a:lnTo>
                  <a:pt x="7120" y="12795"/>
                </a:lnTo>
                <a:lnTo>
                  <a:pt x="7116" y="12801"/>
                </a:lnTo>
                <a:lnTo>
                  <a:pt x="7114" y="12807"/>
                </a:lnTo>
                <a:lnTo>
                  <a:pt x="7113" y="12814"/>
                </a:lnTo>
                <a:lnTo>
                  <a:pt x="7113" y="12821"/>
                </a:lnTo>
                <a:lnTo>
                  <a:pt x="7115" y="12822"/>
                </a:lnTo>
                <a:lnTo>
                  <a:pt x="7117" y="12827"/>
                </a:lnTo>
                <a:lnTo>
                  <a:pt x="7118" y="12834"/>
                </a:lnTo>
                <a:lnTo>
                  <a:pt x="7118" y="12843"/>
                </a:lnTo>
                <a:lnTo>
                  <a:pt x="7120" y="12867"/>
                </a:lnTo>
                <a:lnTo>
                  <a:pt x="7118" y="12894"/>
                </a:lnTo>
                <a:lnTo>
                  <a:pt x="7116" y="12923"/>
                </a:lnTo>
                <a:lnTo>
                  <a:pt x="7115" y="12949"/>
                </a:lnTo>
                <a:lnTo>
                  <a:pt x="7113" y="12968"/>
                </a:lnTo>
                <a:lnTo>
                  <a:pt x="7113" y="12979"/>
                </a:lnTo>
                <a:lnTo>
                  <a:pt x="7105" y="12980"/>
                </a:lnTo>
                <a:lnTo>
                  <a:pt x="7095" y="12981"/>
                </a:lnTo>
                <a:lnTo>
                  <a:pt x="7085" y="12983"/>
                </a:lnTo>
                <a:lnTo>
                  <a:pt x="7074" y="12986"/>
                </a:lnTo>
                <a:lnTo>
                  <a:pt x="7050" y="12993"/>
                </a:lnTo>
                <a:lnTo>
                  <a:pt x="7025" y="13003"/>
                </a:lnTo>
                <a:lnTo>
                  <a:pt x="7014" y="13008"/>
                </a:lnTo>
                <a:lnTo>
                  <a:pt x="7002" y="13014"/>
                </a:lnTo>
                <a:lnTo>
                  <a:pt x="6990" y="13021"/>
                </a:lnTo>
                <a:lnTo>
                  <a:pt x="6981" y="13027"/>
                </a:lnTo>
                <a:lnTo>
                  <a:pt x="6972" y="13033"/>
                </a:lnTo>
                <a:lnTo>
                  <a:pt x="6964" y="13040"/>
                </a:lnTo>
                <a:lnTo>
                  <a:pt x="6959" y="13047"/>
                </a:lnTo>
                <a:lnTo>
                  <a:pt x="6954" y="13054"/>
                </a:lnTo>
                <a:lnTo>
                  <a:pt x="6930" y="13054"/>
                </a:lnTo>
                <a:lnTo>
                  <a:pt x="6910" y="13054"/>
                </a:lnTo>
                <a:lnTo>
                  <a:pt x="6892" y="13055"/>
                </a:lnTo>
                <a:lnTo>
                  <a:pt x="6876" y="13057"/>
                </a:lnTo>
                <a:lnTo>
                  <a:pt x="6862" y="13059"/>
                </a:lnTo>
                <a:lnTo>
                  <a:pt x="6850" y="13061"/>
                </a:lnTo>
                <a:lnTo>
                  <a:pt x="6840" y="13064"/>
                </a:lnTo>
                <a:lnTo>
                  <a:pt x="6830" y="13068"/>
                </a:lnTo>
                <a:lnTo>
                  <a:pt x="6822" y="13073"/>
                </a:lnTo>
                <a:lnTo>
                  <a:pt x="6813" y="13078"/>
                </a:lnTo>
                <a:lnTo>
                  <a:pt x="6804" y="13084"/>
                </a:lnTo>
                <a:lnTo>
                  <a:pt x="6795" y="13091"/>
                </a:lnTo>
                <a:lnTo>
                  <a:pt x="6773" y="13107"/>
                </a:lnTo>
                <a:lnTo>
                  <a:pt x="6743" y="13127"/>
                </a:lnTo>
                <a:lnTo>
                  <a:pt x="6743" y="13136"/>
                </a:lnTo>
                <a:lnTo>
                  <a:pt x="6740" y="13148"/>
                </a:lnTo>
                <a:lnTo>
                  <a:pt x="6738" y="13162"/>
                </a:lnTo>
                <a:lnTo>
                  <a:pt x="6734" y="13177"/>
                </a:lnTo>
                <a:lnTo>
                  <a:pt x="6729" y="13191"/>
                </a:lnTo>
                <a:lnTo>
                  <a:pt x="6724" y="13202"/>
                </a:lnTo>
                <a:lnTo>
                  <a:pt x="6721" y="13206"/>
                </a:lnTo>
                <a:lnTo>
                  <a:pt x="6718" y="13209"/>
                </a:lnTo>
                <a:lnTo>
                  <a:pt x="6715" y="13211"/>
                </a:lnTo>
                <a:lnTo>
                  <a:pt x="6711" y="13212"/>
                </a:lnTo>
                <a:lnTo>
                  <a:pt x="6711" y="13222"/>
                </a:lnTo>
                <a:lnTo>
                  <a:pt x="6710" y="13230"/>
                </a:lnTo>
                <a:lnTo>
                  <a:pt x="6709" y="13237"/>
                </a:lnTo>
                <a:lnTo>
                  <a:pt x="6708" y="13243"/>
                </a:lnTo>
                <a:lnTo>
                  <a:pt x="6706" y="13249"/>
                </a:lnTo>
                <a:lnTo>
                  <a:pt x="6704" y="13253"/>
                </a:lnTo>
                <a:lnTo>
                  <a:pt x="6701" y="13257"/>
                </a:lnTo>
                <a:lnTo>
                  <a:pt x="6698" y="13259"/>
                </a:lnTo>
                <a:lnTo>
                  <a:pt x="6695" y="13262"/>
                </a:lnTo>
                <a:lnTo>
                  <a:pt x="6692" y="13263"/>
                </a:lnTo>
                <a:lnTo>
                  <a:pt x="6688" y="13264"/>
                </a:lnTo>
                <a:lnTo>
                  <a:pt x="6684" y="13265"/>
                </a:lnTo>
                <a:lnTo>
                  <a:pt x="6675" y="13265"/>
                </a:lnTo>
                <a:lnTo>
                  <a:pt x="6666" y="13264"/>
                </a:lnTo>
                <a:lnTo>
                  <a:pt x="6645" y="13260"/>
                </a:lnTo>
                <a:lnTo>
                  <a:pt x="6622" y="13258"/>
                </a:lnTo>
                <a:lnTo>
                  <a:pt x="6609" y="13259"/>
                </a:lnTo>
                <a:lnTo>
                  <a:pt x="6597" y="13262"/>
                </a:lnTo>
                <a:lnTo>
                  <a:pt x="6591" y="13264"/>
                </a:lnTo>
                <a:lnTo>
                  <a:pt x="6585" y="13267"/>
                </a:lnTo>
                <a:lnTo>
                  <a:pt x="6579" y="13271"/>
                </a:lnTo>
                <a:lnTo>
                  <a:pt x="6574" y="13275"/>
                </a:lnTo>
                <a:lnTo>
                  <a:pt x="6578" y="13277"/>
                </a:lnTo>
                <a:lnTo>
                  <a:pt x="6583" y="13280"/>
                </a:lnTo>
                <a:lnTo>
                  <a:pt x="6587" y="13285"/>
                </a:lnTo>
                <a:lnTo>
                  <a:pt x="6592" y="13292"/>
                </a:lnTo>
                <a:lnTo>
                  <a:pt x="6596" y="13301"/>
                </a:lnTo>
                <a:lnTo>
                  <a:pt x="6601" y="13310"/>
                </a:lnTo>
                <a:lnTo>
                  <a:pt x="6605" y="13319"/>
                </a:lnTo>
                <a:lnTo>
                  <a:pt x="6608" y="13329"/>
                </a:lnTo>
                <a:lnTo>
                  <a:pt x="6614" y="13348"/>
                </a:lnTo>
                <a:lnTo>
                  <a:pt x="6619" y="13365"/>
                </a:lnTo>
                <a:lnTo>
                  <a:pt x="6619" y="13371"/>
                </a:lnTo>
                <a:lnTo>
                  <a:pt x="6619" y="13377"/>
                </a:lnTo>
                <a:lnTo>
                  <a:pt x="6619" y="13380"/>
                </a:lnTo>
                <a:lnTo>
                  <a:pt x="6617" y="13381"/>
                </a:lnTo>
                <a:lnTo>
                  <a:pt x="6616" y="13398"/>
                </a:lnTo>
                <a:lnTo>
                  <a:pt x="6613" y="13412"/>
                </a:lnTo>
                <a:lnTo>
                  <a:pt x="6610" y="13426"/>
                </a:lnTo>
                <a:lnTo>
                  <a:pt x="6606" y="13438"/>
                </a:lnTo>
                <a:lnTo>
                  <a:pt x="6601" y="13448"/>
                </a:lnTo>
                <a:lnTo>
                  <a:pt x="6594" y="13458"/>
                </a:lnTo>
                <a:lnTo>
                  <a:pt x="6587" y="13467"/>
                </a:lnTo>
                <a:lnTo>
                  <a:pt x="6580" y="13475"/>
                </a:lnTo>
                <a:lnTo>
                  <a:pt x="6562" y="13492"/>
                </a:lnTo>
                <a:lnTo>
                  <a:pt x="6543" y="13508"/>
                </a:lnTo>
                <a:lnTo>
                  <a:pt x="6532" y="13517"/>
                </a:lnTo>
                <a:lnTo>
                  <a:pt x="6522" y="13527"/>
                </a:lnTo>
                <a:lnTo>
                  <a:pt x="6511" y="13538"/>
                </a:lnTo>
                <a:lnTo>
                  <a:pt x="6500" y="13551"/>
                </a:lnTo>
                <a:lnTo>
                  <a:pt x="6495" y="13555"/>
                </a:lnTo>
                <a:lnTo>
                  <a:pt x="6490" y="13561"/>
                </a:lnTo>
                <a:lnTo>
                  <a:pt x="6484" y="13567"/>
                </a:lnTo>
                <a:lnTo>
                  <a:pt x="6479" y="13574"/>
                </a:lnTo>
                <a:lnTo>
                  <a:pt x="6469" y="13589"/>
                </a:lnTo>
                <a:lnTo>
                  <a:pt x="6459" y="13606"/>
                </a:lnTo>
                <a:lnTo>
                  <a:pt x="6450" y="13621"/>
                </a:lnTo>
                <a:lnTo>
                  <a:pt x="6442" y="13634"/>
                </a:lnTo>
                <a:lnTo>
                  <a:pt x="6437" y="13639"/>
                </a:lnTo>
                <a:lnTo>
                  <a:pt x="6433" y="13642"/>
                </a:lnTo>
                <a:lnTo>
                  <a:pt x="6429" y="13645"/>
                </a:lnTo>
                <a:lnTo>
                  <a:pt x="6426" y="13646"/>
                </a:lnTo>
                <a:lnTo>
                  <a:pt x="6425" y="13657"/>
                </a:lnTo>
                <a:lnTo>
                  <a:pt x="6424" y="13669"/>
                </a:lnTo>
                <a:lnTo>
                  <a:pt x="6423" y="13681"/>
                </a:lnTo>
                <a:lnTo>
                  <a:pt x="6421" y="13693"/>
                </a:lnTo>
                <a:lnTo>
                  <a:pt x="6416" y="13715"/>
                </a:lnTo>
                <a:lnTo>
                  <a:pt x="6410" y="13737"/>
                </a:lnTo>
                <a:lnTo>
                  <a:pt x="6404" y="13759"/>
                </a:lnTo>
                <a:lnTo>
                  <a:pt x="6399" y="13781"/>
                </a:lnTo>
                <a:lnTo>
                  <a:pt x="6397" y="13792"/>
                </a:lnTo>
                <a:lnTo>
                  <a:pt x="6396" y="13804"/>
                </a:lnTo>
                <a:lnTo>
                  <a:pt x="6395" y="13815"/>
                </a:lnTo>
                <a:lnTo>
                  <a:pt x="6394" y="13826"/>
                </a:lnTo>
                <a:lnTo>
                  <a:pt x="6397" y="13827"/>
                </a:lnTo>
                <a:lnTo>
                  <a:pt x="6398" y="13828"/>
                </a:lnTo>
                <a:lnTo>
                  <a:pt x="6399" y="13829"/>
                </a:lnTo>
                <a:lnTo>
                  <a:pt x="6400" y="13831"/>
                </a:lnTo>
                <a:lnTo>
                  <a:pt x="6401" y="13836"/>
                </a:lnTo>
                <a:lnTo>
                  <a:pt x="6401" y="13843"/>
                </a:lnTo>
                <a:lnTo>
                  <a:pt x="6401" y="13851"/>
                </a:lnTo>
                <a:lnTo>
                  <a:pt x="6401" y="13860"/>
                </a:lnTo>
                <a:lnTo>
                  <a:pt x="6402" y="13869"/>
                </a:lnTo>
                <a:lnTo>
                  <a:pt x="6405" y="13878"/>
                </a:lnTo>
                <a:lnTo>
                  <a:pt x="6410" y="13877"/>
                </a:lnTo>
                <a:lnTo>
                  <a:pt x="6414" y="13874"/>
                </a:lnTo>
                <a:lnTo>
                  <a:pt x="6418" y="13871"/>
                </a:lnTo>
                <a:lnTo>
                  <a:pt x="6422" y="13868"/>
                </a:lnTo>
                <a:lnTo>
                  <a:pt x="6428" y="13862"/>
                </a:lnTo>
                <a:lnTo>
                  <a:pt x="6432" y="13854"/>
                </a:lnTo>
                <a:lnTo>
                  <a:pt x="6436" y="13848"/>
                </a:lnTo>
                <a:lnTo>
                  <a:pt x="6439" y="13842"/>
                </a:lnTo>
                <a:lnTo>
                  <a:pt x="6441" y="13840"/>
                </a:lnTo>
                <a:lnTo>
                  <a:pt x="6443" y="13838"/>
                </a:lnTo>
                <a:lnTo>
                  <a:pt x="6445" y="13837"/>
                </a:lnTo>
                <a:lnTo>
                  <a:pt x="6447" y="13837"/>
                </a:lnTo>
                <a:lnTo>
                  <a:pt x="6447" y="13832"/>
                </a:lnTo>
                <a:lnTo>
                  <a:pt x="6448" y="13828"/>
                </a:lnTo>
                <a:lnTo>
                  <a:pt x="6449" y="13825"/>
                </a:lnTo>
                <a:lnTo>
                  <a:pt x="6450" y="13823"/>
                </a:lnTo>
                <a:lnTo>
                  <a:pt x="6452" y="13821"/>
                </a:lnTo>
                <a:lnTo>
                  <a:pt x="6454" y="13820"/>
                </a:lnTo>
                <a:lnTo>
                  <a:pt x="6456" y="13820"/>
                </a:lnTo>
                <a:lnTo>
                  <a:pt x="6459" y="13820"/>
                </a:lnTo>
                <a:lnTo>
                  <a:pt x="6464" y="13821"/>
                </a:lnTo>
                <a:lnTo>
                  <a:pt x="6470" y="13824"/>
                </a:lnTo>
                <a:lnTo>
                  <a:pt x="6476" y="13828"/>
                </a:lnTo>
                <a:lnTo>
                  <a:pt x="6482" y="13833"/>
                </a:lnTo>
                <a:lnTo>
                  <a:pt x="6487" y="13838"/>
                </a:lnTo>
                <a:lnTo>
                  <a:pt x="6492" y="13844"/>
                </a:lnTo>
                <a:lnTo>
                  <a:pt x="6495" y="13850"/>
                </a:lnTo>
                <a:lnTo>
                  <a:pt x="6496" y="13856"/>
                </a:lnTo>
                <a:lnTo>
                  <a:pt x="6496" y="13858"/>
                </a:lnTo>
                <a:lnTo>
                  <a:pt x="6495" y="13861"/>
                </a:lnTo>
                <a:lnTo>
                  <a:pt x="6494" y="13863"/>
                </a:lnTo>
                <a:lnTo>
                  <a:pt x="6493" y="13865"/>
                </a:lnTo>
                <a:lnTo>
                  <a:pt x="6490" y="13866"/>
                </a:lnTo>
                <a:lnTo>
                  <a:pt x="6486" y="13867"/>
                </a:lnTo>
                <a:lnTo>
                  <a:pt x="6483" y="13868"/>
                </a:lnTo>
                <a:lnTo>
                  <a:pt x="6478" y="13868"/>
                </a:lnTo>
                <a:lnTo>
                  <a:pt x="6470" y="13880"/>
                </a:lnTo>
                <a:lnTo>
                  <a:pt x="6462" y="13890"/>
                </a:lnTo>
                <a:lnTo>
                  <a:pt x="6454" y="13899"/>
                </a:lnTo>
                <a:lnTo>
                  <a:pt x="6445" y="13908"/>
                </a:lnTo>
                <a:lnTo>
                  <a:pt x="6429" y="13924"/>
                </a:lnTo>
                <a:lnTo>
                  <a:pt x="6414" y="13938"/>
                </a:lnTo>
                <a:lnTo>
                  <a:pt x="6406" y="13946"/>
                </a:lnTo>
                <a:lnTo>
                  <a:pt x="6399" y="13954"/>
                </a:lnTo>
                <a:lnTo>
                  <a:pt x="6392" y="13963"/>
                </a:lnTo>
                <a:lnTo>
                  <a:pt x="6385" y="13973"/>
                </a:lnTo>
                <a:lnTo>
                  <a:pt x="6379" y="13984"/>
                </a:lnTo>
                <a:lnTo>
                  <a:pt x="6373" y="13997"/>
                </a:lnTo>
                <a:lnTo>
                  <a:pt x="6368" y="14011"/>
                </a:lnTo>
                <a:lnTo>
                  <a:pt x="6361" y="14027"/>
                </a:lnTo>
                <a:lnTo>
                  <a:pt x="6354" y="14027"/>
                </a:lnTo>
                <a:lnTo>
                  <a:pt x="6348" y="14029"/>
                </a:lnTo>
                <a:lnTo>
                  <a:pt x="6341" y="14031"/>
                </a:lnTo>
                <a:lnTo>
                  <a:pt x="6334" y="14035"/>
                </a:lnTo>
                <a:lnTo>
                  <a:pt x="6327" y="14039"/>
                </a:lnTo>
                <a:lnTo>
                  <a:pt x="6321" y="14044"/>
                </a:lnTo>
                <a:lnTo>
                  <a:pt x="6315" y="14051"/>
                </a:lnTo>
                <a:lnTo>
                  <a:pt x="6309" y="14057"/>
                </a:lnTo>
                <a:lnTo>
                  <a:pt x="6297" y="14072"/>
                </a:lnTo>
                <a:lnTo>
                  <a:pt x="6287" y="14088"/>
                </a:lnTo>
                <a:lnTo>
                  <a:pt x="6278" y="14105"/>
                </a:lnTo>
                <a:lnTo>
                  <a:pt x="6270" y="14122"/>
                </a:lnTo>
                <a:lnTo>
                  <a:pt x="6265" y="14140"/>
                </a:lnTo>
                <a:lnTo>
                  <a:pt x="6261" y="14157"/>
                </a:lnTo>
                <a:lnTo>
                  <a:pt x="6260" y="14165"/>
                </a:lnTo>
                <a:lnTo>
                  <a:pt x="6259" y="14173"/>
                </a:lnTo>
                <a:lnTo>
                  <a:pt x="6259" y="14181"/>
                </a:lnTo>
                <a:lnTo>
                  <a:pt x="6259" y="14188"/>
                </a:lnTo>
                <a:lnTo>
                  <a:pt x="6261" y="14195"/>
                </a:lnTo>
                <a:lnTo>
                  <a:pt x="6262" y="14200"/>
                </a:lnTo>
                <a:lnTo>
                  <a:pt x="6265" y="14205"/>
                </a:lnTo>
                <a:lnTo>
                  <a:pt x="6268" y="14210"/>
                </a:lnTo>
                <a:lnTo>
                  <a:pt x="6272" y="14213"/>
                </a:lnTo>
                <a:lnTo>
                  <a:pt x="6276" y="14216"/>
                </a:lnTo>
                <a:lnTo>
                  <a:pt x="6282" y="14217"/>
                </a:lnTo>
                <a:lnTo>
                  <a:pt x="6288" y="14218"/>
                </a:lnTo>
                <a:lnTo>
                  <a:pt x="6289" y="14230"/>
                </a:lnTo>
                <a:lnTo>
                  <a:pt x="6290" y="14242"/>
                </a:lnTo>
                <a:lnTo>
                  <a:pt x="6293" y="14254"/>
                </a:lnTo>
                <a:lnTo>
                  <a:pt x="6296" y="14265"/>
                </a:lnTo>
                <a:lnTo>
                  <a:pt x="6300" y="14276"/>
                </a:lnTo>
                <a:lnTo>
                  <a:pt x="6305" y="14287"/>
                </a:lnTo>
                <a:lnTo>
                  <a:pt x="6311" y="14297"/>
                </a:lnTo>
                <a:lnTo>
                  <a:pt x="6317" y="14308"/>
                </a:lnTo>
                <a:lnTo>
                  <a:pt x="6253" y="14289"/>
                </a:lnTo>
                <a:lnTo>
                  <a:pt x="6188" y="14270"/>
                </a:lnTo>
                <a:lnTo>
                  <a:pt x="6124" y="14251"/>
                </a:lnTo>
                <a:lnTo>
                  <a:pt x="6060" y="14231"/>
                </a:lnTo>
                <a:lnTo>
                  <a:pt x="5997" y="14210"/>
                </a:lnTo>
                <a:lnTo>
                  <a:pt x="5934" y="14189"/>
                </a:lnTo>
                <a:lnTo>
                  <a:pt x="5871" y="14166"/>
                </a:lnTo>
                <a:lnTo>
                  <a:pt x="5808" y="14143"/>
                </a:lnTo>
                <a:lnTo>
                  <a:pt x="5806" y="14058"/>
                </a:lnTo>
                <a:lnTo>
                  <a:pt x="5806" y="13953"/>
                </a:lnTo>
                <a:lnTo>
                  <a:pt x="5807" y="13895"/>
                </a:lnTo>
                <a:lnTo>
                  <a:pt x="5808" y="13837"/>
                </a:lnTo>
                <a:lnTo>
                  <a:pt x="5810" y="13778"/>
                </a:lnTo>
                <a:lnTo>
                  <a:pt x="5813" y="13722"/>
                </a:lnTo>
                <a:lnTo>
                  <a:pt x="5817" y="13666"/>
                </a:lnTo>
                <a:lnTo>
                  <a:pt x="5822" y="13615"/>
                </a:lnTo>
                <a:lnTo>
                  <a:pt x="5828" y="13568"/>
                </a:lnTo>
                <a:lnTo>
                  <a:pt x="5834" y="13527"/>
                </a:lnTo>
                <a:lnTo>
                  <a:pt x="5838" y="13509"/>
                </a:lnTo>
                <a:lnTo>
                  <a:pt x="5843" y="13493"/>
                </a:lnTo>
                <a:lnTo>
                  <a:pt x="5847" y="13479"/>
                </a:lnTo>
                <a:lnTo>
                  <a:pt x="5852" y="13467"/>
                </a:lnTo>
                <a:lnTo>
                  <a:pt x="5857" y="13458"/>
                </a:lnTo>
                <a:lnTo>
                  <a:pt x="5864" y="13451"/>
                </a:lnTo>
                <a:lnTo>
                  <a:pt x="5869" y="13447"/>
                </a:lnTo>
                <a:lnTo>
                  <a:pt x="5876" y="13445"/>
                </a:lnTo>
                <a:lnTo>
                  <a:pt x="5877" y="13429"/>
                </a:lnTo>
                <a:lnTo>
                  <a:pt x="5880" y="13404"/>
                </a:lnTo>
                <a:lnTo>
                  <a:pt x="5886" y="13377"/>
                </a:lnTo>
                <a:lnTo>
                  <a:pt x="5893" y="13348"/>
                </a:lnTo>
                <a:lnTo>
                  <a:pt x="5896" y="13334"/>
                </a:lnTo>
                <a:lnTo>
                  <a:pt x="5901" y="13321"/>
                </a:lnTo>
                <a:lnTo>
                  <a:pt x="5905" y="13309"/>
                </a:lnTo>
                <a:lnTo>
                  <a:pt x="5909" y="13298"/>
                </a:lnTo>
                <a:lnTo>
                  <a:pt x="5914" y="13288"/>
                </a:lnTo>
                <a:lnTo>
                  <a:pt x="5919" y="13281"/>
                </a:lnTo>
                <a:lnTo>
                  <a:pt x="5921" y="13279"/>
                </a:lnTo>
                <a:lnTo>
                  <a:pt x="5923" y="13277"/>
                </a:lnTo>
                <a:lnTo>
                  <a:pt x="5926" y="13276"/>
                </a:lnTo>
                <a:lnTo>
                  <a:pt x="5928" y="13275"/>
                </a:lnTo>
                <a:lnTo>
                  <a:pt x="5929" y="13243"/>
                </a:lnTo>
                <a:lnTo>
                  <a:pt x="5930" y="13210"/>
                </a:lnTo>
                <a:lnTo>
                  <a:pt x="5931" y="13175"/>
                </a:lnTo>
                <a:lnTo>
                  <a:pt x="5932" y="13139"/>
                </a:lnTo>
                <a:lnTo>
                  <a:pt x="5933" y="13103"/>
                </a:lnTo>
                <a:lnTo>
                  <a:pt x="5932" y="13066"/>
                </a:lnTo>
                <a:lnTo>
                  <a:pt x="5931" y="13027"/>
                </a:lnTo>
                <a:lnTo>
                  <a:pt x="5928" y="12990"/>
                </a:lnTo>
                <a:lnTo>
                  <a:pt x="5925" y="12984"/>
                </a:lnTo>
                <a:lnTo>
                  <a:pt x="5923" y="12978"/>
                </a:lnTo>
                <a:lnTo>
                  <a:pt x="5922" y="12972"/>
                </a:lnTo>
                <a:lnTo>
                  <a:pt x="5921" y="12966"/>
                </a:lnTo>
                <a:lnTo>
                  <a:pt x="5920" y="12953"/>
                </a:lnTo>
                <a:lnTo>
                  <a:pt x="5922" y="12940"/>
                </a:lnTo>
                <a:lnTo>
                  <a:pt x="5924" y="12926"/>
                </a:lnTo>
                <a:lnTo>
                  <a:pt x="5928" y="12911"/>
                </a:lnTo>
                <a:lnTo>
                  <a:pt x="5934" y="12896"/>
                </a:lnTo>
                <a:lnTo>
                  <a:pt x="5940" y="12882"/>
                </a:lnTo>
                <a:lnTo>
                  <a:pt x="5953" y="12851"/>
                </a:lnTo>
                <a:lnTo>
                  <a:pt x="5968" y="12818"/>
                </a:lnTo>
                <a:lnTo>
                  <a:pt x="5974" y="12801"/>
                </a:lnTo>
                <a:lnTo>
                  <a:pt x="5981" y="12783"/>
                </a:lnTo>
                <a:lnTo>
                  <a:pt x="5987" y="12765"/>
                </a:lnTo>
                <a:lnTo>
                  <a:pt x="5992" y="12747"/>
                </a:lnTo>
                <a:lnTo>
                  <a:pt x="6003" y="12739"/>
                </a:lnTo>
                <a:lnTo>
                  <a:pt x="6012" y="12729"/>
                </a:lnTo>
                <a:lnTo>
                  <a:pt x="6021" y="12716"/>
                </a:lnTo>
                <a:lnTo>
                  <a:pt x="6028" y="12700"/>
                </a:lnTo>
                <a:lnTo>
                  <a:pt x="6035" y="12682"/>
                </a:lnTo>
                <a:lnTo>
                  <a:pt x="6041" y="12661"/>
                </a:lnTo>
                <a:lnTo>
                  <a:pt x="6046" y="12639"/>
                </a:lnTo>
                <a:lnTo>
                  <a:pt x="6050" y="12615"/>
                </a:lnTo>
                <a:lnTo>
                  <a:pt x="6054" y="12589"/>
                </a:lnTo>
                <a:lnTo>
                  <a:pt x="6057" y="12563"/>
                </a:lnTo>
                <a:lnTo>
                  <a:pt x="6059" y="12534"/>
                </a:lnTo>
                <a:lnTo>
                  <a:pt x="6061" y="12505"/>
                </a:lnTo>
                <a:lnTo>
                  <a:pt x="6064" y="12446"/>
                </a:lnTo>
                <a:lnTo>
                  <a:pt x="6066" y="12385"/>
                </a:lnTo>
                <a:lnTo>
                  <a:pt x="6068" y="12325"/>
                </a:lnTo>
                <a:lnTo>
                  <a:pt x="6070" y="12267"/>
                </a:lnTo>
                <a:lnTo>
                  <a:pt x="6073" y="12214"/>
                </a:lnTo>
                <a:lnTo>
                  <a:pt x="6077" y="12167"/>
                </a:lnTo>
                <a:lnTo>
                  <a:pt x="6080" y="12145"/>
                </a:lnTo>
                <a:lnTo>
                  <a:pt x="6083" y="12126"/>
                </a:lnTo>
                <a:lnTo>
                  <a:pt x="6087" y="12110"/>
                </a:lnTo>
                <a:lnTo>
                  <a:pt x="6092" y="12096"/>
                </a:lnTo>
                <a:lnTo>
                  <a:pt x="6097" y="12085"/>
                </a:lnTo>
                <a:lnTo>
                  <a:pt x="6103" y="12076"/>
                </a:lnTo>
                <a:lnTo>
                  <a:pt x="6110" y="12071"/>
                </a:lnTo>
                <a:lnTo>
                  <a:pt x="6119" y="12070"/>
                </a:lnTo>
                <a:lnTo>
                  <a:pt x="6120" y="12013"/>
                </a:lnTo>
                <a:lnTo>
                  <a:pt x="6122" y="11959"/>
                </a:lnTo>
                <a:lnTo>
                  <a:pt x="6125" y="11909"/>
                </a:lnTo>
                <a:lnTo>
                  <a:pt x="6129" y="11859"/>
                </a:lnTo>
                <a:lnTo>
                  <a:pt x="6134" y="11811"/>
                </a:lnTo>
                <a:lnTo>
                  <a:pt x="6138" y="11764"/>
                </a:lnTo>
                <a:lnTo>
                  <a:pt x="6143" y="11719"/>
                </a:lnTo>
                <a:lnTo>
                  <a:pt x="6147" y="11675"/>
                </a:lnTo>
                <a:lnTo>
                  <a:pt x="6151" y="11630"/>
                </a:lnTo>
                <a:lnTo>
                  <a:pt x="6154" y="11586"/>
                </a:lnTo>
                <a:lnTo>
                  <a:pt x="6156" y="11541"/>
                </a:lnTo>
                <a:lnTo>
                  <a:pt x="6157" y="11494"/>
                </a:lnTo>
                <a:lnTo>
                  <a:pt x="6156" y="11448"/>
                </a:lnTo>
                <a:lnTo>
                  <a:pt x="6153" y="11399"/>
                </a:lnTo>
                <a:lnTo>
                  <a:pt x="6150" y="11374"/>
                </a:lnTo>
                <a:lnTo>
                  <a:pt x="6148" y="11349"/>
                </a:lnTo>
                <a:lnTo>
                  <a:pt x="6144" y="11323"/>
                </a:lnTo>
                <a:lnTo>
                  <a:pt x="6140" y="11297"/>
                </a:lnTo>
                <a:lnTo>
                  <a:pt x="6142" y="11296"/>
                </a:lnTo>
                <a:lnTo>
                  <a:pt x="6142" y="11295"/>
                </a:lnTo>
                <a:lnTo>
                  <a:pt x="6142" y="11293"/>
                </a:lnTo>
                <a:lnTo>
                  <a:pt x="6141" y="11290"/>
                </a:lnTo>
                <a:lnTo>
                  <a:pt x="6136" y="11281"/>
                </a:lnTo>
                <a:lnTo>
                  <a:pt x="6128" y="11269"/>
                </a:lnTo>
                <a:lnTo>
                  <a:pt x="6106" y="11242"/>
                </a:lnTo>
                <a:lnTo>
                  <a:pt x="6079" y="11211"/>
                </a:lnTo>
                <a:lnTo>
                  <a:pt x="6051" y="11180"/>
                </a:lnTo>
                <a:lnTo>
                  <a:pt x="6026" y="11153"/>
                </a:lnTo>
                <a:lnTo>
                  <a:pt x="6009" y="11133"/>
                </a:lnTo>
                <a:lnTo>
                  <a:pt x="6002" y="11127"/>
                </a:lnTo>
                <a:lnTo>
                  <a:pt x="5988" y="11126"/>
                </a:lnTo>
                <a:lnTo>
                  <a:pt x="5973" y="11124"/>
                </a:lnTo>
                <a:lnTo>
                  <a:pt x="5959" y="11121"/>
                </a:lnTo>
                <a:lnTo>
                  <a:pt x="5946" y="11116"/>
                </a:lnTo>
                <a:lnTo>
                  <a:pt x="5933" y="11110"/>
                </a:lnTo>
                <a:lnTo>
                  <a:pt x="5920" y="11103"/>
                </a:lnTo>
                <a:lnTo>
                  <a:pt x="5907" y="11095"/>
                </a:lnTo>
                <a:lnTo>
                  <a:pt x="5895" y="11087"/>
                </a:lnTo>
                <a:lnTo>
                  <a:pt x="5884" y="11077"/>
                </a:lnTo>
                <a:lnTo>
                  <a:pt x="5872" y="11066"/>
                </a:lnTo>
                <a:lnTo>
                  <a:pt x="5861" y="11055"/>
                </a:lnTo>
                <a:lnTo>
                  <a:pt x="5850" y="11043"/>
                </a:lnTo>
                <a:lnTo>
                  <a:pt x="5840" y="11030"/>
                </a:lnTo>
                <a:lnTo>
                  <a:pt x="5830" y="11016"/>
                </a:lnTo>
                <a:lnTo>
                  <a:pt x="5820" y="11002"/>
                </a:lnTo>
                <a:lnTo>
                  <a:pt x="5812" y="10988"/>
                </a:lnTo>
                <a:lnTo>
                  <a:pt x="5795" y="10959"/>
                </a:lnTo>
                <a:lnTo>
                  <a:pt x="5781" y="10930"/>
                </a:lnTo>
                <a:lnTo>
                  <a:pt x="5768" y="10900"/>
                </a:lnTo>
                <a:lnTo>
                  <a:pt x="5758" y="10870"/>
                </a:lnTo>
                <a:lnTo>
                  <a:pt x="5749" y="10841"/>
                </a:lnTo>
                <a:lnTo>
                  <a:pt x="5743" y="10815"/>
                </a:lnTo>
                <a:lnTo>
                  <a:pt x="5741" y="10802"/>
                </a:lnTo>
                <a:lnTo>
                  <a:pt x="5740" y="10790"/>
                </a:lnTo>
                <a:lnTo>
                  <a:pt x="5739" y="10779"/>
                </a:lnTo>
                <a:lnTo>
                  <a:pt x="5738" y="10767"/>
                </a:lnTo>
                <a:lnTo>
                  <a:pt x="5731" y="10748"/>
                </a:lnTo>
                <a:lnTo>
                  <a:pt x="5723" y="10727"/>
                </a:lnTo>
                <a:lnTo>
                  <a:pt x="5714" y="10705"/>
                </a:lnTo>
                <a:lnTo>
                  <a:pt x="5705" y="10682"/>
                </a:lnTo>
                <a:lnTo>
                  <a:pt x="5697" y="10658"/>
                </a:lnTo>
                <a:lnTo>
                  <a:pt x="5691" y="10634"/>
                </a:lnTo>
                <a:lnTo>
                  <a:pt x="5688" y="10622"/>
                </a:lnTo>
                <a:lnTo>
                  <a:pt x="5686" y="10610"/>
                </a:lnTo>
                <a:lnTo>
                  <a:pt x="5685" y="10599"/>
                </a:lnTo>
                <a:lnTo>
                  <a:pt x="5685" y="10587"/>
                </a:lnTo>
                <a:lnTo>
                  <a:pt x="5687" y="10586"/>
                </a:lnTo>
                <a:lnTo>
                  <a:pt x="5688" y="10583"/>
                </a:lnTo>
                <a:lnTo>
                  <a:pt x="5687" y="10578"/>
                </a:lnTo>
                <a:lnTo>
                  <a:pt x="5685" y="10571"/>
                </a:lnTo>
                <a:lnTo>
                  <a:pt x="5677" y="10553"/>
                </a:lnTo>
                <a:lnTo>
                  <a:pt x="5665" y="10529"/>
                </a:lnTo>
                <a:lnTo>
                  <a:pt x="5649" y="10500"/>
                </a:lnTo>
                <a:lnTo>
                  <a:pt x="5630" y="10468"/>
                </a:lnTo>
                <a:lnTo>
                  <a:pt x="5610" y="10434"/>
                </a:lnTo>
                <a:lnTo>
                  <a:pt x="5587" y="10400"/>
                </a:lnTo>
                <a:lnTo>
                  <a:pt x="5542" y="10331"/>
                </a:lnTo>
                <a:lnTo>
                  <a:pt x="5503" y="10272"/>
                </a:lnTo>
                <a:lnTo>
                  <a:pt x="5473" y="10230"/>
                </a:lnTo>
                <a:lnTo>
                  <a:pt x="5462" y="10217"/>
                </a:lnTo>
                <a:lnTo>
                  <a:pt x="5450" y="10210"/>
                </a:lnTo>
                <a:lnTo>
                  <a:pt x="5440" y="10203"/>
                </a:lnTo>
                <a:lnTo>
                  <a:pt x="5431" y="10195"/>
                </a:lnTo>
                <a:lnTo>
                  <a:pt x="5424" y="10187"/>
                </a:lnTo>
                <a:lnTo>
                  <a:pt x="5418" y="10180"/>
                </a:lnTo>
                <a:lnTo>
                  <a:pt x="5413" y="10172"/>
                </a:lnTo>
                <a:lnTo>
                  <a:pt x="5409" y="10163"/>
                </a:lnTo>
                <a:lnTo>
                  <a:pt x="5406" y="10155"/>
                </a:lnTo>
                <a:lnTo>
                  <a:pt x="5405" y="10147"/>
                </a:lnTo>
                <a:lnTo>
                  <a:pt x="5404" y="10137"/>
                </a:lnTo>
                <a:lnTo>
                  <a:pt x="5405" y="10128"/>
                </a:lnTo>
                <a:lnTo>
                  <a:pt x="5406" y="10119"/>
                </a:lnTo>
                <a:lnTo>
                  <a:pt x="5408" y="10110"/>
                </a:lnTo>
                <a:lnTo>
                  <a:pt x="5410" y="10101"/>
                </a:lnTo>
                <a:lnTo>
                  <a:pt x="5413" y="10092"/>
                </a:lnTo>
                <a:lnTo>
                  <a:pt x="5417" y="10082"/>
                </a:lnTo>
                <a:lnTo>
                  <a:pt x="5435" y="10042"/>
                </a:lnTo>
                <a:lnTo>
                  <a:pt x="5455" y="10000"/>
                </a:lnTo>
                <a:lnTo>
                  <a:pt x="5465" y="9978"/>
                </a:lnTo>
                <a:lnTo>
                  <a:pt x="5473" y="9956"/>
                </a:lnTo>
                <a:lnTo>
                  <a:pt x="5476" y="9945"/>
                </a:lnTo>
                <a:lnTo>
                  <a:pt x="5479" y="9934"/>
                </a:lnTo>
                <a:lnTo>
                  <a:pt x="5483" y="9922"/>
                </a:lnTo>
                <a:lnTo>
                  <a:pt x="5484" y="9911"/>
                </a:lnTo>
                <a:lnTo>
                  <a:pt x="5473" y="9906"/>
                </a:lnTo>
                <a:lnTo>
                  <a:pt x="5464" y="9900"/>
                </a:lnTo>
                <a:lnTo>
                  <a:pt x="5456" y="9893"/>
                </a:lnTo>
                <a:lnTo>
                  <a:pt x="5450" y="9883"/>
                </a:lnTo>
                <a:lnTo>
                  <a:pt x="5444" y="9873"/>
                </a:lnTo>
                <a:lnTo>
                  <a:pt x="5440" y="9862"/>
                </a:lnTo>
                <a:lnTo>
                  <a:pt x="5437" y="9850"/>
                </a:lnTo>
                <a:lnTo>
                  <a:pt x="5435" y="9837"/>
                </a:lnTo>
                <a:lnTo>
                  <a:pt x="5434" y="9824"/>
                </a:lnTo>
                <a:lnTo>
                  <a:pt x="5433" y="9809"/>
                </a:lnTo>
                <a:lnTo>
                  <a:pt x="5434" y="9795"/>
                </a:lnTo>
                <a:lnTo>
                  <a:pt x="5435" y="9779"/>
                </a:lnTo>
                <a:lnTo>
                  <a:pt x="5437" y="9763"/>
                </a:lnTo>
                <a:lnTo>
                  <a:pt x="5439" y="9747"/>
                </a:lnTo>
                <a:lnTo>
                  <a:pt x="5443" y="9731"/>
                </a:lnTo>
                <a:lnTo>
                  <a:pt x="5446" y="9715"/>
                </a:lnTo>
                <a:lnTo>
                  <a:pt x="5455" y="9684"/>
                </a:lnTo>
                <a:lnTo>
                  <a:pt x="5466" y="9654"/>
                </a:lnTo>
                <a:lnTo>
                  <a:pt x="5477" y="9625"/>
                </a:lnTo>
                <a:lnTo>
                  <a:pt x="5490" y="9601"/>
                </a:lnTo>
                <a:lnTo>
                  <a:pt x="5497" y="9590"/>
                </a:lnTo>
                <a:lnTo>
                  <a:pt x="5503" y="9580"/>
                </a:lnTo>
                <a:lnTo>
                  <a:pt x="5509" y="9572"/>
                </a:lnTo>
                <a:lnTo>
                  <a:pt x="5515" y="9564"/>
                </a:lnTo>
                <a:lnTo>
                  <a:pt x="5521" y="9558"/>
                </a:lnTo>
                <a:lnTo>
                  <a:pt x="5526" y="9554"/>
                </a:lnTo>
                <a:lnTo>
                  <a:pt x="5532" y="9551"/>
                </a:lnTo>
                <a:lnTo>
                  <a:pt x="5537" y="9551"/>
                </a:lnTo>
                <a:lnTo>
                  <a:pt x="5539" y="9536"/>
                </a:lnTo>
                <a:lnTo>
                  <a:pt x="5544" y="9523"/>
                </a:lnTo>
                <a:lnTo>
                  <a:pt x="5549" y="9510"/>
                </a:lnTo>
                <a:lnTo>
                  <a:pt x="5556" y="9499"/>
                </a:lnTo>
                <a:lnTo>
                  <a:pt x="5565" y="9489"/>
                </a:lnTo>
                <a:lnTo>
                  <a:pt x="5575" y="9480"/>
                </a:lnTo>
                <a:lnTo>
                  <a:pt x="5587" y="9472"/>
                </a:lnTo>
                <a:lnTo>
                  <a:pt x="5600" y="9466"/>
                </a:lnTo>
                <a:lnTo>
                  <a:pt x="5603" y="9475"/>
                </a:lnTo>
                <a:lnTo>
                  <a:pt x="5606" y="9482"/>
                </a:lnTo>
                <a:lnTo>
                  <a:pt x="5610" y="9489"/>
                </a:lnTo>
                <a:lnTo>
                  <a:pt x="5614" y="9494"/>
                </a:lnTo>
                <a:lnTo>
                  <a:pt x="5619" y="9497"/>
                </a:lnTo>
                <a:lnTo>
                  <a:pt x="5623" y="9500"/>
                </a:lnTo>
                <a:lnTo>
                  <a:pt x="5628" y="9501"/>
                </a:lnTo>
                <a:lnTo>
                  <a:pt x="5633" y="9502"/>
                </a:lnTo>
                <a:lnTo>
                  <a:pt x="5639" y="9501"/>
                </a:lnTo>
                <a:lnTo>
                  <a:pt x="5644" y="9500"/>
                </a:lnTo>
                <a:lnTo>
                  <a:pt x="5649" y="9498"/>
                </a:lnTo>
                <a:lnTo>
                  <a:pt x="5654" y="9495"/>
                </a:lnTo>
                <a:lnTo>
                  <a:pt x="5659" y="9492"/>
                </a:lnTo>
                <a:lnTo>
                  <a:pt x="5664" y="9488"/>
                </a:lnTo>
                <a:lnTo>
                  <a:pt x="5668" y="9484"/>
                </a:lnTo>
                <a:lnTo>
                  <a:pt x="5673" y="9479"/>
                </a:lnTo>
                <a:lnTo>
                  <a:pt x="5680" y="9468"/>
                </a:lnTo>
                <a:lnTo>
                  <a:pt x="5686" y="9457"/>
                </a:lnTo>
                <a:lnTo>
                  <a:pt x="5687" y="9452"/>
                </a:lnTo>
                <a:lnTo>
                  <a:pt x="5689" y="9447"/>
                </a:lnTo>
                <a:lnTo>
                  <a:pt x="5689" y="9441"/>
                </a:lnTo>
                <a:lnTo>
                  <a:pt x="5689" y="9436"/>
                </a:lnTo>
                <a:lnTo>
                  <a:pt x="5688" y="9431"/>
                </a:lnTo>
                <a:lnTo>
                  <a:pt x="5686" y="9427"/>
                </a:lnTo>
                <a:lnTo>
                  <a:pt x="5683" y="9423"/>
                </a:lnTo>
                <a:lnTo>
                  <a:pt x="5679" y="9420"/>
                </a:lnTo>
                <a:lnTo>
                  <a:pt x="5675" y="9417"/>
                </a:lnTo>
                <a:lnTo>
                  <a:pt x="5669" y="9415"/>
                </a:lnTo>
                <a:lnTo>
                  <a:pt x="5661" y="9414"/>
                </a:lnTo>
                <a:lnTo>
                  <a:pt x="5653" y="9413"/>
                </a:lnTo>
                <a:lnTo>
                  <a:pt x="5653" y="9383"/>
                </a:lnTo>
                <a:lnTo>
                  <a:pt x="5652" y="9348"/>
                </a:lnTo>
                <a:lnTo>
                  <a:pt x="5651" y="9311"/>
                </a:lnTo>
                <a:lnTo>
                  <a:pt x="5650" y="9273"/>
                </a:lnTo>
                <a:lnTo>
                  <a:pt x="5650" y="9236"/>
                </a:lnTo>
                <a:lnTo>
                  <a:pt x="5650" y="9203"/>
                </a:lnTo>
                <a:lnTo>
                  <a:pt x="5651" y="9177"/>
                </a:lnTo>
                <a:lnTo>
                  <a:pt x="5653" y="9159"/>
                </a:lnTo>
                <a:lnTo>
                  <a:pt x="5652" y="9138"/>
                </a:lnTo>
                <a:lnTo>
                  <a:pt x="5649" y="9114"/>
                </a:lnTo>
                <a:lnTo>
                  <a:pt x="5644" y="9091"/>
                </a:lnTo>
                <a:lnTo>
                  <a:pt x="5637" y="9067"/>
                </a:lnTo>
                <a:lnTo>
                  <a:pt x="5629" y="9044"/>
                </a:lnTo>
                <a:lnTo>
                  <a:pt x="5619" y="9023"/>
                </a:lnTo>
                <a:lnTo>
                  <a:pt x="5614" y="9013"/>
                </a:lnTo>
                <a:lnTo>
                  <a:pt x="5609" y="9003"/>
                </a:lnTo>
                <a:lnTo>
                  <a:pt x="5602" y="8994"/>
                </a:lnTo>
                <a:lnTo>
                  <a:pt x="5596" y="8987"/>
                </a:lnTo>
                <a:lnTo>
                  <a:pt x="5590" y="8980"/>
                </a:lnTo>
                <a:lnTo>
                  <a:pt x="5583" y="8975"/>
                </a:lnTo>
                <a:lnTo>
                  <a:pt x="5576" y="8970"/>
                </a:lnTo>
                <a:lnTo>
                  <a:pt x="5570" y="8967"/>
                </a:lnTo>
                <a:lnTo>
                  <a:pt x="5563" y="8965"/>
                </a:lnTo>
                <a:lnTo>
                  <a:pt x="5556" y="8965"/>
                </a:lnTo>
                <a:lnTo>
                  <a:pt x="5549" y="8966"/>
                </a:lnTo>
                <a:lnTo>
                  <a:pt x="5542" y="8969"/>
                </a:lnTo>
                <a:lnTo>
                  <a:pt x="5534" y="8974"/>
                </a:lnTo>
                <a:lnTo>
                  <a:pt x="5527" y="8980"/>
                </a:lnTo>
                <a:lnTo>
                  <a:pt x="5520" y="8988"/>
                </a:lnTo>
                <a:lnTo>
                  <a:pt x="5513" y="8999"/>
                </a:lnTo>
                <a:lnTo>
                  <a:pt x="5506" y="9012"/>
                </a:lnTo>
                <a:lnTo>
                  <a:pt x="5498" y="9027"/>
                </a:lnTo>
                <a:lnTo>
                  <a:pt x="5491" y="9044"/>
                </a:lnTo>
                <a:lnTo>
                  <a:pt x="5484" y="9064"/>
                </a:lnTo>
                <a:lnTo>
                  <a:pt x="5467" y="9057"/>
                </a:lnTo>
                <a:lnTo>
                  <a:pt x="5449" y="9051"/>
                </a:lnTo>
                <a:lnTo>
                  <a:pt x="5428" y="9045"/>
                </a:lnTo>
                <a:lnTo>
                  <a:pt x="5407" y="9040"/>
                </a:lnTo>
                <a:lnTo>
                  <a:pt x="5360" y="9030"/>
                </a:lnTo>
                <a:lnTo>
                  <a:pt x="5312" y="9017"/>
                </a:lnTo>
                <a:lnTo>
                  <a:pt x="5289" y="9010"/>
                </a:lnTo>
                <a:lnTo>
                  <a:pt x="5268" y="9000"/>
                </a:lnTo>
                <a:lnTo>
                  <a:pt x="5258" y="8995"/>
                </a:lnTo>
                <a:lnTo>
                  <a:pt x="5248" y="8989"/>
                </a:lnTo>
                <a:lnTo>
                  <a:pt x="5239" y="8984"/>
                </a:lnTo>
                <a:lnTo>
                  <a:pt x="5230" y="8977"/>
                </a:lnTo>
                <a:lnTo>
                  <a:pt x="5221" y="8970"/>
                </a:lnTo>
                <a:lnTo>
                  <a:pt x="5214" y="8963"/>
                </a:lnTo>
                <a:lnTo>
                  <a:pt x="5207" y="8955"/>
                </a:lnTo>
                <a:lnTo>
                  <a:pt x="5201" y="8946"/>
                </a:lnTo>
                <a:lnTo>
                  <a:pt x="5196" y="8937"/>
                </a:lnTo>
                <a:lnTo>
                  <a:pt x="5192" y="8927"/>
                </a:lnTo>
                <a:lnTo>
                  <a:pt x="5189" y="8917"/>
                </a:lnTo>
                <a:lnTo>
                  <a:pt x="5187" y="8905"/>
                </a:lnTo>
                <a:lnTo>
                  <a:pt x="5188" y="8899"/>
                </a:lnTo>
                <a:lnTo>
                  <a:pt x="5188" y="8893"/>
                </a:lnTo>
                <a:lnTo>
                  <a:pt x="5187" y="8886"/>
                </a:lnTo>
                <a:lnTo>
                  <a:pt x="5186" y="8878"/>
                </a:lnTo>
                <a:lnTo>
                  <a:pt x="5181" y="8864"/>
                </a:lnTo>
                <a:lnTo>
                  <a:pt x="5174" y="8849"/>
                </a:lnTo>
                <a:lnTo>
                  <a:pt x="5165" y="8833"/>
                </a:lnTo>
                <a:lnTo>
                  <a:pt x="5154" y="8817"/>
                </a:lnTo>
                <a:lnTo>
                  <a:pt x="5143" y="8800"/>
                </a:lnTo>
                <a:lnTo>
                  <a:pt x="5130" y="8784"/>
                </a:lnTo>
                <a:lnTo>
                  <a:pt x="5116" y="8769"/>
                </a:lnTo>
                <a:lnTo>
                  <a:pt x="5101" y="8753"/>
                </a:lnTo>
                <a:lnTo>
                  <a:pt x="5087" y="8739"/>
                </a:lnTo>
                <a:lnTo>
                  <a:pt x="5074" y="8727"/>
                </a:lnTo>
                <a:lnTo>
                  <a:pt x="5061" y="8715"/>
                </a:lnTo>
                <a:lnTo>
                  <a:pt x="5049" y="8706"/>
                </a:lnTo>
                <a:lnTo>
                  <a:pt x="5038" y="8698"/>
                </a:lnTo>
                <a:lnTo>
                  <a:pt x="5029" y="8693"/>
                </a:lnTo>
                <a:lnTo>
                  <a:pt x="5032" y="8683"/>
                </a:lnTo>
                <a:lnTo>
                  <a:pt x="5033" y="8672"/>
                </a:lnTo>
                <a:lnTo>
                  <a:pt x="5033" y="8662"/>
                </a:lnTo>
                <a:lnTo>
                  <a:pt x="5031" y="8651"/>
                </a:lnTo>
                <a:lnTo>
                  <a:pt x="5028" y="8641"/>
                </a:lnTo>
                <a:lnTo>
                  <a:pt x="5024" y="8629"/>
                </a:lnTo>
                <a:lnTo>
                  <a:pt x="5018" y="8618"/>
                </a:lnTo>
                <a:lnTo>
                  <a:pt x="5011" y="8607"/>
                </a:lnTo>
                <a:lnTo>
                  <a:pt x="5004" y="8597"/>
                </a:lnTo>
                <a:lnTo>
                  <a:pt x="4995" y="8586"/>
                </a:lnTo>
                <a:lnTo>
                  <a:pt x="4985" y="8575"/>
                </a:lnTo>
                <a:lnTo>
                  <a:pt x="4974" y="8565"/>
                </a:lnTo>
                <a:lnTo>
                  <a:pt x="4962" y="8555"/>
                </a:lnTo>
                <a:lnTo>
                  <a:pt x="4951" y="8545"/>
                </a:lnTo>
                <a:lnTo>
                  <a:pt x="4938" y="8535"/>
                </a:lnTo>
                <a:lnTo>
                  <a:pt x="4925" y="8526"/>
                </a:lnTo>
                <a:lnTo>
                  <a:pt x="4898" y="8508"/>
                </a:lnTo>
                <a:lnTo>
                  <a:pt x="4871" y="8490"/>
                </a:lnTo>
                <a:lnTo>
                  <a:pt x="4842" y="8476"/>
                </a:lnTo>
                <a:lnTo>
                  <a:pt x="4814" y="8463"/>
                </a:lnTo>
                <a:lnTo>
                  <a:pt x="4788" y="8453"/>
                </a:lnTo>
                <a:lnTo>
                  <a:pt x="4763" y="8446"/>
                </a:lnTo>
                <a:lnTo>
                  <a:pt x="4752" y="8443"/>
                </a:lnTo>
                <a:lnTo>
                  <a:pt x="4741" y="8441"/>
                </a:lnTo>
                <a:lnTo>
                  <a:pt x="4731" y="8440"/>
                </a:lnTo>
                <a:lnTo>
                  <a:pt x="4721" y="8439"/>
                </a:lnTo>
                <a:lnTo>
                  <a:pt x="4721" y="8435"/>
                </a:lnTo>
                <a:lnTo>
                  <a:pt x="4719" y="8432"/>
                </a:lnTo>
                <a:lnTo>
                  <a:pt x="4717" y="8429"/>
                </a:lnTo>
                <a:lnTo>
                  <a:pt x="4713" y="8427"/>
                </a:lnTo>
                <a:lnTo>
                  <a:pt x="4705" y="8423"/>
                </a:lnTo>
                <a:lnTo>
                  <a:pt x="4695" y="8420"/>
                </a:lnTo>
                <a:lnTo>
                  <a:pt x="4685" y="8417"/>
                </a:lnTo>
                <a:lnTo>
                  <a:pt x="4674" y="8413"/>
                </a:lnTo>
                <a:lnTo>
                  <a:pt x="4670" y="8410"/>
                </a:lnTo>
                <a:lnTo>
                  <a:pt x="4665" y="8406"/>
                </a:lnTo>
                <a:lnTo>
                  <a:pt x="4661" y="8402"/>
                </a:lnTo>
                <a:lnTo>
                  <a:pt x="4658" y="8397"/>
                </a:lnTo>
                <a:lnTo>
                  <a:pt x="4650" y="8397"/>
                </a:lnTo>
                <a:lnTo>
                  <a:pt x="4642" y="8396"/>
                </a:lnTo>
                <a:lnTo>
                  <a:pt x="4634" y="8394"/>
                </a:lnTo>
                <a:lnTo>
                  <a:pt x="4626" y="8392"/>
                </a:lnTo>
                <a:lnTo>
                  <a:pt x="4619" y="8389"/>
                </a:lnTo>
                <a:lnTo>
                  <a:pt x="4612" y="8386"/>
                </a:lnTo>
                <a:lnTo>
                  <a:pt x="4606" y="8382"/>
                </a:lnTo>
                <a:lnTo>
                  <a:pt x="4598" y="8376"/>
                </a:lnTo>
                <a:lnTo>
                  <a:pt x="4586" y="8367"/>
                </a:lnTo>
                <a:lnTo>
                  <a:pt x="4574" y="8356"/>
                </a:lnTo>
                <a:lnTo>
                  <a:pt x="4563" y="8345"/>
                </a:lnTo>
                <a:lnTo>
                  <a:pt x="4552" y="8333"/>
                </a:lnTo>
                <a:lnTo>
                  <a:pt x="4540" y="8321"/>
                </a:lnTo>
                <a:lnTo>
                  <a:pt x="4528" y="8310"/>
                </a:lnTo>
                <a:lnTo>
                  <a:pt x="4516" y="8299"/>
                </a:lnTo>
                <a:lnTo>
                  <a:pt x="4503" y="8290"/>
                </a:lnTo>
                <a:lnTo>
                  <a:pt x="4496" y="8286"/>
                </a:lnTo>
                <a:lnTo>
                  <a:pt x="4488" y="8282"/>
                </a:lnTo>
                <a:lnTo>
                  <a:pt x="4481" y="8278"/>
                </a:lnTo>
                <a:lnTo>
                  <a:pt x="4472" y="8276"/>
                </a:lnTo>
                <a:lnTo>
                  <a:pt x="4463" y="8273"/>
                </a:lnTo>
                <a:lnTo>
                  <a:pt x="4455" y="8272"/>
                </a:lnTo>
                <a:lnTo>
                  <a:pt x="4445" y="8271"/>
                </a:lnTo>
                <a:lnTo>
                  <a:pt x="4436" y="8270"/>
                </a:lnTo>
                <a:lnTo>
                  <a:pt x="4413" y="8269"/>
                </a:lnTo>
                <a:lnTo>
                  <a:pt x="4390" y="8267"/>
                </a:lnTo>
                <a:lnTo>
                  <a:pt x="4367" y="8262"/>
                </a:lnTo>
                <a:lnTo>
                  <a:pt x="4343" y="8257"/>
                </a:lnTo>
                <a:lnTo>
                  <a:pt x="4298" y="8243"/>
                </a:lnTo>
                <a:lnTo>
                  <a:pt x="4253" y="8227"/>
                </a:lnTo>
                <a:lnTo>
                  <a:pt x="4207" y="8212"/>
                </a:lnTo>
                <a:lnTo>
                  <a:pt x="4163" y="8198"/>
                </a:lnTo>
                <a:lnTo>
                  <a:pt x="4141" y="8193"/>
                </a:lnTo>
                <a:lnTo>
                  <a:pt x="4119" y="8189"/>
                </a:lnTo>
                <a:lnTo>
                  <a:pt x="4098" y="8186"/>
                </a:lnTo>
                <a:lnTo>
                  <a:pt x="4076" y="8185"/>
                </a:lnTo>
                <a:lnTo>
                  <a:pt x="4072" y="8179"/>
                </a:lnTo>
                <a:lnTo>
                  <a:pt x="4067" y="8172"/>
                </a:lnTo>
                <a:lnTo>
                  <a:pt x="4062" y="8167"/>
                </a:lnTo>
                <a:lnTo>
                  <a:pt x="4056" y="8162"/>
                </a:lnTo>
                <a:lnTo>
                  <a:pt x="4049" y="8157"/>
                </a:lnTo>
                <a:lnTo>
                  <a:pt x="4042" y="8153"/>
                </a:lnTo>
                <a:lnTo>
                  <a:pt x="4034" y="8149"/>
                </a:lnTo>
                <a:lnTo>
                  <a:pt x="4026" y="8145"/>
                </a:lnTo>
                <a:lnTo>
                  <a:pt x="4009" y="8139"/>
                </a:lnTo>
                <a:lnTo>
                  <a:pt x="3990" y="8134"/>
                </a:lnTo>
                <a:lnTo>
                  <a:pt x="3971" y="8129"/>
                </a:lnTo>
                <a:lnTo>
                  <a:pt x="3950" y="8123"/>
                </a:lnTo>
                <a:lnTo>
                  <a:pt x="3930" y="8119"/>
                </a:lnTo>
                <a:lnTo>
                  <a:pt x="3910" y="8114"/>
                </a:lnTo>
                <a:lnTo>
                  <a:pt x="3892" y="8108"/>
                </a:lnTo>
                <a:lnTo>
                  <a:pt x="3874" y="8101"/>
                </a:lnTo>
                <a:lnTo>
                  <a:pt x="3866" y="8097"/>
                </a:lnTo>
                <a:lnTo>
                  <a:pt x="3858" y="8093"/>
                </a:lnTo>
                <a:lnTo>
                  <a:pt x="3850" y="8089"/>
                </a:lnTo>
                <a:lnTo>
                  <a:pt x="3844" y="8084"/>
                </a:lnTo>
                <a:lnTo>
                  <a:pt x="3837" y="8078"/>
                </a:lnTo>
                <a:lnTo>
                  <a:pt x="3831" y="8072"/>
                </a:lnTo>
                <a:lnTo>
                  <a:pt x="3826" y="8065"/>
                </a:lnTo>
                <a:lnTo>
                  <a:pt x="3822" y="8058"/>
                </a:lnTo>
                <a:lnTo>
                  <a:pt x="3814" y="8058"/>
                </a:lnTo>
                <a:lnTo>
                  <a:pt x="3805" y="8056"/>
                </a:lnTo>
                <a:lnTo>
                  <a:pt x="3798" y="8054"/>
                </a:lnTo>
                <a:lnTo>
                  <a:pt x="3790" y="8051"/>
                </a:lnTo>
                <a:lnTo>
                  <a:pt x="3783" y="8047"/>
                </a:lnTo>
                <a:lnTo>
                  <a:pt x="3776" y="8042"/>
                </a:lnTo>
                <a:lnTo>
                  <a:pt x="3770" y="8036"/>
                </a:lnTo>
                <a:lnTo>
                  <a:pt x="3763" y="8030"/>
                </a:lnTo>
                <a:lnTo>
                  <a:pt x="3758" y="8023"/>
                </a:lnTo>
                <a:lnTo>
                  <a:pt x="3752" y="8016"/>
                </a:lnTo>
                <a:lnTo>
                  <a:pt x="3747" y="8008"/>
                </a:lnTo>
                <a:lnTo>
                  <a:pt x="3741" y="7999"/>
                </a:lnTo>
                <a:lnTo>
                  <a:pt x="3732" y="7981"/>
                </a:lnTo>
                <a:lnTo>
                  <a:pt x="3724" y="7962"/>
                </a:lnTo>
                <a:lnTo>
                  <a:pt x="3716" y="7943"/>
                </a:lnTo>
                <a:lnTo>
                  <a:pt x="3709" y="7923"/>
                </a:lnTo>
                <a:lnTo>
                  <a:pt x="3704" y="7903"/>
                </a:lnTo>
                <a:lnTo>
                  <a:pt x="3700" y="7884"/>
                </a:lnTo>
                <a:lnTo>
                  <a:pt x="3696" y="7864"/>
                </a:lnTo>
                <a:lnTo>
                  <a:pt x="3694" y="7847"/>
                </a:lnTo>
                <a:lnTo>
                  <a:pt x="3692" y="7832"/>
                </a:lnTo>
                <a:lnTo>
                  <a:pt x="3691" y="7818"/>
                </a:lnTo>
                <a:lnTo>
                  <a:pt x="3690" y="7802"/>
                </a:lnTo>
                <a:lnTo>
                  <a:pt x="3687" y="7781"/>
                </a:lnTo>
                <a:lnTo>
                  <a:pt x="3683" y="7757"/>
                </a:lnTo>
                <a:lnTo>
                  <a:pt x="3678" y="7730"/>
                </a:lnTo>
                <a:lnTo>
                  <a:pt x="3671" y="7702"/>
                </a:lnTo>
                <a:lnTo>
                  <a:pt x="3663" y="7673"/>
                </a:lnTo>
                <a:lnTo>
                  <a:pt x="3654" y="7643"/>
                </a:lnTo>
                <a:lnTo>
                  <a:pt x="3643" y="7612"/>
                </a:lnTo>
                <a:lnTo>
                  <a:pt x="3632" y="7584"/>
                </a:lnTo>
                <a:lnTo>
                  <a:pt x="3619" y="7557"/>
                </a:lnTo>
                <a:lnTo>
                  <a:pt x="3612" y="7544"/>
                </a:lnTo>
                <a:lnTo>
                  <a:pt x="3605" y="7532"/>
                </a:lnTo>
                <a:lnTo>
                  <a:pt x="3597" y="7521"/>
                </a:lnTo>
                <a:lnTo>
                  <a:pt x="3588" y="7510"/>
                </a:lnTo>
                <a:lnTo>
                  <a:pt x="3580" y="7501"/>
                </a:lnTo>
                <a:lnTo>
                  <a:pt x="3572" y="7491"/>
                </a:lnTo>
                <a:lnTo>
                  <a:pt x="3563" y="7484"/>
                </a:lnTo>
                <a:lnTo>
                  <a:pt x="3554" y="7477"/>
                </a:lnTo>
                <a:lnTo>
                  <a:pt x="3545" y="7472"/>
                </a:lnTo>
                <a:lnTo>
                  <a:pt x="3535" y="7469"/>
                </a:lnTo>
                <a:lnTo>
                  <a:pt x="3526" y="7466"/>
                </a:lnTo>
                <a:lnTo>
                  <a:pt x="3515" y="7466"/>
                </a:lnTo>
                <a:lnTo>
                  <a:pt x="3515" y="7459"/>
                </a:lnTo>
                <a:lnTo>
                  <a:pt x="3514" y="7453"/>
                </a:lnTo>
                <a:lnTo>
                  <a:pt x="3512" y="7446"/>
                </a:lnTo>
                <a:lnTo>
                  <a:pt x="3509" y="7439"/>
                </a:lnTo>
                <a:lnTo>
                  <a:pt x="3501" y="7424"/>
                </a:lnTo>
                <a:lnTo>
                  <a:pt x="3491" y="7410"/>
                </a:lnTo>
                <a:lnTo>
                  <a:pt x="3479" y="7395"/>
                </a:lnTo>
                <a:lnTo>
                  <a:pt x="3466" y="7380"/>
                </a:lnTo>
                <a:lnTo>
                  <a:pt x="3450" y="7364"/>
                </a:lnTo>
                <a:lnTo>
                  <a:pt x="3434" y="7350"/>
                </a:lnTo>
                <a:lnTo>
                  <a:pt x="3418" y="7337"/>
                </a:lnTo>
                <a:lnTo>
                  <a:pt x="3402" y="7325"/>
                </a:lnTo>
                <a:lnTo>
                  <a:pt x="3386" y="7314"/>
                </a:lnTo>
                <a:lnTo>
                  <a:pt x="3371" y="7304"/>
                </a:lnTo>
                <a:lnTo>
                  <a:pt x="3357" y="7297"/>
                </a:lnTo>
                <a:lnTo>
                  <a:pt x="3345" y="7291"/>
                </a:lnTo>
                <a:lnTo>
                  <a:pt x="3333" y="7287"/>
                </a:lnTo>
                <a:lnTo>
                  <a:pt x="3324" y="7286"/>
                </a:lnTo>
                <a:lnTo>
                  <a:pt x="3322" y="7276"/>
                </a:lnTo>
                <a:lnTo>
                  <a:pt x="3315" y="7258"/>
                </a:lnTo>
                <a:lnTo>
                  <a:pt x="3304" y="7233"/>
                </a:lnTo>
                <a:lnTo>
                  <a:pt x="3291" y="7207"/>
                </a:lnTo>
                <a:lnTo>
                  <a:pt x="3277" y="7181"/>
                </a:lnTo>
                <a:lnTo>
                  <a:pt x="3263" y="7159"/>
                </a:lnTo>
                <a:lnTo>
                  <a:pt x="3257" y="7150"/>
                </a:lnTo>
                <a:lnTo>
                  <a:pt x="3250" y="7144"/>
                </a:lnTo>
                <a:lnTo>
                  <a:pt x="3248" y="7141"/>
                </a:lnTo>
                <a:lnTo>
                  <a:pt x="3245" y="7139"/>
                </a:lnTo>
                <a:lnTo>
                  <a:pt x="3242" y="7138"/>
                </a:lnTo>
                <a:lnTo>
                  <a:pt x="3240" y="7138"/>
                </a:lnTo>
                <a:lnTo>
                  <a:pt x="3240" y="7133"/>
                </a:lnTo>
                <a:lnTo>
                  <a:pt x="3238" y="7128"/>
                </a:lnTo>
                <a:lnTo>
                  <a:pt x="3236" y="7121"/>
                </a:lnTo>
                <a:lnTo>
                  <a:pt x="3233" y="7113"/>
                </a:lnTo>
                <a:lnTo>
                  <a:pt x="3225" y="7098"/>
                </a:lnTo>
                <a:lnTo>
                  <a:pt x="3215" y="7080"/>
                </a:lnTo>
                <a:lnTo>
                  <a:pt x="3201" y="7061"/>
                </a:lnTo>
                <a:lnTo>
                  <a:pt x="3187" y="7043"/>
                </a:lnTo>
                <a:lnTo>
                  <a:pt x="3172" y="7024"/>
                </a:lnTo>
                <a:lnTo>
                  <a:pt x="3156" y="7006"/>
                </a:lnTo>
                <a:lnTo>
                  <a:pt x="3140" y="6989"/>
                </a:lnTo>
                <a:lnTo>
                  <a:pt x="3124" y="6975"/>
                </a:lnTo>
                <a:lnTo>
                  <a:pt x="3116" y="6969"/>
                </a:lnTo>
                <a:lnTo>
                  <a:pt x="3109" y="6964"/>
                </a:lnTo>
                <a:lnTo>
                  <a:pt x="3101" y="6959"/>
                </a:lnTo>
                <a:lnTo>
                  <a:pt x="3094" y="6956"/>
                </a:lnTo>
                <a:lnTo>
                  <a:pt x="3086" y="6954"/>
                </a:lnTo>
                <a:lnTo>
                  <a:pt x="3080" y="6953"/>
                </a:lnTo>
                <a:lnTo>
                  <a:pt x="3074" y="6953"/>
                </a:lnTo>
                <a:lnTo>
                  <a:pt x="3069" y="6955"/>
                </a:lnTo>
                <a:lnTo>
                  <a:pt x="3064" y="6957"/>
                </a:lnTo>
                <a:lnTo>
                  <a:pt x="3060" y="6962"/>
                </a:lnTo>
                <a:lnTo>
                  <a:pt x="3056" y="6968"/>
                </a:lnTo>
                <a:lnTo>
                  <a:pt x="3053" y="6975"/>
                </a:lnTo>
                <a:lnTo>
                  <a:pt x="3052" y="6981"/>
                </a:lnTo>
                <a:lnTo>
                  <a:pt x="3052" y="6986"/>
                </a:lnTo>
                <a:lnTo>
                  <a:pt x="3052" y="6992"/>
                </a:lnTo>
                <a:lnTo>
                  <a:pt x="3054" y="6999"/>
                </a:lnTo>
                <a:lnTo>
                  <a:pt x="3058" y="7011"/>
                </a:lnTo>
                <a:lnTo>
                  <a:pt x="3065" y="7023"/>
                </a:lnTo>
                <a:lnTo>
                  <a:pt x="3074" y="7035"/>
                </a:lnTo>
                <a:lnTo>
                  <a:pt x="3085" y="7048"/>
                </a:lnTo>
                <a:lnTo>
                  <a:pt x="3097" y="7061"/>
                </a:lnTo>
                <a:lnTo>
                  <a:pt x="3109" y="7074"/>
                </a:lnTo>
                <a:lnTo>
                  <a:pt x="3121" y="7087"/>
                </a:lnTo>
                <a:lnTo>
                  <a:pt x="3133" y="7101"/>
                </a:lnTo>
                <a:lnTo>
                  <a:pt x="3145" y="7114"/>
                </a:lnTo>
                <a:lnTo>
                  <a:pt x="3155" y="7128"/>
                </a:lnTo>
                <a:lnTo>
                  <a:pt x="3164" y="7141"/>
                </a:lnTo>
                <a:lnTo>
                  <a:pt x="3170" y="7154"/>
                </a:lnTo>
                <a:lnTo>
                  <a:pt x="3173" y="7161"/>
                </a:lnTo>
                <a:lnTo>
                  <a:pt x="3175" y="7167"/>
                </a:lnTo>
                <a:lnTo>
                  <a:pt x="3176" y="7174"/>
                </a:lnTo>
                <a:lnTo>
                  <a:pt x="3176" y="7180"/>
                </a:lnTo>
                <a:lnTo>
                  <a:pt x="3179" y="7181"/>
                </a:lnTo>
                <a:lnTo>
                  <a:pt x="3182" y="7182"/>
                </a:lnTo>
                <a:lnTo>
                  <a:pt x="3186" y="7185"/>
                </a:lnTo>
                <a:lnTo>
                  <a:pt x="3189" y="7189"/>
                </a:lnTo>
                <a:lnTo>
                  <a:pt x="3198" y="7199"/>
                </a:lnTo>
                <a:lnTo>
                  <a:pt x="3208" y="7213"/>
                </a:lnTo>
                <a:lnTo>
                  <a:pt x="3232" y="7248"/>
                </a:lnTo>
                <a:lnTo>
                  <a:pt x="3257" y="7288"/>
                </a:lnTo>
                <a:lnTo>
                  <a:pt x="3281" y="7331"/>
                </a:lnTo>
                <a:lnTo>
                  <a:pt x="3303" y="7370"/>
                </a:lnTo>
                <a:lnTo>
                  <a:pt x="3321" y="7403"/>
                </a:lnTo>
                <a:lnTo>
                  <a:pt x="3333" y="7424"/>
                </a:lnTo>
                <a:lnTo>
                  <a:pt x="3354" y="7460"/>
                </a:lnTo>
                <a:lnTo>
                  <a:pt x="3371" y="7492"/>
                </a:lnTo>
                <a:lnTo>
                  <a:pt x="3384" y="7521"/>
                </a:lnTo>
                <a:lnTo>
                  <a:pt x="3394" y="7545"/>
                </a:lnTo>
                <a:lnTo>
                  <a:pt x="3401" y="7567"/>
                </a:lnTo>
                <a:lnTo>
                  <a:pt x="3406" y="7585"/>
                </a:lnTo>
                <a:lnTo>
                  <a:pt x="3407" y="7600"/>
                </a:lnTo>
                <a:lnTo>
                  <a:pt x="3406" y="7611"/>
                </a:lnTo>
                <a:lnTo>
                  <a:pt x="3403" y="7621"/>
                </a:lnTo>
                <a:lnTo>
                  <a:pt x="3398" y="7628"/>
                </a:lnTo>
                <a:lnTo>
                  <a:pt x="3391" y="7632"/>
                </a:lnTo>
                <a:lnTo>
                  <a:pt x="3382" y="7634"/>
                </a:lnTo>
                <a:lnTo>
                  <a:pt x="3372" y="7633"/>
                </a:lnTo>
                <a:lnTo>
                  <a:pt x="3360" y="7630"/>
                </a:lnTo>
                <a:lnTo>
                  <a:pt x="3348" y="7625"/>
                </a:lnTo>
                <a:lnTo>
                  <a:pt x="3333" y="7618"/>
                </a:lnTo>
                <a:lnTo>
                  <a:pt x="3319" y="7610"/>
                </a:lnTo>
                <a:lnTo>
                  <a:pt x="3305" y="7600"/>
                </a:lnTo>
                <a:lnTo>
                  <a:pt x="3290" y="7589"/>
                </a:lnTo>
                <a:lnTo>
                  <a:pt x="3275" y="7576"/>
                </a:lnTo>
                <a:lnTo>
                  <a:pt x="3260" y="7563"/>
                </a:lnTo>
                <a:lnTo>
                  <a:pt x="3245" y="7548"/>
                </a:lnTo>
                <a:lnTo>
                  <a:pt x="3231" y="7533"/>
                </a:lnTo>
                <a:lnTo>
                  <a:pt x="3217" y="7517"/>
                </a:lnTo>
                <a:lnTo>
                  <a:pt x="3203" y="7501"/>
                </a:lnTo>
                <a:lnTo>
                  <a:pt x="3192" y="7483"/>
                </a:lnTo>
                <a:lnTo>
                  <a:pt x="3181" y="7466"/>
                </a:lnTo>
                <a:lnTo>
                  <a:pt x="3173" y="7448"/>
                </a:lnTo>
                <a:lnTo>
                  <a:pt x="3165" y="7431"/>
                </a:lnTo>
                <a:lnTo>
                  <a:pt x="3160" y="7414"/>
                </a:lnTo>
                <a:lnTo>
                  <a:pt x="3156" y="7398"/>
                </a:lnTo>
                <a:lnTo>
                  <a:pt x="3155" y="7381"/>
                </a:lnTo>
                <a:lnTo>
                  <a:pt x="3150" y="7378"/>
                </a:lnTo>
                <a:lnTo>
                  <a:pt x="3145" y="7374"/>
                </a:lnTo>
                <a:lnTo>
                  <a:pt x="3140" y="7369"/>
                </a:lnTo>
                <a:lnTo>
                  <a:pt x="3134" y="7363"/>
                </a:lnTo>
                <a:lnTo>
                  <a:pt x="3123" y="7349"/>
                </a:lnTo>
                <a:lnTo>
                  <a:pt x="3112" y="7333"/>
                </a:lnTo>
                <a:lnTo>
                  <a:pt x="3100" y="7314"/>
                </a:lnTo>
                <a:lnTo>
                  <a:pt x="3089" y="7294"/>
                </a:lnTo>
                <a:lnTo>
                  <a:pt x="3077" y="7272"/>
                </a:lnTo>
                <a:lnTo>
                  <a:pt x="3066" y="7249"/>
                </a:lnTo>
                <a:lnTo>
                  <a:pt x="3056" y="7226"/>
                </a:lnTo>
                <a:lnTo>
                  <a:pt x="3047" y="7203"/>
                </a:lnTo>
                <a:lnTo>
                  <a:pt x="3039" y="7181"/>
                </a:lnTo>
                <a:lnTo>
                  <a:pt x="3032" y="7160"/>
                </a:lnTo>
                <a:lnTo>
                  <a:pt x="3026" y="7140"/>
                </a:lnTo>
                <a:lnTo>
                  <a:pt x="3021" y="7123"/>
                </a:lnTo>
                <a:lnTo>
                  <a:pt x="3019" y="7107"/>
                </a:lnTo>
                <a:lnTo>
                  <a:pt x="3018" y="7095"/>
                </a:lnTo>
                <a:lnTo>
                  <a:pt x="3011" y="7088"/>
                </a:lnTo>
                <a:lnTo>
                  <a:pt x="3004" y="7078"/>
                </a:lnTo>
                <a:lnTo>
                  <a:pt x="2995" y="7065"/>
                </a:lnTo>
                <a:lnTo>
                  <a:pt x="2986" y="7050"/>
                </a:lnTo>
                <a:lnTo>
                  <a:pt x="2966" y="7014"/>
                </a:lnTo>
                <a:lnTo>
                  <a:pt x="2945" y="6974"/>
                </a:lnTo>
                <a:lnTo>
                  <a:pt x="2926" y="6937"/>
                </a:lnTo>
                <a:lnTo>
                  <a:pt x="2912" y="6905"/>
                </a:lnTo>
                <a:lnTo>
                  <a:pt x="2907" y="6892"/>
                </a:lnTo>
                <a:lnTo>
                  <a:pt x="2903" y="6882"/>
                </a:lnTo>
                <a:lnTo>
                  <a:pt x="2901" y="6876"/>
                </a:lnTo>
                <a:lnTo>
                  <a:pt x="2901" y="6874"/>
                </a:lnTo>
                <a:lnTo>
                  <a:pt x="2901" y="6849"/>
                </a:lnTo>
                <a:lnTo>
                  <a:pt x="2898" y="6828"/>
                </a:lnTo>
                <a:lnTo>
                  <a:pt x="2894" y="6808"/>
                </a:lnTo>
                <a:lnTo>
                  <a:pt x="2888" y="6789"/>
                </a:lnTo>
                <a:lnTo>
                  <a:pt x="2885" y="6780"/>
                </a:lnTo>
                <a:lnTo>
                  <a:pt x="2881" y="6772"/>
                </a:lnTo>
                <a:lnTo>
                  <a:pt x="2877" y="6764"/>
                </a:lnTo>
                <a:lnTo>
                  <a:pt x="2872" y="6756"/>
                </a:lnTo>
                <a:lnTo>
                  <a:pt x="2867" y="6749"/>
                </a:lnTo>
                <a:lnTo>
                  <a:pt x="2861" y="6742"/>
                </a:lnTo>
                <a:lnTo>
                  <a:pt x="2855" y="6735"/>
                </a:lnTo>
                <a:lnTo>
                  <a:pt x="2849" y="6729"/>
                </a:lnTo>
                <a:lnTo>
                  <a:pt x="2842" y="6723"/>
                </a:lnTo>
                <a:lnTo>
                  <a:pt x="2834" y="6718"/>
                </a:lnTo>
                <a:lnTo>
                  <a:pt x="2826" y="6713"/>
                </a:lnTo>
                <a:lnTo>
                  <a:pt x="2818" y="6708"/>
                </a:lnTo>
                <a:lnTo>
                  <a:pt x="2801" y="6700"/>
                </a:lnTo>
                <a:lnTo>
                  <a:pt x="2782" y="6694"/>
                </a:lnTo>
                <a:lnTo>
                  <a:pt x="2762" y="6689"/>
                </a:lnTo>
                <a:lnTo>
                  <a:pt x="2740" y="6685"/>
                </a:lnTo>
                <a:lnTo>
                  <a:pt x="2716" y="6683"/>
                </a:lnTo>
                <a:lnTo>
                  <a:pt x="2689" y="6682"/>
                </a:lnTo>
                <a:lnTo>
                  <a:pt x="2682" y="6671"/>
                </a:lnTo>
                <a:lnTo>
                  <a:pt x="2667" y="6649"/>
                </a:lnTo>
                <a:lnTo>
                  <a:pt x="2647" y="6620"/>
                </a:lnTo>
                <a:lnTo>
                  <a:pt x="2625" y="6587"/>
                </a:lnTo>
                <a:lnTo>
                  <a:pt x="2602" y="6556"/>
                </a:lnTo>
                <a:lnTo>
                  <a:pt x="2582" y="6529"/>
                </a:lnTo>
                <a:lnTo>
                  <a:pt x="2568" y="6510"/>
                </a:lnTo>
                <a:lnTo>
                  <a:pt x="2562" y="6503"/>
                </a:lnTo>
                <a:lnTo>
                  <a:pt x="2561" y="6492"/>
                </a:lnTo>
                <a:lnTo>
                  <a:pt x="2558" y="6478"/>
                </a:lnTo>
                <a:lnTo>
                  <a:pt x="2553" y="6462"/>
                </a:lnTo>
                <a:lnTo>
                  <a:pt x="2547" y="6446"/>
                </a:lnTo>
                <a:lnTo>
                  <a:pt x="2539" y="6428"/>
                </a:lnTo>
                <a:lnTo>
                  <a:pt x="2529" y="6409"/>
                </a:lnTo>
                <a:lnTo>
                  <a:pt x="2519" y="6390"/>
                </a:lnTo>
                <a:lnTo>
                  <a:pt x="2508" y="6371"/>
                </a:lnTo>
                <a:lnTo>
                  <a:pt x="2497" y="6352"/>
                </a:lnTo>
                <a:lnTo>
                  <a:pt x="2485" y="6333"/>
                </a:lnTo>
                <a:lnTo>
                  <a:pt x="2473" y="6316"/>
                </a:lnTo>
                <a:lnTo>
                  <a:pt x="2460" y="6301"/>
                </a:lnTo>
                <a:lnTo>
                  <a:pt x="2447" y="6287"/>
                </a:lnTo>
                <a:lnTo>
                  <a:pt x="2436" y="6275"/>
                </a:lnTo>
                <a:lnTo>
                  <a:pt x="2425" y="6266"/>
                </a:lnTo>
                <a:lnTo>
                  <a:pt x="2414" y="6259"/>
                </a:lnTo>
                <a:lnTo>
                  <a:pt x="2414" y="6239"/>
                </a:lnTo>
                <a:lnTo>
                  <a:pt x="2412" y="6216"/>
                </a:lnTo>
                <a:lnTo>
                  <a:pt x="2409" y="6195"/>
                </a:lnTo>
                <a:lnTo>
                  <a:pt x="2406" y="6173"/>
                </a:lnTo>
                <a:lnTo>
                  <a:pt x="2398" y="6128"/>
                </a:lnTo>
                <a:lnTo>
                  <a:pt x="2389" y="6081"/>
                </a:lnTo>
                <a:lnTo>
                  <a:pt x="2385" y="6058"/>
                </a:lnTo>
                <a:lnTo>
                  <a:pt x="2382" y="6035"/>
                </a:lnTo>
                <a:lnTo>
                  <a:pt x="2379" y="6012"/>
                </a:lnTo>
                <a:lnTo>
                  <a:pt x="2377" y="5989"/>
                </a:lnTo>
                <a:lnTo>
                  <a:pt x="2377" y="5965"/>
                </a:lnTo>
                <a:lnTo>
                  <a:pt x="2377" y="5943"/>
                </a:lnTo>
                <a:lnTo>
                  <a:pt x="2379" y="5921"/>
                </a:lnTo>
                <a:lnTo>
                  <a:pt x="2383" y="5899"/>
                </a:lnTo>
                <a:lnTo>
                  <a:pt x="2383" y="5862"/>
                </a:lnTo>
                <a:lnTo>
                  <a:pt x="2383" y="5822"/>
                </a:lnTo>
                <a:lnTo>
                  <a:pt x="2382" y="5783"/>
                </a:lnTo>
                <a:lnTo>
                  <a:pt x="2380" y="5744"/>
                </a:lnTo>
                <a:lnTo>
                  <a:pt x="2377" y="5703"/>
                </a:lnTo>
                <a:lnTo>
                  <a:pt x="2373" y="5663"/>
                </a:lnTo>
                <a:lnTo>
                  <a:pt x="2367" y="5623"/>
                </a:lnTo>
                <a:lnTo>
                  <a:pt x="2359" y="5582"/>
                </a:lnTo>
                <a:lnTo>
                  <a:pt x="2354" y="5563"/>
                </a:lnTo>
                <a:lnTo>
                  <a:pt x="2349" y="5543"/>
                </a:lnTo>
                <a:lnTo>
                  <a:pt x="2343" y="5524"/>
                </a:lnTo>
                <a:lnTo>
                  <a:pt x="2337" y="5505"/>
                </a:lnTo>
                <a:lnTo>
                  <a:pt x="2329" y="5486"/>
                </a:lnTo>
                <a:lnTo>
                  <a:pt x="2321" y="5467"/>
                </a:lnTo>
                <a:lnTo>
                  <a:pt x="2313" y="5449"/>
                </a:lnTo>
                <a:lnTo>
                  <a:pt x="2303" y="5431"/>
                </a:lnTo>
                <a:lnTo>
                  <a:pt x="2293" y="5413"/>
                </a:lnTo>
                <a:lnTo>
                  <a:pt x="2283" y="5396"/>
                </a:lnTo>
                <a:lnTo>
                  <a:pt x="2271" y="5379"/>
                </a:lnTo>
                <a:lnTo>
                  <a:pt x="2258" y="5363"/>
                </a:lnTo>
                <a:lnTo>
                  <a:pt x="2245" y="5346"/>
                </a:lnTo>
                <a:lnTo>
                  <a:pt x="2231" y="5331"/>
                </a:lnTo>
                <a:lnTo>
                  <a:pt x="2215" y="5316"/>
                </a:lnTo>
                <a:lnTo>
                  <a:pt x="2198" y="5302"/>
                </a:lnTo>
                <a:lnTo>
                  <a:pt x="2232" y="5232"/>
                </a:lnTo>
                <a:lnTo>
                  <a:pt x="2267" y="5162"/>
                </a:lnTo>
                <a:lnTo>
                  <a:pt x="2302" y="5092"/>
                </a:lnTo>
                <a:lnTo>
                  <a:pt x="2339" y="5024"/>
                </a:lnTo>
                <a:lnTo>
                  <a:pt x="2375" y="4955"/>
                </a:lnTo>
                <a:lnTo>
                  <a:pt x="2413" y="4888"/>
                </a:lnTo>
                <a:lnTo>
                  <a:pt x="2451" y="4820"/>
                </a:lnTo>
                <a:lnTo>
                  <a:pt x="2491" y="4754"/>
                </a:lnTo>
                <a:lnTo>
                  <a:pt x="2530" y="4688"/>
                </a:lnTo>
                <a:lnTo>
                  <a:pt x="2571" y="4622"/>
                </a:lnTo>
                <a:lnTo>
                  <a:pt x="2613" y="4557"/>
                </a:lnTo>
                <a:lnTo>
                  <a:pt x="2655" y="4492"/>
                </a:lnTo>
                <a:lnTo>
                  <a:pt x="2698" y="4428"/>
                </a:lnTo>
                <a:lnTo>
                  <a:pt x="2742" y="4365"/>
                </a:lnTo>
                <a:lnTo>
                  <a:pt x="2786" y="4301"/>
                </a:lnTo>
                <a:lnTo>
                  <a:pt x="2831" y="4239"/>
                </a:lnTo>
                <a:lnTo>
                  <a:pt x="2878" y="4177"/>
                </a:lnTo>
                <a:lnTo>
                  <a:pt x="2924" y="4116"/>
                </a:lnTo>
                <a:lnTo>
                  <a:pt x="2972" y="4055"/>
                </a:lnTo>
                <a:lnTo>
                  <a:pt x="3020" y="3995"/>
                </a:lnTo>
                <a:lnTo>
                  <a:pt x="3069" y="3935"/>
                </a:lnTo>
                <a:lnTo>
                  <a:pt x="3119" y="3876"/>
                </a:lnTo>
                <a:lnTo>
                  <a:pt x="3169" y="3817"/>
                </a:lnTo>
                <a:lnTo>
                  <a:pt x="3220" y="3760"/>
                </a:lnTo>
                <a:lnTo>
                  <a:pt x="3271" y="3702"/>
                </a:lnTo>
                <a:lnTo>
                  <a:pt x="3323" y="3646"/>
                </a:lnTo>
                <a:lnTo>
                  <a:pt x="3376" y="3589"/>
                </a:lnTo>
                <a:lnTo>
                  <a:pt x="3429" y="3534"/>
                </a:lnTo>
                <a:lnTo>
                  <a:pt x="3484" y="3480"/>
                </a:lnTo>
                <a:lnTo>
                  <a:pt x="3539" y="3425"/>
                </a:lnTo>
                <a:lnTo>
                  <a:pt x="3594" y="3372"/>
                </a:lnTo>
                <a:lnTo>
                  <a:pt x="3650" y="3319"/>
                </a:lnTo>
                <a:close/>
                <a:moveTo>
                  <a:pt x="6848" y="5635"/>
                </a:moveTo>
                <a:lnTo>
                  <a:pt x="6848" y="5645"/>
                </a:lnTo>
                <a:lnTo>
                  <a:pt x="6847" y="5654"/>
                </a:lnTo>
                <a:lnTo>
                  <a:pt x="6846" y="5662"/>
                </a:lnTo>
                <a:lnTo>
                  <a:pt x="6844" y="5669"/>
                </a:lnTo>
                <a:lnTo>
                  <a:pt x="6841" y="5676"/>
                </a:lnTo>
                <a:lnTo>
                  <a:pt x="6837" y="5682"/>
                </a:lnTo>
                <a:lnTo>
                  <a:pt x="6833" y="5687"/>
                </a:lnTo>
                <a:lnTo>
                  <a:pt x="6828" y="5691"/>
                </a:lnTo>
                <a:lnTo>
                  <a:pt x="6823" y="5695"/>
                </a:lnTo>
                <a:lnTo>
                  <a:pt x="6817" y="5698"/>
                </a:lnTo>
                <a:lnTo>
                  <a:pt x="6810" y="5701"/>
                </a:lnTo>
                <a:lnTo>
                  <a:pt x="6802" y="5703"/>
                </a:lnTo>
                <a:lnTo>
                  <a:pt x="6785" y="5707"/>
                </a:lnTo>
                <a:lnTo>
                  <a:pt x="6765" y="5709"/>
                </a:lnTo>
                <a:lnTo>
                  <a:pt x="6767" y="5700"/>
                </a:lnTo>
                <a:lnTo>
                  <a:pt x="6770" y="5692"/>
                </a:lnTo>
                <a:lnTo>
                  <a:pt x="6773" y="5685"/>
                </a:lnTo>
                <a:lnTo>
                  <a:pt x="6776" y="5680"/>
                </a:lnTo>
                <a:lnTo>
                  <a:pt x="6779" y="5675"/>
                </a:lnTo>
                <a:lnTo>
                  <a:pt x="6783" y="5671"/>
                </a:lnTo>
                <a:lnTo>
                  <a:pt x="6787" y="5667"/>
                </a:lnTo>
                <a:lnTo>
                  <a:pt x="6791" y="5664"/>
                </a:lnTo>
                <a:lnTo>
                  <a:pt x="6815" y="5653"/>
                </a:lnTo>
                <a:lnTo>
                  <a:pt x="6848" y="5635"/>
                </a:lnTo>
                <a:close/>
                <a:moveTo>
                  <a:pt x="6511" y="8090"/>
                </a:moveTo>
                <a:lnTo>
                  <a:pt x="6485" y="8093"/>
                </a:lnTo>
                <a:lnTo>
                  <a:pt x="6464" y="8097"/>
                </a:lnTo>
                <a:lnTo>
                  <a:pt x="6460" y="8097"/>
                </a:lnTo>
                <a:lnTo>
                  <a:pt x="6456" y="8095"/>
                </a:lnTo>
                <a:lnTo>
                  <a:pt x="6454" y="8093"/>
                </a:lnTo>
                <a:lnTo>
                  <a:pt x="6452" y="8089"/>
                </a:lnTo>
                <a:lnTo>
                  <a:pt x="6451" y="8084"/>
                </a:lnTo>
                <a:lnTo>
                  <a:pt x="6452" y="8077"/>
                </a:lnTo>
                <a:lnTo>
                  <a:pt x="6454" y="8069"/>
                </a:lnTo>
                <a:lnTo>
                  <a:pt x="6457" y="8058"/>
                </a:lnTo>
                <a:lnTo>
                  <a:pt x="6466" y="8059"/>
                </a:lnTo>
                <a:lnTo>
                  <a:pt x="6475" y="8060"/>
                </a:lnTo>
                <a:lnTo>
                  <a:pt x="6484" y="8062"/>
                </a:lnTo>
                <a:lnTo>
                  <a:pt x="6493" y="8066"/>
                </a:lnTo>
                <a:lnTo>
                  <a:pt x="6500" y="8070"/>
                </a:lnTo>
                <a:lnTo>
                  <a:pt x="6506" y="8075"/>
                </a:lnTo>
                <a:lnTo>
                  <a:pt x="6508" y="8079"/>
                </a:lnTo>
                <a:lnTo>
                  <a:pt x="6510" y="8082"/>
                </a:lnTo>
                <a:lnTo>
                  <a:pt x="6510" y="8086"/>
                </a:lnTo>
                <a:lnTo>
                  <a:pt x="6511" y="8090"/>
                </a:lnTo>
                <a:close/>
                <a:moveTo>
                  <a:pt x="6055" y="8080"/>
                </a:moveTo>
                <a:lnTo>
                  <a:pt x="6053" y="8083"/>
                </a:lnTo>
                <a:lnTo>
                  <a:pt x="6051" y="8085"/>
                </a:lnTo>
                <a:lnTo>
                  <a:pt x="6047" y="8088"/>
                </a:lnTo>
                <a:lnTo>
                  <a:pt x="6043" y="8090"/>
                </a:lnTo>
                <a:lnTo>
                  <a:pt x="6034" y="8094"/>
                </a:lnTo>
                <a:lnTo>
                  <a:pt x="6023" y="8097"/>
                </a:lnTo>
                <a:lnTo>
                  <a:pt x="6010" y="8100"/>
                </a:lnTo>
                <a:lnTo>
                  <a:pt x="5996" y="8101"/>
                </a:lnTo>
                <a:lnTo>
                  <a:pt x="5981" y="8101"/>
                </a:lnTo>
                <a:lnTo>
                  <a:pt x="5966" y="8101"/>
                </a:lnTo>
                <a:lnTo>
                  <a:pt x="5951" y="8100"/>
                </a:lnTo>
                <a:lnTo>
                  <a:pt x="5936" y="8098"/>
                </a:lnTo>
                <a:lnTo>
                  <a:pt x="5922" y="8095"/>
                </a:lnTo>
                <a:lnTo>
                  <a:pt x="5909" y="8091"/>
                </a:lnTo>
                <a:lnTo>
                  <a:pt x="5898" y="8087"/>
                </a:lnTo>
                <a:lnTo>
                  <a:pt x="5888" y="8082"/>
                </a:lnTo>
                <a:lnTo>
                  <a:pt x="5884" y="8079"/>
                </a:lnTo>
                <a:lnTo>
                  <a:pt x="5881" y="8075"/>
                </a:lnTo>
                <a:lnTo>
                  <a:pt x="5878" y="8072"/>
                </a:lnTo>
                <a:lnTo>
                  <a:pt x="5876" y="8069"/>
                </a:lnTo>
                <a:lnTo>
                  <a:pt x="5895" y="8069"/>
                </a:lnTo>
                <a:lnTo>
                  <a:pt x="5913" y="8072"/>
                </a:lnTo>
                <a:lnTo>
                  <a:pt x="5931" y="8074"/>
                </a:lnTo>
                <a:lnTo>
                  <a:pt x="5949" y="8077"/>
                </a:lnTo>
                <a:lnTo>
                  <a:pt x="5966" y="8078"/>
                </a:lnTo>
                <a:lnTo>
                  <a:pt x="5984" y="8078"/>
                </a:lnTo>
                <a:lnTo>
                  <a:pt x="5994" y="8077"/>
                </a:lnTo>
                <a:lnTo>
                  <a:pt x="6004" y="8075"/>
                </a:lnTo>
                <a:lnTo>
                  <a:pt x="6014" y="8072"/>
                </a:lnTo>
                <a:lnTo>
                  <a:pt x="6024" y="8069"/>
                </a:lnTo>
                <a:lnTo>
                  <a:pt x="6022" y="8058"/>
                </a:lnTo>
                <a:lnTo>
                  <a:pt x="6019" y="8048"/>
                </a:lnTo>
                <a:lnTo>
                  <a:pt x="6015" y="8038"/>
                </a:lnTo>
                <a:lnTo>
                  <a:pt x="6009" y="8028"/>
                </a:lnTo>
                <a:lnTo>
                  <a:pt x="5996" y="8007"/>
                </a:lnTo>
                <a:lnTo>
                  <a:pt x="5981" y="7984"/>
                </a:lnTo>
                <a:lnTo>
                  <a:pt x="5992" y="7984"/>
                </a:lnTo>
                <a:lnTo>
                  <a:pt x="6003" y="7986"/>
                </a:lnTo>
                <a:lnTo>
                  <a:pt x="6015" y="7988"/>
                </a:lnTo>
                <a:lnTo>
                  <a:pt x="6026" y="7991"/>
                </a:lnTo>
                <a:lnTo>
                  <a:pt x="6049" y="7998"/>
                </a:lnTo>
                <a:lnTo>
                  <a:pt x="6074" y="8006"/>
                </a:lnTo>
                <a:lnTo>
                  <a:pt x="6099" y="8014"/>
                </a:lnTo>
                <a:lnTo>
                  <a:pt x="6126" y="8021"/>
                </a:lnTo>
                <a:lnTo>
                  <a:pt x="6140" y="8024"/>
                </a:lnTo>
                <a:lnTo>
                  <a:pt x="6153" y="8026"/>
                </a:lnTo>
                <a:lnTo>
                  <a:pt x="6168" y="8027"/>
                </a:lnTo>
                <a:lnTo>
                  <a:pt x="6182" y="8027"/>
                </a:lnTo>
                <a:lnTo>
                  <a:pt x="6182" y="8019"/>
                </a:lnTo>
                <a:lnTo>
                  <a:pt x="6181" y="8013"/>
                </a:lnTo>
                <a:lnTo>
                  <a:pt x="6180" y="8009"/>
                </a:lnTo>
                <a:lnTo>
                  <a:pt x="6179" y="8007"/>
                </a:lnTo>
                <a:lnTo>
                  <a:pt x="6176" y="8006"/>
                </a:lnTo>
                <a:lnTo>
                  <a:pt x="6174" y="8006"/>
                </a:lnTo>
                <a:lnTo>
                  <a:pt x="6173" y="8006"/>
                </a:lnTo>
                <a:lnTo>
                  <a:pt x="6173" y="8005"/>
                </a:lnTo>
                <a:lnTo>
                  <a:pt x="6173" y="8002"/>
                </a:lnTo>
                <a:lnTo>
                  <a:pt x="6176" y="7992"/>
                </a:lnTo>
                <a:lnTo>
                  <a:pt x="6182" y="7973"/>
                </a:lnTo>
                <a:lnTo>
                  <a:pt x="6189" y="7976"/>
                </a:lnTo>
                <a:lnTo>
                  <a:pt x="6196" y="7979"/>
                </a:lnTo>
                <a:lnTo>
                  <a:pt x="6205" y="7984"/>
                </a:lnTo>
                <a:lnTo>
                  <a:pt x="6213" y="7990"/>
                </a:lnTo>
                <a:lnTo>
                  <a:pt x="6232" y="8006"/>
                </a:lnTo>
                <a:lnTo>
                  <a:pt x="6252" y="8023"/>
                </a:lnTo>
                <a:lnTo>
                  <a:pt x="6269" y="8041"/>
                </a:lnTo>
                <a:lnTo>
                  <a:pt x="6284" y="8059"/>
                </a:lnTo>
                <a:lnTo>
                  <a:pt x="6289" y="8068"/>
                </a:lnTo>
                <a:lnTo>
                  <a:pt x="6294" y="8076"/>
                </a:lnTo>
                <a:lnTo>
                  <a:pt x="6297" y="8083"/>
                </a:lnTo>
                <a:lnTo>
                  <a:pt x="6299" y="8090"/>
                </a:lnTo>
                <a:lnTo>
                  <a:pt x="6260" y="8086"/>
                </a:lnTo>
                <a:lnTo>
                  <a:pt x="6228" y="8083"/>
                </a:lnTo>
                <a:lnTo>
                  <a:pt x="6203" y="8081"/>
                </a:lnTo>
                <a:lnTo>
                  <a:pt x="6179" y="8080"/>
                </a:lnTo>
                <a:lnTo>
                  <a:pt x="6155" y="8080"/>
                </a:lnTo>
                <a:lnTo>
                  <a:pt x="6129" y="8079"/>
                </a:lnTo>
                <a:lnTo>
                  <a:pt x="6096" y="8080"/>
                </a:lnTo>
                <a:lnTo>
                  <a:pt x="6055" y="8080"/>
                </a:lnTo>
                <a:close/>
                <a:moveTo>
                  <a:pt x="6140" y="8577"/>
                </a:moveTo>
                <a:lnTo>
                  <a:pt x="6137" y="8586"/>
                </a:lnTo>
                <a:lnTo>
                  <a:pt x="6135" y="8594"/>
                </a:lnTo>
                <a:lnTo>
                  <a:pt x="6132" y="8600"/>
                </a:lnTo>
                <a:lnTo>
                  <a:pt x="6129" y="8603"/>
                </a:lnTo>
                <a:lnTo>
                  <a:pt x="6125" y="8606"/>
                </a:lnTo>
                <a:lnTo>
                  <a:pt x="6118" y="8607"/>
                </a:lnTo>
                <a:lnTo>
                  <a:pt x="6109" y="8608"/>
                </a:lnTo>
                <a:lnTo>
                  <a:pt x="6097" y="8608"/>
                </a:lnTo>
                <a:lnTo>
                  <a:pt x="6100" y="8598"/>
                </a:lnTo>
                <a:lnTo>
                  <a:pt x="6102" y="8587"/>
                </a:lnTo>
                <a:lnTo>
                  <a:pt x="6105" y="8577"/>
                </a:lnTo>
                <a:lnTo>
                  <a:pt x="6107" y="8566"/>
                </a:lnTo>
                <a:lnTo>
                  <a:pt x="6116" y="8569"/>
                </a:lnTo>
                <a:lnTo>
                  <a:pt x="6124" y="8571"/>
                </a:lnTo>
                <a:lnTo>
                  <a:pt x="6132" y="8574"/>
                </a:lnTo>
                <a:lnTo>
                  <a:pt x="6140" y="8577"/>
                </a:lnTo>
                <a:close/>
                <a:moveTo>
                  <a:pt x="5589" y="7826"/>
                </a:moveTo>
                <a:lnTo>
                  <a:pt x="5579" y="7825"/>
                </a:lnTo>
                <a:lnTo>
                  <a:pt x="5567" y="7823"/>
                </a:lnTo>
                <a:lnTo>
                  <a:pt x="5555" y="7821"/>
                </a:lnTo>
                <a:lnTo>
                  <a:pt x="5542" y="7817"/>
                </a:lnTo>
                <a:lnTo>
                  <a:pt x="5528" y="7813"/>
                </a:lnTo>
                <a:lnTo>
                  <a:pt x="5514" y="7808"/>
                </a:lnTo>
                <a:lnTo>
                  <a:pt x="5500" y="7802"/>
                </a:lnTo>
                <a:lnTo>
                  <a:pt x="5487" y="7796"/>
                </a:lnTo>
                <a:lnTo>
                  <a:pt x="5472" y="7789"/>
                </a:lnTo>
                <a:lnTo>
                  <a:pt x="5459" y="7782"/>
                </a:lnTo>
                <a:lnTo>
                  <a:pt x="5446" y="7774"/>
                </a:lnTo>
                <a:lnTo>
                  <a:pt x="5435" y="7766"/>
                </a:lnTo>
                <a:lnTo>
                  <a:pt x="5424" y="7757"/>
                </a:lnTo>
                <a:lnTo>
                  <a:pt x="5414" y="7748"/>
                </a:lnTo>
                <a:lnTo>
                  <a:pt x="5406" y="7739"/>
                </a:lnTo>
                <a:lnTo>
                  <a:pt x="5399" y="7730"/>
                </a:lnTo>
                <a:lnTo>
                  <a:pt x="5438" y="7734"/>
                </a:lnTo>
                <a:lnTo>
                  <a:pt x="5475" y="7736"/>
                </a:lnTo>
                <a:lnTo>
                  <a:pt x="5484" y="7735"/>
                </a:lnTo>
                <a:lnTo>
                  <a:pt x="5493" y="7733"/>
                </a:lnTo>
                <a:lnTo>
                  <a:pt x="5501" y="7731"/>
                </a:lnTo>
                <a:lnTo>
                  <a:pt x="5509" y="7727"/>
                </a:lnTo>
                <a:lnTo>
                  <a:pt x="5516" y="7722"/>
                </a:lnTo>
                <a:lnTo>
                  <a:pt x="5524" y="7716"/>
                </a:lnTo>
                <a:lnTo>
                  <a:pt x="5530" y="7708"/>
                </a:lnTo>
                <a:lnTo>
                  <a:pt x="5537" y="7698"/>
                </a:lnTo>
                <a:lnTo>
                  <a:pt x="5549" y="7700"/>
                </a:lnTo>
                <a:lnTo>
                  <a:pt x="5560" y="7702"/>
                </a:lnTo>
                <a:lnTo>
                  <a:pt x="5571" y="7704"/>
                </a:lnTo>
                <a:lnTo>
                  <a:pt x="5581" y="7707"/>
                </a:lnTo>
                <a:lnTo>
                  <a:pt x="5600" y="7713"/>
                </a:lnTo>
                <a:lnTo>
                  <a:pt x="5618" y="7720"/>
                </a:lnTo>
                <a:lnTo>
                  <a:pt x="5633" y="7729"/>
                </a:lnTo>
                <a:lnTo>
                  <a:pt x="5648" y="7738"/>
                </a:lnTo>
                <a:lnTo>
                  <a:pt x="5661" y="7747"/>
                </a:lnTo>
                <a:lnTo>
                  <a:pt x="5673" y="7757"/>
                </a:lnTo>
                <a:lnTo>
                  <a:pt x="5686" y="7766"/>
                </a:lnTo>
                <a:lnTo>
                  <a:pt x="5698" y="7775"/>
                </a:lnTo>
                <a:lnTo>
                  <a:pt x="5711" y="7783"/>
                </a:lnTo>
                <a:lnTo>
                  <a:pt x="5724" y="7790"/>
                </a:lnTo>
                <a:lnTo>
                  <a:pt x="5739" y="7796"/>
                </a:lnTo>
                <a:lnTo>
                  <a:pt x="5754" y="7801"/>
                </a:lnTo>
                <a:lnTo>
                  <a:pt x="5763" y="7802"/>
                </a:lnTo>
                <a:lnTo>
                  <a:pt x="5772" y="7804"/>
                </a:lnTo>
                <a:lnTo>
                  <a:pt x="5781" y="7804"/>
                </a:lnTo>
                <a:lnTo>
                  <a:pt x="5791" y="7805"/>
                </a:lnTo>
                <a:lnTo>
                  <a:pt x="5795" y="7812"/>
                </a:lnTo>
                <a:lnTo>
                  <a:pt x="5802" y="7820"/>
                </a:lnTo>
                <a:lnTo>
                  <a:pt x="5810" y="7829"/>
                </a:lnTo>
                <a:lnTo>
                  <a:pt x="5818" y="7838"/>
                </a:lnTo>
                <a:lnTo>
                  <a:pt x="5836" y="7858"/>
                </a:lnTo>
                <a:lnTo>
                  <a:pt x="5852" y="7879"/>
                </a:lnTo>
                <a:lnTo>
                  <a:pt x="5857" y="7888"/>
                </a:lnTo>
                <a:lnTo>
                  <a:pt x="5862" y="7898"/>
                </a:lnTo>
                <a:lnTo>
                  <a:pt x="5863" y="7902"/>
                </a:lnTo>
                <a:lnTo>
                  <a:pt x="5863" y="7906"/>
                </a:lnTo>
                <a:lnTo>
                  <a:pt x="5863" y="7910"/>
                </a:lnTo>
                <a:lnTo>
                  <a:pt x="5861" y="7914"/>
                </a:lnTo>
                <a:lnTo>
                  <a:pt x="5858" y="7917"/>
                </a:lnTo>
                <a:lnTo>
                  <a:pt x="5855" y="7921"/>
                </a:lnTo>
                <a:lnTo>
                  <a:pt x="5851" y="7924"/>
                </a:lnTo>
                <a:lnTo>
                  <a:pt x="5846" y="7926"/>
                </a:lnTo>
                <a:lnTo>
                  <a:pt x="5840" y="7929"/>
                </a:lnTo>
                <a:lnTo>
                  <a:pt x="5833" y="7930"/>
                </a:lnTo>
                <a:lnTo>
                  <a:pt x="5824" y="7932"/>
                </a:lnTo>
                <a:lnTo>
                  <a:pt x="5815" y="7933"/>
                </a:lnTo>
                <a:lnTo>
                  <a:pt x="5799" y="7934"/>
                </a:lnTo>
                <a:lnTo>
                  <a:pt x="5783" y="7934"/>
                </a:lnTo>
                <a:lnTo>
                  <a:pt x="5766" y="7932"/>
                </a:lnTo>
                <a:lnTo>
                  <a:pt x="5750" y="7930"/>
                </a:lnTo>
                <a:lnTo>
                  <a:pt x="5732" y="7926"/>
                </a:lnTo>
                <a:lnTo>
                  <a:pt x="5716" y="7921"/>
                </a:lnTo>
                <a:lnTo>
                  <a:pt x="5699" y="7916"/>
                </a:lnTo>
                <a:lnTo>
                  <a:pt x="5684" y="7909"/>
                </a:lnTo>
                <a:lnTo>
                  <a:pt x="5669" y="7901"/>
                </a:lnTo>
                <a:lnTo>
                  <a:pt x="5654" y="7893"/>
                </a:lnTo>
                <a:lnTo>
                  <a:pt x="5641" y="7884"/>
                </a:lnTo>
                <a:lnTo>
                  <a:pt x="5628" y="7873"/>
                </a:lnTo>
                <a:lnTo>
                  <a:pt x="5617" y="7862"/>
                </a:lnTo>
                <a:lnTo>
                  <a:pt x="5605" y="7850"/>
                </a:lnTo>
                <a:lnTo>
                  <a:pt x="5597" y="7838"/>
                </a:lnTo>
                <a:lnTo>
                  <a:pt x="5589" y="7826"/>
                </a:lnTo>
                <a:close/>
                <a:moveTo>
                  <a:pt x="5749" y="8111"/>
                </a:moveTo>
                <a:lnTo>
                  <a:pt x="5732" y="8114"/>
                </a:lnTo>
                <a:lnTo>
                  <a:pt x="5716" y="8116"/>
                </a:lnTo>
                <a:lnTo>
                  <a:pt x="5700" y="8119"/>
                </a:lnTo>
                <a:lnTo>
                  <a:pt x="5685" y="8121"/>
                </a:lnTo>
                <a:lnTo>
                  <a:pt x="5686" y="8112"/>
                </a:lnTo>
                <a:lnTo>
                  <a:pt x="5689" y="8103"/>
                </a:lnTo>
                <a:lnTo>
                  <a:pt x="5692" y="8094"/>
                </a:lnTo>
                <a:lnTo>
                  <a:pt x="5695" y="8086"/>
                </a:lnTo>
                <a:lnTo>
                  <a:pt x="5700" y="8079"/>
                </a:lnTo>
                <a:lnTo>
                  <a:pt x="5704" y="8072"/>
                </a:lnTo>
                <a:lnTo>
                  <a:pt x="5709" y="8067"/>
                </a:lnTo>
                <a:lnTo>
                  <a:pt x="5714" y="8063"/>
                </a:lnTo>
                <a:lnTo>
                  <a:pt x="5719" y="8061"/>
                </a:lnTo>
                <a:lnTo>
                  <a:pt x="5724" y="8061"/>
                </a:lnTo>
                <a:lnTo>
                  <a:pt x="5727" y="8062"/>
                </a:lnTo>
                <a:lnTo>
                  <a:pt x="5729" y="8063"/>
                </a:lnTo>
                <a:lnTo>
                  <a:pt x="5732" y="8065"/>
                </a:lnTo>
                <a:lnTo>
                  <a:pt x="5735" y="8067"/>
                </a:lnTo>
                <a:lnTo>
                  <a:pt x="5739" y="8074"/>
                </a:lnTo>
                <a:lnTo>
                  <a:pt x="5743" y="8083"/>
                </a:lnTo>
                <a:lnTo>
                  <a:pt x="5746" y="8095"/>
                </a:lnTo>
                <a:lnTo>
                  <a:pt x="5749" y="8111"/>
                </a:lnTo>
                <a:close/>
                <a:moveTo>
                  <a:pt x="5674" y="8121"/>
                </a:moveTo>
                <a:lnTo>
                  <a:pt x="5659" y="8122"/>
                </a:lnTo>
                <a:lnTo>
                  <a:pt x="5642" y="8123"/>
                </a:lnTo>
                <a:lnTo>
                  <a:pt x="5634" y="8123"/>
                </a:lnTo>
                <a:lnTo>
                  <a:pt x="5626" y="8122"/>
                </a:lnTo>
                <a:lnTo>
                  <a:pt x="5619" y="8122"/>
                </a:lnTo>
                <a:lnTo>
                  <a:pt x="5612" y="8120"/>
                </a:lnTo>
                <a:lnTo>
                  <a:pt x="5605" y="8117"/>
                </a:lnTo>
                <a:lnTo>
                  <a:pt x="5600" y="8113"/>
                </a:lnTo>
                <a:lnTo>
                  <a:pt x="5596" y="8108"/>
                </a:lnTo>
                <a:lnTo>
                  <a:pt x="5593" y="8102"/>
                </a:lnTo>
                <a:lnTo>
                  <a:pt x="5592" y="8094"/>
                </a:lnTo>
                <a:lnTo>
                  <a:pt x="5593" y="8084"/>
                </a:lnTo>
                <a:lnTo>
                  <a:pt x="5595" y="8072"/>
                </a:lnTo>
                <a:lnTo>
                  <a:pt x="5600" y="8058"/>
                </a:lnTo>
                <a:lnTo>
                  <a:pt x="5619" y="8061"/>
                </a:lnTo>
                <a:lnTo>
                  <a:pt x="5634" y="8066"/>
                </a:lnTo>
                <a:lnTo>
                  <a:pt x="5641" y="8069"/>
                </a:lnTo>
                <a:lnTo>
                  <a:pt x="5647" y="8072"/>
                </a:lnTo>
                <a:lnTo>
                  <a:pt x="5653" y="8075"/>
                </a:lnTo>
                <a:lnTo>
                  <a:pt x="5658" y="8079"/>
                </a:lnTo>
                <a:lnTo>
                  <a:pt x="5662" y="8083"/>
                </a:lnTo>
                <a:lnTo>
                  <a:pt x="5666" y="8088"/>
                </a:lnTo>
                <a:lnTo>
                  <a:pt x="5669" y="8093"/>
                </a:lnTo>
                <a:lnTo>
                  <a:pt x="5671" y="8098"/>
                </a:lnTo>
                <a:lnTo>
                  <a:pt x="5673" y="8103"/>
                </a:lnTo>
                <a:lnTo>
                  <a:pt x="5674" y="8109"/>
                </a:lnTo>
                <a:lnTo>
                  <a:pt x="5675" y="8115"/>
                </a:lnTo>
                <a:lnTo>
                  <a:pt x="5674" y="8121"/>
                </a:lnTo>
                <a:close/>
                <a:moveTo>
                  <a:pt x="5293" y="7719"/>
                </a:moveTo>
                <a:lnTo>
                  <a:pt x="5293" y="7725"/>
                </a:lnTo>
                <a:lnTo>
                  <a:pt x="5292" y="7730"/>
                </a:lnTo>
                <a:lnTo>
                  <a:pt x="5290" y="7735"/>
                </a:lnTo>
                <a:lnTo>
                  <a:pt x="5287" y="7740"/>
                </a:lnTo>
                <a:lnTo>
                  <a:pt x="5284" y="7744"/>
                </a:lnTo>
                <a:lnTo>
                  <a:pt x="5280" y="7750"/>
                </a:lnTo>
                <a:lnTo>
                  <a:pt x="5276" y="7753"/>
                </a:lnTo>
                <a:lnTo>
                  <a:pt x="5272" y="7757"/>
                </a:lnTo>
                <a:lnTo>
                  <a:pt x="5261" y="7762"/>
                </a:lnTo>
                <a:lnTo>
                  <a:pt x="5250" y="7767"/>
                </a:lnTo>
                <a:lnTo>
                  <a:pt x="5239" y="7769"/>
                </a:lnTo>
                <a:lnTo>
                  <a:pt x="5226" y="7770"/>
                </a:lnTo>
                <a:lnTo>
                  <a:pt x="5220" y="7770"/>
                </a:lnTo>
                <a:lnTo>
                  <a:pt x="5215" y="7769"/>
                </a:lnTo>
                <a:lnTo>
                  <a:pt x="5210" y="7768"/>
                </a:lnTo>
                <a:lnTo>
                  <a:pt x="5204" y="7766"/>
                </a:lnTo>
                <a:lnTo>
                  <a:pt x="5200" y="7763"/>
                </a:lnTo>
                <a:lnTo>
                  <a:pt x="5195" y="7760"/>
                </a:lnTo>
                <a:lnTo>
                  <a:pt x="5192" y="7757"/>
                </a:lnTo>
                <a:lnTo>
                  <a:pt x="5188" y="7753"/>
                </a:lnTo>
                <a:lnTo>
                  <a:pt x="5186" y="7747"/>
                </a:lnTo>
                <a:lnTo>
                  <a:pt x="5183" y="7742"/>
                </a:lnTo>
                <a:lnTo>
                  <a:pt x="5182" y="7737"/>
                </a:lnTo>
                <a:lnTo>
                  <a:pt x="5181" y="7730"/>
                </a:lnTo>
                <a:lnTo>
                  <a:pt x="5181" y="7723"/>
                </a:lnTo>
                <a:lnTo>
                  <a:pt x="5182" y="7716"/>
                </a:lnTo>
                <a:lnTo>
                  <a:pt x="5184" y="7707"/>
                </a:lnTo>
                <a:lnTo>
                  <a:pt x="5187" y="7698"/>
                </a:lnTo>
                <a:lnTo>
                  <a:pt x="5195" y="7701"/>
                </a:lnTo>
                <a:lnTo>
                  <a:pt x="5203" y="7704"/>
                </a:lnTo>
                <a:lnTo>
                  <a:pt x="5211" y="7706"/>
                </a:lnTo>
                <a:lnTo>
                  <a:pt x="5219" y="7709"/>
                </a:lnTo>
                <a:lnTo>
                  <a:pt x="5221" y="7718"/>
                </a:lnTo>
                <a:lnTo>
                  <a:pt x="5224" y="7725"/>
                </a:lnTo>
                <a:lnTo>
                  <a:pt x="5228" y="7730"/>
                </a:lnTo>
                <a:lnTo>
                  <a:pt x="5232" y="7735"/>
                </a:lnTo>
                <a:lnTo>
                  <a:pt x="5236" y="7737"/>
                </a:lnTo>
                <a:lnTo>
                  <a:pt x="5240" y="7739"/>
                </a:lnTo>
                <a:lnTo>
                  <a:pt x="5245" y="7740"/>
                </a:lnTo>
                <a:lnTo>
                  <a:pt x="5250" y="7739"/>
                </a:lnTo>
                <a:lnTo>
                  <a:pt x="5260" y="7737"/>
                </a:lnTo>
                <a:lnTo>
                  <a:pt x="5270" y="7732"/>
                </a:lnTo>
                <a:lnTo>
                  <a:pt x="5281" y="7726"/>
                </a:lnTo>
                <a:lnTo>
                  <a:pt x="5293" y="771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6" tIns="45718" rIns="91436" bIns="45718"/>
          <a:lstStyle/>
          <a:p>
            <a:endParaRPr lang="en-US"/>
          </a:p>
        </p:txBody>
      </p:sp>
      <p:grpSp>
        <p:nvGrpSpPr>
          <p:cNvPr id="13" name="Group 19"/>
          <p:cNvGrpSpPr>
            <a:grpSpLocks/>
          </p:cNvGrpSpPr>
          <p:nvPr userDrawn="1"/>
        </p:nvGrpSpPr>
        <p:grpSpPr bwMode="auto">
          <a:xfrm>
            <a:off x="5060950" y="6519863"/>
            <a:ext cx="387350" cy="357187"/>
            <a:chOff x="3923928" y="3291878"/>
            <a:chExt cx="432000" cy="432000"/>
          </a:xfrm>
        </p:grpSpPr>
        <p:sp>
          <p:nvSpPr>
            <p:cNvPr id="14" name="Oval 13"/>
            <p:cNvSpPr/>
            <p:nvPr userDrawn="1"/>
          </p:nvSpPr>
          <p:spPr>
            <a:xfrm>
              <a:off x="3923928" y="3291878"/>
              <a:ext cx="432000" cy="432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solidFill>
                  <a:prstClr val="white"/>
                </a:solidFill>
              </a:endParaRPr>
            </a:p>
          </p:txBody>
        </p:sp>
        <p:sp>
          <p:nvSpPr>
            <p:cNvPr id="15" name="Freeform 53"/>
            <p:cNvSpPr>
              <a:spLocks noEditPoints="1"/>
            </p:cNvSpPr>
            <p:nvPr userDrawn="1"/>
          </p:nvSpPr>
          <p:spPr bwMode="auto">
            <a:xfrm>
              <a:off x="4021306" y="3430118"/>
              <a:ext cx="247869" cy="155520"/>
            </a:xfrm>
            <a:custGeom>
              <a:avLst/>
              <a:gdLst>
                <a:gd name="T0" fmla="*/ 16113 w 16156"/>
                <a:gd name="T1" fmla="*/ 10223 h 10920"/>
                <a:gd name="T2" fmla="*/ 16133 w 16156"/>
                <a:gd name="T3" fmla="*/ 10148 h 10920"/>
                <a:gd name="T4" fmla="*/ 16147 w 16156"/>
                <a:gd name="T5" fmla="*/ 10071 h 10920"/>
                <a:gd name="T6" fmla="*/ 16155 w 16156"/>
                <a:gd name="T7" fmla="*/ 9992 h 10920"/>
                <a:gd name="T8" fmla="*/ 16156 w 16156"/>
                <a:gd name="T9" fmla="*/ 969 h 10920"/>
                <a:gd name="T10" fmla="*/ 16152 w 16156"/>
                <a:gd name="T11" fmla="*/ 893 h 10920"/>
                <a:gd name="T12" fmla="*/ 16142 w 16156"/>
                <a:gd name="T13" fmla="*/ 818 h 10920"/>
                <a:gd name="T14" fmla="*/ 16126 w 16156"/>
                <a:gd name="T15" fmla="*/ 746 h 10920"/>
                <a:gd name="T16" fmla="*/ 16106 w 16156"/>
                <a:gd name="T17" fmla="*/ 675 h 10920"/>
                <a:gd name="T18" fmla="*/ 16100 w 16156"/>
                <a:gd name="T19" fmla="*/ 10260 h 10920"/>
                <a:gd name="T20" fmla="*/ 39 w 16156"/>
                <a:gd name="T21" fmla="*/ 711 h 10920"/>
                <a:gd name="T22" fmla="*/ 21 w 16156"/>
                <a:gd name="T23" fmla="*/ 782 h 10920"/>
                <a:gd name="T24" fmla="*/ 8 w 16156"/>
                <a:gd name="T25" fmla="*/ 855 h 10920"/>
                <a:gd name="T26" fmla="*/ 1 w 16156"/>
                <a:gd name="T27" fmla="*/ 930 h 10920"/>
                <a:gd name="T28" fmla="*/ 0 w 16156"/>
                <a:gd name="T29" fmla="*/ 9951 h 10920"/>
                <a:gd name="T30" fmla="*/ 4 w 16156"/>
                <a:gd name="T31" fmla="*/ 10031 h 10920"/>
                <a:gd name="T32" fmla="*/ 15 w 16156"/>
                <a:gd name="T33" fmla="*/ 10110 h 10920"/>
                <a:gd name="T34" fmla="*/ 32 w 16156"/>
                <a:gd name="T35" fmla="*/ 10186 h 10920"/>
                <a:gd name="T36" fmla="*/ 56 w 16156"/>
                <a:gd name="T37" fmla="*/ 10260 h 10920"/>
                <a:gd name="T38" fmla="*/ 50 w 16156"/>
                <a:gd name="T39" fmla="*/ 675 h 10920"/>
                <a:gd name="T40" fmla="*/ 15222 w 16156"/>
                <a:gd name="T41" fmla="*/ 10919 h 10920"/>
                <a:gd name="T42" fmla="*/ 15289 w 16156"/>
                <a:gd name="T43" fmla="*/ 10913 h 10920"/>
                <a:gd name="T44" fmla="*/ 15354 w 16156"/>
                <a:gd name="T45" fmla="*/ 10903 h 10920"/>
                <a:gd name="T46" fmla="*/ 15418 w 16156"/>
                <a:gd name="T47" fmla="*/ 10888 h 10920"/>
                <a:gd name="T48" fmla="*/ 10133 w 16156"/>
                <a:gd name="T49" fmla="*/ 5765 h 10920"/>
                <a:gd name="T50" fmla="*/ 6026 w 16156"/>
                <a:gd name="T51" fmla="*/ 5768 h 10920"/>
                <a:gd name="T52" fmla="*/ 738 w 16156"/>
                <a:gd name="T53" fmla="*/ 10888 h 10920"/>
                <a:gd name="T54" fmla="*/ 802 w 16156"/>
                <a:gd name="T55" fmla="*/ 10903 h 10920"/>
                <a:gd name="T56" fmla="*/ 867 w 16156"/>
                <a:gd name="T57" fmla="*/ 10913 h 10920"/>
                <a:gd name="T58" fmla="*/ 934 w 16156"/>
                <a:gd name="T59" fmla="*/ 10919 h 10920"/>
                <a:gd name="T60" fmla="*/ 15189 w 16156"/>
                <a:gd name="T61" fmla="*/ 10920 h 10920"/>
                <a:gd name="T62" fmla="*/ 9465 w 16156"/>
                <a:gd name="T63" fmla="*/ 5153 h 10920"/>
                <a:gd name="T64" fmla="*/ 15460 w 16156"/>
                <a:gd name="T65" fmla="*/ 44 h 10920"/>
                <a:gd name="T66" fmla="*/ 15395 w 16156"/>
                <a:gd name="T67" fmla="*/ 26 h 10920"/>
                <a:gd name="T68" fmla="*/ 15327 w 16156"/>
                <a:gd name="T69" fmla="*/ 12 h 10920"/>
                <a:gd name="T70" fmla="*/ 15258 w 16156"/>
                <a:gd name="T71" fmla="*/ 3 h 10920"/>
                <a:gd name="T72" fmla="*/ 15189 w 16156"/>
                <a:gd name="T73" fmla="*/ 0 h 10920"/>
                <a:gd name="T74" fmla="*/ 932 w 16156"/>
                <a:gd name="T75" fmla="*/ 1 h 10920"/>
                <a:gd name="T76" fmla="*/ 862 w 16156"/>
                <a:gd name="T77" fmla="*/ 7 h 10920"/>
                <a:gd name="T78" fmla="*/ 795 w 16156"/>
                <a:gd name="T79" fmla="*/ 19 h 10920"/>
                <a:gd name="T80" fmla="*/ 728 w 16156"/>
                <a:gd name="T81" fmla="*/ 34 h 10920"/>
                <a:gd name="T82" fmla="*/ 5991 w 16156"/>
                <a:gd name="T83" fmla="*/ 4582 h 10920"/>
                <a:gd name="T84" fmla="*/ 8078 w 16156"/>
                <a:gd name="T85" fmla="*/ 6283 h 10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156" h="10920">
                  <a:moveTo>
                    <a:pt x="16100" y="10260"/>
                  </a:moveTo>
                  <a:lnTo>
                    <a:pt x="16113" y="10223"/>
                  </a:lnTo>
                  <a:lnTo>
                    <a:pt x="16124" y="10186"/>
                  </a:lnTo>
                  <a:lnTo>
                    <a:pt x="16133" y="10148"/>
                  </a:lnTo>
                  <a:lnTo>
                    <a:pt x="16141" y="10109"/>
                  </a:lnTo>
                  <a:lnTo>
                    <a:pt x="16147" y="10071"/>
                  </a:lnTo>
                  <a:lnTo>
                    <a:pt x="16152" y="10031"/>
                  </a:lnTo>
                  <a:lnTo>
                    <a:pt x="16155" y="9992"/>
                  </a:lnTo>
                  <a:lnTo>
                    <a:pt x="16156" y="9951"/>
                  </a:lnTo>
                  <a:lnTo>
                    <a:pt x="16156" y="969"/>
                  </a:lnTo>
                  <a:lnTo>
                    <a:pt x="16155" y="930"/>
                  </a:lnTo>
                  <a:lnTo>
                    <a:pt x="16152" y="893"/>
                  </a:lnTo>
                  <a:lnTo>
                    <a:pt x="16148" y="855"/>
                  </a:lnTo>
                  <a:lnTo>
                    <a:pt x="16142" y="818"/>
                  </a:lnTo>
                  <a:lnTo>
                    <a:pt x="16135" y="782"/>
                  </a:lnTo>
                  <a:lnTo>
                    <a:pt x="16126" y="746"/>
                  </a:lnTo>
                  <a:lnTo>
                    <a:pt x="16117" y="711"/>
                  </a:lnTo>
                  <a:lnTo>
                    <a:pt x="16106" y="675"/>
                  </a:lnTo>
                  <a:lnTo>
                    <a:pt x="10836" y="5193"/>
                  </a:lnTo>
                  <a:lnTo>
                    <a:pt x="16100" y="10260"/>
                  </a:lnTo>
                  <a:close/>
                  <a:moveTo>
                    <a:pt x="50" y="675"/>
                  </a:moveTo>
                  <a:lnTo>
                    <a:pt x="39" y="711"/>
                  </a:lnTo>
                  <a:lnTo>
                    <a:pt x="30" y="746"/>
                  </a:lnTo>
                  <a:lnTo>
                    <a:pt x="21" y="782"/>
                  </a:lnTo>
                  <a:lnTo>
                    <a:pt x="14" y="818"/>
                  </a:lnTo>
                  <a:lnTo>
                    <a:pt x="8" y="855"/>
                  </a:lnTo>
                  <a:lnTo>
                    <a:pt x="4" y="893"/>
                  </a:lnTo>
                  <a:lnTo>
                    <a:pt x="1" y="930"/>
                  </a:lnTo>
                  <a:lnTo>
                    <a:pt x="0" y="969"/>
                  </a:lnTo>
                  <a:lnTo>
                    <a:pt x="0" y="9951"/>
                  </a:lnTo>
                  <a:lnTo>
                    <a:pt x="1" y="9992"/>
                  </a:lnTo>
                  <a:lnTo>
                    <a:pt x="4" y="10031"/>
                  </a:lnTo>
                  <a:lnTo>
                    <a:pt x="9" y="10071"/>
                  </a:lnTo>
                  <a:lnTo>
                    <a:pt x="15" y="10110"/>
                  </a:lnTo>
                  <a:lnTo>
                    <a:pt x="23" y="10148"/>
                  </a:lnTo>
                  <a:lnTo>
                    <a:pt x="32" y="10186"/>
                  </a:lnTo>
                  <a:lnTo>
                    <a:pt x="43" y="10223"/>
                  </a:lnTo>
                  <a:lnTo>
                    <a:pt x="56" y="10260"/>
                  </a:lnTo>
                  <a:lnTo>
                    <a:pt x="5323" y="5196"/>
                  </a:lnTo>
                  <a:lnTo>
                    <a:pt x="50" y="675"/>
                  </a:lnTo>
                  <a:close/>
                  <a:moveTo>
                    <a:pt x="15189" y="10920"/>
                  </a:moveTo>
                  <a:lnTo>
                    <a:pt x="15222" y="10919"/>
                  </a:lnTo>
                  <a:lnTo>
                    <a:pt x="15256" y="10917"/>
                  </a:lnTo>
                  <a:lnTo>
                    <a:pt x="15289" y="10913"/>
                  </a:lnTo>
                  <a:lnTo>
                    <a:pt x="15322" y="10909"/>
                  </a:lnTo>
                  <a:lnTo>
                    <a:pt x="15354" y="10903"/>
                  </a:lnTo>
                  <a:lnTo>
                    <a:pt x="15387" y="10896"/>
                  </a:lnTo>
                  <a:lnTo>
                    <a:pt x="15418" y="10888"/>
                  </a:lnTo>
                  <a:lnTo>
                    <a:pt x="15449" y="10880"/>
                  </a:lnTo>
                  <a:lnTo>
                    <a:pt x="10133" y="5765"/>
                  </a:lnTo>
                  <a:lnTo>
                    <a:pt x="8078" y="7440"/>
                  </a:lnTo>
                  <a:lnTo>
                    <a:pt x="6026" y="5768"/>
                  </a:lnTo>
                  <a:lnTo>
                    <a:pt x="707" y="10880"/>
                  </a:lnTo>
                  <a:lnTo>
                    <a:pt x="738" y="10888"/>
                  </a:lnTo>
                  <a:lnTo>
                    <a:pt x="770" y="10896"/>
                  </a:lnTo>
                  <a:lnTo>
                    <a:pt x="802" y="10903"/>
                  </a:lnTo>
                  <a:lnTo>
                    <a:pt x="834" y="10909"/>
                  </a:lnTo>
                  <a:lnTo>
                    <a:pt x="867" y="10913"/>
                  </a:lnTo>
                  <a:lnTo>
                    <a:pt x="901" y="10917"/>
                  </a:lnTo>
                  <a:lnTo>
                    <a:pt x="934" y="10919"/>
                  </a:lnTo>
                  <a:lnTo>
                    <a:pt x="967" y="10920"/>
                  </a:lnTo>
                  <a:lnTo>
                    <a:pt x="15189" y="10920"/>
                  </a:lnTo>
                  <a:close/>
                  <a:moveTo>
                    <a:pt x="8078" y="6283"/>
                  </a:moveTo>
                  <a:lnTo>
                    <a:pt x="9465" y="5153"/>
                  </a:lnTo>
                  <a:lnTo>
                    <a:pt x="10168" y="4580"/>
                  </a:lnTo>
                  <a:lnTo>
                    <a:pt x="15460" y="44"/>
                  </a:lnTo>
                  <a:lnTo>
                    <a:pt x="15428" y="34"/>
                  </a:lnTo>
                  <a:lnTo>
                    <a:pt x="15395" y="26"/>
                  </a:lnTo>
                  <a:lnTo>
                    <a:pt x="15361" y="19"/>
                  </a:lnTo>
                  <a:lnTo>
                    <a:pt x="15327" y="12"/>
                  </a:lnTo>
                  <a:lnTo>
                    <a:pt x="15294" y="7"/>
                  </a:lnTo>
                  <a:lnTo>
                    <a:pt x="15258" y="3"/>
                  </a:lnTo>
                  <a:lnTo>
                    <a:pt x="15224" y="1"/>
                  </a:lnTo>
                  <a:lnTo>
                    <a:pt x="15189" y="0"/>
                  </a:lnTo>
                  <a:lnTo>
                    <a:pt x="967" y="0"/>
                  </a:lnTo>
                  <a:lnTo>
                    <a:pt x="932" y="1"/>
                  </a:lnTo>
                  <a:lnTo>
                    <a:pt x="897" y="3"/>
                  </a:lnTo>
                  <a:lnTo>
                    <a:pt x="862" y="7"/>
                  </a:lnTo>
                  <a:lnTo>
                    <a:pt x="828" y="12"/>
                  </a:lnTo>
                  <a:lnTo>
                    <a:pt x="795" y="19"/>
                  </a:lnTo>
                  <a:lnTo>
                    <a:pt x="761" y="26"/>
                  </a:lnTo>
                  <a:lnTo>
                    <a:pt x="728" y="34"/>
                  </a:lnTo>
                  <a:lnTo>
                    <a:pt x="695" y="44"/>
                  </a:lnTo>
                  <a:lnTo>
                    <a:pt x="5991" y="4582"/>
                  </a:lnTo>
                  <a:lnTo>
                    <a:pt x="6693" y="5155"/>
                  </a:lnTo>
                  <a:lnTo>
                    <a:pt x="8078" y="628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solidFill>
                  <a:prstClr val="black"/>
                </a:solidFill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6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75" y="66675"/>
            <a:ext cx="692150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66672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274888" y="4524375"/>
            <a:ext cx="9104312" cy="46038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34" tIns="45718" rIns="91434" bIns="4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225" y="73025"/>
            <a:ext cx="165417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61950" y="3602038"/>
            <a:ext cx="1912938" cy="11064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>
              <a:defRPr/>
            </a:pPr>
            <a:r>
              <a:rPr lang="id-ID" altLang="en-US" sz="6600" b="1">
                <a:solidFill>
                  <a:srgbClr val="FF0000"/>
                </a:solidFill>
                <a:latin typeface="Calibri" panose="020F0502020204030204" pitchFamily="34" charset="0"/>
              </a:rPr>
              <a:t>DDS</a:t>
            </a:r>
          </a:p>
        </p:txBody>
      </p:sp>
      <p:sp>
        <p:nvSpPr>
          <p:cNvPr id="9" name="Title Placeholder 21"/>
          <p:cNvSpPr>
            <a:spLocks noGrp="1"/>
          </p:cNvSpPr>
          <p:nvPr>
            <p:ph type="title"/>
          </p:nvPr>
        </p:nvSpPr>
        <p:spPr bwMode="auto">
          <a:xfrm>
            <a:off x="2275423" y="3747189"/>
            <a:ext cx="9043844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r">
              <a:defRPr sz="28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10023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2513" y="225425"/>
            <a:ext cx="1971675" cy="1350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196850"/>
            <a:ext cx="952501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88173" y="2581650"/>
            <a:ext cx="7467600" cy="1470025"/>
          </a:xfrm>
        </p:spPr>
        <p:txBody>
          <a:bodyPr/>
          <a:lstStyle>
            <a:lvl1pPr algn="r">
              <a:defRPr sz="48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65412" y="4243787"/>
            <a:ext cx="6659880" cy="896103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</a:defRPr>
            </a:lvl1pPr>
            <a:lvl2pPr marL="422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0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13089231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0088" y="73025"/>
            <a:ext cx="132238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808038" y="684213"/>
            <a:ext cx="10139362" cy="50800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34" tIns="45718" rIns="91434" bIns="4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63500" y="173038"/>
            <a:ext cx="1135063" cy="7064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>
              <a:defRPr/>
            </a:pPr>
            <a:r>
              <a:rPr lang="id-ID" altLang="en-US" sz="4000" b="1">
                <a:solidFill>
                  <a:srgbClr val="FF0000"/>
                </a:solidFill>
                <a:latin typeface="Calibri" panose="020F0502020204030204" pitchFamily="34" charset="0"/>
              </a:rPr>
              <a:t>DD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279529" y="1450594"/>
            <a:ext cx="9794875" cy="4297363"/>
          </a:xfrm>
        </p:spPr>
        <p:txBody>
          <a:bodyPr/>
          <a:lstStyle>
            <a:lvl1pPr>
              <a:defRPr sz="2400">
                <a:latin typeface="Trebuchet MS" panose="020B0603020202020204" pitchFamily="34" charset="0"/>
              </a:defRPr>
            </a:lvl1pPr>
            <a:lvl2pPr>
              <a:defRPr sz="2400">
                <a:latin typeface="Trebuchet MS" panose="020B0603020202020204" pitchFamily="34" charset="0"/>
              </a:defRPr>
            </a:lvl2pPr>
            <a:lvl3pPr>
              <a:defRPr sz="1900">
                <a:latin typeface="Trebuchet MS" panose="020B0603020202020204" pitchFamily="34" charset="0"/>
              </a:defRPr>
            </a:lvl3pPr>
            <a:lvl4pPr>
              <a:defRPr sz="1600">
                <a:latin typeface="Trebuchet MS" panose="020B0603020202020204" pitchFamily="34" charset="0"/>
              </a:defRPr>
            </a:lvl4pPr>
            <a:lvl5pPr>
              <a:defRPr sz="160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21"/>
          <p:cNvSpPr>
            <a:spLocks noGrp="1"/>
          </p:cNvSpPr>
          <p:nvPr>
            <p:ph type="title"/>
          </p:nvPr>
        </p:nvSpPr>
        <p:spPr bwMode="auto">
          <a:xfrm>
            <a:off x="1345487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l">
              <a:defRPr sz="24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64362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0088" y="73025"/>
            <a:ext cx="132238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808038" y="684213"/>
            <a:ext cx="10139362" cy="50800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34" tIns="45718" rIns="91434" bIns="4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63500" y="173038"/>
            <a:ext cx="1135063" cy="7064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>
              <a:defRPr/>
            </a:pPr>
            <a:r>
              <a:rPr lang="id-ID" altLang="en-US" sz="4000" b="1">
                <a:solidFill>
                  <a:srgbClr val="FF0000"/>
                </a:solidFill>
                <a:latin typeface="Calibri" panose="020F0502020204030204" pitchFamily="34" charset="0"/>
              </a:rPr>
              <a:t>DDS</a:t>
            </a:r>
          </a:p>
        </p:txBody>
      </p:sp>
      <p:sp>
        <p:nvSpPr>
          <p:cNvPr id="49" name="Content Placeholder 3"/>
          <p:cNvSpPr>
            <a:spLocks noGrp="1"/>
          </p:cNvSpPr>
          <p:nvPr>
            <p:ph sz="quarter" idx="12"/>
          </p:nvPr>
        </p:nvSpPr>
        <p:spPr>
          <a:xfrm>
            <a:off x="1279529" y="1450594"/>
            <a:ext cx="9794875" cy="4297363"/>
          </a:xfrm>
        </p:spPr>
        <p:txBody>
          <a:bodyPr/>
          <a:lstStyle>
            <a:lvl1pPr>
              <a:defRPr sz="2400">
                <a:latin typeface="Trebuchet MS" panose="020B0603020202020204" pitchFamily="34" charset="0"/>
              </a:defRPr>
            </a:lvl1pPr>
            <a:lvl2pPr>
              <a:defRPr sz="2400">
                <a:latin typeface="Trebuchet MS" panose="020B0603020202020204" pitchFamily="34" charset="0"/>
              </a:defRPr>
            </a:lvl2pPr>
            <a:lvl3pPr>
              <a:defRPr sz="1900">
                <a:latin typeface="Trebuchet MS" panose="020B0603020202020204" pitchFamily="34" charset="0"/>
              </a:defRPr>
            </a:lvl3pPr>
            <a:lvl4pPr>
              <a:defRPr sz="1600">
                <a:latin typeface="Trebuchet MS" panose="020B0603020202020204" pitchFamily="34" charset="0"/>
              </a:defRPr>
            </a:lvl4pPr>
            <a:lvl5pPr>
              <a:defRPr sz="160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0" name="Title Placeholder 21"/>
          <p:cNvSpPr>
            <a:spLocks noGrp="1"/>
          </p:cNvSpPr>
          <p:nvPr>
            <p:ph type="title"/>
          </p:nvPr>
        </p:nvSpPr>
        <p:spPr bwMode="auto">
          <a:xfrm>
            <a:off x="1345487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l">
              <a:defRPr sz="24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7936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>
            <a:grpSpLocks/>
          </p:cNvGrpSpPr>
          <p:nvPr userDrawn="1"/>
        </p:nvGrpSpPr>
        <p:grpSpPr bwMode="auto">
          <a:xfrm>
            <a:off x="0" y="6732588"/>
            <a:ext cx="12192000" cy="125412"/>
            <a:chOff x="0" y="2573904"/>
            <a:chExt cx="8767278" cy="44695"/>
          </a:xfrm>
        </p:grpSpPr>
        <p:grpSp>
          <p:nvGrpSpPr>
            <p:cNvPr id="3" name="Group 43"/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1262579" y="2573904"/>
                <a:ext cx="1262579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2489770" y="2573904"/>
                <a:ext cx="1262579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" name="Group 44"/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14" y="2573904"/>
                <a:ext cx="1262579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Rectangle 5"/>
              <p:cNvSpPr/>
              <p:nvPr/>
            </p:nvSpPr>
            <p:spPr>
              <a:xfrm>
                <a:off x="1262594" y="2573904"/>
                <a:ext cx="1262579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2489784" y="2573904"/>
                <a:ext cx="1262579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3752364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2" name="Flowchart: Off-page Connector 11"/>
          <p:cNvSpPr/>
          <p:nvPr userDrawn="1"/>
        </p:nvSpPr>
        <p:spPr>
          <a:xfrm rot="5400000">
            <a:off x="11730831" y="126207"/>
            <a:ext cx="384175" cy="538162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754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667" dirty="0">
              <a:solidFill>
                <a:srgbClr val="FFFFFF"/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3050" y="203200"/>
            <a:ext cx="5080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 b="1">
                <a:solidFill>
                  <a:srgbClr val="FFFFFF"/>
                </a:solidFill>
                <a:cs typeface="FontAwesome"/>
              </a:defRPr>
            </a:lvl1pPr>
          </a:lstStyle>
          <a:p>
            <a:pPr>
              <a:defRPr/>
            </a:pPr>
            <a:fld id="{FC0A112D-AFEB-4A14-ABEC-C2957E8F43B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105225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3050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1625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144463" y="206375"/>
            <a:ext cx="1666875" cy="7080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id-ID" sz="4000" b="1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DS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720865" y="2663844"/>
            <a:ext cx="5556739" cy="1470025"/>
          </a:xfrm>
          <a:prstGeom prst="rect">
            <a:avLst/>
          </a:prstGeom>
        </p:spPr>
        <p:txBody>
          <a:bodyPr lIns="58433" tIns="29217" rIns="58433" bIns="29217">
            <a:normAutofit/>
          </a:bodyPr>
          <a:lstStyle>
            <a:lvl1pPr algn="l">
              <a:defRPr sz="4133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720864" y="4419600"/>
            <a:ext cx="5627077" cy="1752600"/>
          </a:xfrm>
          <a:prstGeom prst="rect">
            <a:avLst/>
          </a:prstGeom>
        </p:spPr>
        <p:txBody>
          <a:bodyPr lIns="58433" tIns="29217" rIns="58433" bIns="29217">
            <a:normAutofit/>
          </a:bodyPr>
          <a:lstStyle>
            <a:lvl1pPr marL="0" indent="0" algn="l">
              <a:buNone/>
              <a:defRPr sz="2267">
                <a:solidFill>
                  <a:schemeClr val="tx1">
                    <a:tint val="75000"/>
                  </a:schemeClr>
                </a:solidFill>
              </a:defRPr>
            </a:lvl1pPr>
            <a:lvl2pPr marL="5193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8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6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3680187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3050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1625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3500" y="173038"/>
            <a:ext cx="1135063" cy="7064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id-ID" sz="4000" b="1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DS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720865" y="2663845"/>
            <a:ext cx="5556739" cy="1470025"/>
          </a:xfrm>
          <a:prstGeom prst="rect">
            <a:avLst/>
          </a:prstGeom>
        </p:spPr>
        <p:txBody>
          <a:bodyPr lIns="103877" tIns="51940" rIns="103877" bIns="51940">
            <a:normAutofit/>
          </a:bodyPr>
          <a:lstStyle>
            <a:lvl1pPr algn="l">
              <a:defRPr sz="41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720864" y="4419600"/>
            <a:ext cx="5627077" cy="1752600"/>
          </a:xfrm>
          <a:prstGeom prst="rect">
            <a:avLst/>
          </a:prstGeom>
        </p:spPr>
        <p:txBody>
          <a:bodyPr lIns="103877" tIns="51940" rIns="103877" bIns="51940">
            <a:normAutofit/>
          </a:bodyPr>
          <a:lstStyle>
            <a:lvl1pPr marL="0" indent="0" algn="l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19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7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8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9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6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5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337125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0088" y="73025"/>
            <a:ext cx="132238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808038" y="684213"/>
            <a:ext cx="10139362" cy="50800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34" tIns="45718" rIns="91434" bIns="4571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63500" y="173038"/>
            <a:ext cx="1135063" cy="7064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>
              <a:defRPr/>
            </a:pPr>
            <a:r>
              <a:rPr lang="id-ID" altLang="en-US" sz="4000" b="1">
                <a:solidFill>
                  <a:srgbClr val="FF0000"/>
                </a:solidFill>
                <a:latin typeface="Calibri" panose="020F0502020204030204" pitchFamily="34" charset="0"/>
              </a:rPr>
              <a:t>DD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279529" y="1450594"/>
            <a:ext cx="9794875" cy="4297363"/>
          </a:xfrm>
        </p:spPr>
        <p:txBody>
          <a:bodyPr/>
          <a:lstStyle>
            <a:lvl1pPr>
              <a:defRPr sz="2400">
                <a:latin typeface="Trebuchet MS" panose="020B0603020202020204" pitchFamily="34" charset="0"/>
              </a:defRPr>
            </a:lvl1pPr>
            <a:lvl2pPr>
              <a:defRPr sz="2400">
                <a:latin typeface="Trebuchet MS" panose="020B0603020202020204" pitchFamily="34" charset="0"/>
              </a:defRPr>
            </a:lvl2pPr>
            <a:lvl3pPr>
              <a:defRPr sz="1900">
                <a:latin typeface="Trebuchet MS" panose="020B0603020202020204" pitchFamily="34" charset="0"/>
              </a:defRPr>
            </a:lvl3pPr>
            <a:lvl4pPr>
              <a:defRPr sz="1600">
                <a:latin typeface="Trebuchet MS" panose="020B0603020202020204" pitchFamily="34" charset="0"/>
              </a:defRPr>
            </a:lvl4pPr>
            <a:lvl5pPr>
              <a:defRPr sz="160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21"/>
          <p:cNvSpPr>
            <a:spLocks noGrp="1"/>
          </p:cNvSpPr>
          <p:nvPr>
            <p:ph type="title"/>
          </p:nvPr>
        </p:nvSpPr>
        <p:spPr bwMode="auto">
          <a:xfrm>
            <a:off x="1345487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l">
              <a:defRPr sz="24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825040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3050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1625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3500" y="173038"/>
            <a:ext cx="1135063" cy="7064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id-ID" sz="4000" b="1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DS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720865" y="2663844"/>
            <a:ext cx="5556739" cy="1470025"/>
          </a:xfrm>
          <a:prstGeom prst="rect">
            <a:avLst/>
          </a:prstGeom>
        </p:spPr>
        <p:txBody>
          <a:bodyPr lIns="58433" tIns="29217" rIns="58433" bIns="29217">
            <a:normAutofit/>
          </a:bodyPr>
          <a:lstStyle>
            <a:lvl1pPr algn="l">
              <a:defRPr sz="4133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720864" y="4419600"/>
            <a:ext cx="5627077" cy="1752600"/>
          </a:xfrm>
          <a:prstGeom prst="rect">
            <a:avLst/>
          </a:prstGeom>
        </p:spPr>
        <p:txBody>
          <a:bodyPr lIns="58433" tIns="29217" rIns="58433" bIns="29217">
            <a:normAutofit/>
          </a:bodyPr>
          <a:lstStyle>
            <a:lvl1pPr marL="0" indent="0" algn="l">
              <a:buNone/>
              <a:defRPr sz="2267">
                <a:solidFill>
                  <a:schemeClr val="tx1">
                    <a:tint val="75000"/>
                  </a:schemeClr>
                </a:solidFill>
              </a:defRPr>
            </a:lvl1pPr>
            <a:lvl2pPr marL="5193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8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6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5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22698517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10865" y="4530793"/>
            <a:ext cx="10300179" cy="1255711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0868" y="4080220"/>
            <a:ext cx="6394901" cy="348912"/>
          </a:xfrm>
        </p:spPr>
        <p:txBody>
          <a:bodyPr>
            <a:normAutofit/>
          </a:bodyPr>
          <a:lstStyle>
            <a:lvl1pPr marL="0" indent="0" algn="l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1pPr>
            <a:lvl2pPr marL="609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287000" y="857250"/>
            <a:ext cx="1473200" cy="1793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prstClr val="black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fld id="{1CBF0F47-A1DA-411F-BA74-7CD56F3CBBD2}" type="datetime1">
              <a:rPr lang="en-US" altLang="id-ID"/>
              <a:pPr>
                <a:defRPr/>
              </a:pPr>
              <a:t>3/10/2022</a:t>
            </a:fld>
            <a:endParaRPr lang="en-US" alt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207125"/>
            <a:ext cx="3860800" cy="3651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FA297A-174B-4071-9931-9338B28511C6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138857005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06488" y="715963"/>
            <a:ext cx="749300" cy="46037"/>
          </a:xfrm>
          <a:prstGeom prst="rect">
            <a:avLst/>
          </a:prstGeom>
          <a:solidFill>
            <a:srgbClr val="F20000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77" tIns="51940" rIns="103877" bIns="51940" anchor="ctr"/>
          <a:lstStyle/>
          <a:p>
            <a:pPr algn="ctr" defTabSz="1038769">
              <a:defRPr/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893888" y="715963"/>
            <a:ext cx="94345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77" tIns="51940" rIns="103877" bIns="51940" anchor="ctr"/>
          <a:lstStyle/>
          <a:p>
            <a:pPr algn="ctr" defTabSz="1038769">
              <a:defRPr/>
            </a:pPr>
            <a:endParaRPr lang="en-US" sz="200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4650" y="33338"/>
            <a:ext cx="1633538" cy="84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63500" y="173038"/>
            <a:ext cx="1135063" cy="7064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>
              <a:defRPr/>
            </a:pPr>
            <a:r>
              <a:rPr lang="id-ID" altLang="en-US" sz="4000" b="1">
                <a:solidFill>
                  <a:srgbClr val="FF0000"/>
                </a:solidFill>
                <a:latin typeface="Calibri" panose="020F0502020204030204" pitchFamily="34" charset="0"/>
              </a:rPr>
              <a:t>DDS</a:t>
            </a:r>
          </a:p>
        </p:txBody>
      </p:sp>
      <p:sp>
        <p:nvSpPr>
          <p:cNvPr id="7" name="Title Placeholder 21"/>
          <p:cNvSpPr>
            <a:spLocks noGrp="1"/>
          </p:cNvSpPr>
          <p:nvPr>
            <p:ph type="title"/>
          </p:nvPr>
        </p:nvSpPr>
        <p:spPr bwMode="auto">
          <a:xfrm>
            <a:off x="1091041" y="154959"/>
            <a:ext cx="10087219" cy="5319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103877" tIns="51940" rIns="103877" bIns="51940"/>
          <a:lstStyle>
            <a:lvl1pPr algn="l">
              <a:defRPr sz="2700" b="1" i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69376" y="838200"/>
            <a:ext cx="11584047" cy="457200"/>
          </a:xfrm>
          <a:prstGeom prst="rect">
            <a:avLst/>
          </a:prstGeom>
        </p:spPr>
        <p:txBody>
          <a:bodyPr lIns="103877" tIns="51940" rIns="103877" bIns="51940"/>
          <a:lstStyle>
            <a:lvl1pPr marL="0" indent="0">
              <a:buFont typeface="Arial" pitchFamily="34" charset="0"/>
              <a:buNone/>
              <a:defRPr sz="200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519386" indent="0">
              <a:buFont typeface="Arial" pitchFamily="34" charset="0"/>
              <a:buNone/>
              <a:defRPr sz="1900"/>
            </a:lvl2pPr>
            <a:lvl3pPr marL="1038769" indent="0">
              <a:buFont typeface="Arial" pitchFamily="34" charset="0"/>
              <a:buNone/>
              <a:defRPr sz="1600"/>
            </a:lvl3pPr>
            <a:lvl4pPr marL="1558153" indent="0">
              <a:buFont typeface="Arial" pitchFamily="34" charset="0"/>
              <a:buNone/>
              <a:defRPr sz="1300"/>
            </a:lvl4pPr>
            <a:lvl5pPr marL="2077536" indent="0">
              <a:buFont typeface="Arial" pitchFamily="34" charset="0"/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620453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06488" y="715963"/>
            <a:ext cx="749300" cy="46037"/>
          </a:xfrm>
          <a:prstGeom prst="rect">
            <a:avLst/>
          </a:prstGeom>
          <a:solidFill>
            <a:srgbClr val="F20000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80" tIns="51941" rIns="103880" bIns="51941" anchor="ctr"/>
          <a:lstStyle/>
          <a:p>
            <a:pPr algn="ctr" defTabSz="1038795">
              <a:defRPr/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893888" y="715963"/>
            <a:ext cx="94345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80" tIns="51941" rIns="103880" bIns="51941" anchor="ctr"/>
          <a:lstStyle/>
          <a:p>
            <a:pPr algn="ctr" defTabSz="1038795">
              <a:defRPr/>
            </a:pPr>
            <a:endParaRPr lang="en-US" sz="200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4650" y="33338"/>
            <a:ext cx="1633538" cy="84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63500" y="173038"/>
            <a:ext cx="1135063" cy="7064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>
              <a:defRPr/>
            </a:pPr>
            <a:r>
              <a:rPr lang="id-ID" altLang="en-US" sz="4000" b="1">
                <a:solidFill>
                  <a:srgbClr val="FF0000"/>
                </a:solidFill>
                <a:latin typeface="Calibri" panose="020F0502020204030204" pitchFamily="34" charset="0"/>
              </a:rPr>
              <a:t>DDS</a:t>
            </a:r>
          </a:p>
        </p:txBody>
      </p:sp>
      <p:sp>
        <p:nvSpPr>
          <p:cNvPr id="7" name="Title Placeholder 21"/>
          <p:cNvSpPr>
            <a:spLocks noGrp="1"/>
          </p:cNvSpPr>
          <p:nvPr>
            <p:ph type="title"/>
          </p:nvPr>
        </p:nvSpPr>
        <p:spPr bwMode="auto">
          <a:xfrm>
            <a:off x="1091041" y="154959"/>
            <a:ext cx="10087219" cy="5319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103880" tIns="51941" rIns="103880" bIns="51941"/>
          <a:lstStyle>
            <a:lvl1pPr algn="l">
              <a:defRPr sz="2700" b="1" i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69374" y="838200"/>
            <a:ext cx="11584047" cy="457200"/>
          </a:xfrm>
          <a:prstGeom prst="rect">
            <a:avLst/>
          </a:prstGeom>
        </p:spPr>
        <p:txBody>
          <a:bodyPr lIns="103880" tIns="51941" rIns="103880" bIns="51941"/>
          <a:lstStyle>
            <a:lvl1pPr marL="0" indent="0">
              <a:buFont typeface="Arial" pitchFamily="34" charset="0"/>
              <a:buNone/>
              <a:defRPr sz="200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519398" indent="0">
              <a:buFont typeface="Arial" pitchFamily="34" charset="0"/>
              <a:buNone/>
              <a:defRPr sz="1900"/>
            </a:lvl2pPr>
            <a:lvl3pPr marL="1038795" indent="0">
              <a:buFont typeface="Arial" pitchFamily="34" charset="0"/>
              <a:buNone/>
              <a:defRPr sz="1600"/>
            </a:lvl3pPr>
            <a:lvl4pPr marL="1558192" indent="0">
              <a:buFont typeface="Arial" pitchFamily="34" charset="0"/>
              <a:buNone/>
              <a:defRPr sz="1300"/>
            </a:lvl4pPr>
            <a:lvl5pPr marL="2077588" indent="0">
              <a:buFont typeface="Arial" pitchFamily="34" charset="0"/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583605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940800" y="6584950"/>
            <a:ext cx="1230313" cy="1968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700" dirty="0">
                <a:solidFill>
                  <a:prstClr val="white"/>
                </a:solidFill>
              </a:rPr>
              <a:t>Strictly Confidential</a:t>
            </a:r>
            <a:endParaRPr lang="en-US" sz="700" dirty="0">
              <a:solidFill>
                <a:prstClr val="white"/>
              </a:solidFill>
            </a:endParaRPr>
          </a:p>
        </p:txBody>
      </p:sp>
      <p:sp>
        <p:nvSpPr>
          <p:cNvPr id="3" name="Rounded Rectangle 2"/>
          <p:cNvSpPr/>
          <p:nvPr userDrawn="1"/>
        </p:nvSpPr>
        <p:spPr>
          <a:xfrm>
            <a:off x="10272713" y="6596063"/>
            <a:ext cx="1016000" cy="18256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0363200" y="6553200"/>
            <a:ext cx="825500" cy="254000"/>
          </a:xfrm>
          <a:prstGeom prst="rect">
            <a:avLst/>
          </a:prstGeom>
        </p:spPr>
        <p:txBody>
          <a:bodyPr lIns="91428" tIns="45714" rIns="91428" bIns="45714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>
              <a:defRPr/>
            </a:pPr>
            <a:fld id="{09C2BCB4-EC8E-4BF1-99BA-25DCF007AB56}" type="slidenum">
              <a:rPr lang="id-ID" altLang="en-US" sz="1400" smtClean="0">
                <a:solidFill>
                  <a:srgbClr val="000000"/>
                </a:solidFill>
                <a:latin typeface="Calibri" panose="020F0502020204030204" pitchFamily="34" charset="0"/>
              </a:rPr>
              <a:pPr algn="ctr">
                <a:defRPr/>
              </a:pPr>
              <a:t>‹#›</a:t>
            </a:fld>
            <a:endParaRPr lang="id-ID" altLang="en-US" sz="14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5750" y="496888"/>
            <a:ext cx="10001250" cy="158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2270017"/>
      </p:ext>
    </p:extLst>
  </p:cSld>
  <p:clrMapOvr>
    <a:masterClrMapping/>
  </p:clrMapOvr>
  <p:transition spd="slow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040377"/>
      </p:ext>
    </p:extLst>
  </p:cSld>
  <p:clrMapOvr>
    <a:masterClrMapping/>
  </p:clrMapOvr>
  <p:transition spd="slow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6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8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26400" y="804674"/>
            <a:ext cx="11520000" cy="369332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288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64254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274888" y="4524375"/>
            <a:ext cx="9104312" cy="46038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85579" tIns="42790" rIns="85579" bIns="42790" anchor="ctr"/>
          <a:lstStyle/>
          <a:p>
            <a:pPr algn="ctr"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4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225" y="73025"/>
            <a:ext cx="165417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361950" y="3602038"/>
            <a:ext cx="1912938" cy="1027112"/>
          </a:xfrm>
          <a:prstGeom prst="rect">
            <a:avLst/>
          </a:prstGeom>
          <a:solidFill>
            <a:schemeClr val="bg1"/>
          </a:solidFill>
        </p:spPr>
        <p:txBody>
          <a:bodyPr lIns="85584" tIns="42793" rIns="85584" bIns="42793">
            <a:spAutoFit/>
          </a:bodyPr>
          <a:lstStyle/>
          <a:p>
            <a:pPr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6120" b="1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DS</a:t>
            </a:r>
          </a:p>
        </p:txBody>
      </p:sp>
      <p:sp>
        <p:nvSpPr>
          <p:cNvPr id="9" name="Title Placeholder 21"/>
          <p:cNvSpPr>
            <a:spLocks noGrp="1"/>
          </p:cNvSpPr>
          <p:nvPr>
            <p:ph type="title"/>
          </p:nvPr>
        </p:nvSpPr>
        <p:spPr bwMode="auto">
          <a:xfrm>
            <a:off x="2275423" y="3747190"/>
            <a:ext cx="9043844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r">
              <a:defRPr sz="264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61612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2513" y="225425"/>
            <a:ext cx="1971675" cy="1350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196850"/>
            <a:ext cx="952501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88173" y="2581652"/>
            <a:ext cx="7467600" cy="1470025"/>
          </a:xfrm>
        </p:spPr>
        <p:txBody>
          <a:bodyPr/>
          <a:lstStyle>
            <a:lvl1pPr algn="r">
              <a:defRPr sz="444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65412" y="4243787"/>
            <a:ext cx="6659880" cy="896104"/>
          </a:xfrm>
        </p:spPr>
        <p:txBody>
          <a:bodyPr/>
          <a:lstStyle>
            <a:lvl1pPr marL="0" indent="0" algn="r">
              <a:buNone/>
              <a:defRPr sz="192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</a:defRPr>
            </a:lvl1pPr>
            <a:lvl2pPr marL="394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8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849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79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74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699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64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59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99938531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0088" y="73025"/>
            <a:ext cx="132238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808038" y="684213"/>
            <a:ext cx="10139362" cy="50800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85579" tIns="42790" rIns="85579" bIns="42790" anchor="ctr"/>
          <a:lstStyle/>
          <a:p>
            <a:pPr algn="ctr"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16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3500" y="173038"/>
            <a:ext cx="1135063" cy="658812"/>
          </a:xfrm>
          <a:prstGeom prst="rect">
            <a:avLst/>
          </a:prstGeom>
          <a:solidFill>
            <a:schemeClr val="bg1"/>
          </a:solidFill>
        </p:spPr>
        <p:txBody>
          <a:bodyPr lIns="85584" tIns="42793" rIns="85584" bIns="42793">
            <a:spAutoFit/>
          </a:bodyPr>
          <a:lstStyle/>
          <a:p>
            <a:pPr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720" b="1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D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279529" y="1450596"/>
            <a:ext cx="9794875" cy="4297363"/>
          </a:xfrm>
        </p:spPr>
        <p:txBody>
          <a:bodyPr/>
          <a:lstStyle>
            <a:lvl1pPr>
              <a:defRPr sz="2280">
                <a:latin typeface="Trebuchet MS" panose="020B0603020202020204" pitchFamily="34" charset="0"/>
              </a:defRPr>
            </a:lvl1pPr>
            <a:lvl2pPr>
              <a:defRPr sz="2280">
                <a:latin typeface="Trebuchet MS" panose="020B0603020202020204" pitchFamily="34" charset="0"/>
              </a:defRPr>
            </a:lvl2pPr>
            <a:lvl3pPr>
              <a:defRPr sz="1800">
                <a:latin typeface="Trebuchet MS" panose="020B0603020202020204" pitchFamily="34" charset="0"/>
              </a:defRPr>
            </a:lvl3pPr>
            <a:lvl4pPr>
              <a:defRPr sz="1440">
                <a:latin typeface="Trebuchet MS" panose="020B0603020202020204" pitchFamily="34" charset="0"/>
              </a:defRPr>
            </a:lvl4pPr>
            <a:lvl5pPr>
              <a:defRPr sz="144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21"/>
          <p:cNvSpPr>
            <a:spLocks noGrp="1"/>
          </p:cNvSpPr>
          <p:nvPr>
            <p:ph type="title"/>
          </p:nvPr>
        </p:nvSpPr>
        <p:spPr bwMode="auto">
          <a:xfrm>
            <a:off x="1345490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l">
              <a:defRPr sz="228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65355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0088" y="73025"/>
            <a:ext cx="132238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808038" y="684213"/>
            <a:ext cx="10139362" cy="50800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85579" tIns="42790" rIns="85579" bIns="42790" anchor="ctr"/>
          <a:lstStyle/>
          <a:p>
            <a:pPr algn="ctr"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16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63500" y="173038"/>
            <a:ext cx="1135063" cy="658812"/>
          </a:xfrm>
          <a:prstGeom prst="rect">
            <a:avLst/>
          </a:prstGeom>
          <a:solidFill>
            <a:schemeClr val="bg1"/>
          </a:solidFill>
        </p:spPr>
        <p:txBody>
          <a:bodyPr lIns="85584" tIns="42793" rIns="85584" bIns="42793">
            <a:spAutoFit/>
          </a:bodyPr>
          <a:lstStyle/>
          <a:p>
            <a:pPr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720" b="1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DS</a:t>
            </a:r>
          </a:p>
        </p:txBody>
      </p:sp>
      <p:sp>
        <p:nvSpPr>
          <p:cNvPr id="49" name="Content Placeholder 3"/>
          <p:cNvSpPr>
            <a:spLocks noGrp="1"/>
          </p:cNvSpPr>
          <p:nvPr>
            <p:ph sz="quarter" idx="12"/>
          </p:nvPr>
        </p:nvSpPr>
        <p:spPr>
          <a:xfrm>
            <a:off x="1279529" y="1450596"/>
            <a:ext cx="9794875" cy="4297363"/>
          </a:xfrm>
        </p:spPr>
        <p:txBody>
          <a:bodyPr/>
          <a:lstStyle>
            <a:lvl1pPr>
              <a:defRPr sz="2280">
                <a:latin typeface="Trebuchet MS" panose="020B0603020202020204" pitchFamily="34" charset="0"/>
              </a:defRPr>
            </a:lvl1pPr>
            <a:lvl2pPr>
              <a:defRPr sz="2280">
                <a:latin typeface="Trebuchet MS" panose="020B0603020202020204" pitchFamily="34" charset="0"/>
              </a:defRPr>
            </a:lvl2pPr>
            <a:lvl3pPr>
              <a:defRPr sz="1800">
                <a:latin typeface="Trebuchet MS" panose="020B0603020202020204" pitchFamily="34" charset="0"/>
              </a:defRPr>
            </a:lvl3pPr>
            <a:lvl4pPr>
              <a:defRPr sz="1440">
                <a:latin typeface="Trebuchet MS" panose="020B0603020202020204" pitchFamily="34" charset="0"/>
              </a:defRPr>
            </a:lvl4pPr>
            <a:lvl5pPr>
              <a:defRPr sz="144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0" name="Title Placeholder 21"/>
          <p:cNvSpPr>
            <a:spLocks noGrp="1"/>
          </p:cNvSpPr>
          <p:nvPr>
            <p:ph type="title"/>
          </p:nvPr>
        </p:nvSpPr>
        <p:spPr bwMode="auto">
          <a:xfrm>
            <a:off x="1345490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l">
              <a:defRPr sz="228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2915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3050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1625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144463" y="206375"/>
            <a:ext cx="1666875" cy="6588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5584" tIns="42793" rIns="85584" bIns="42793">
            <a:spAutoFit/>
          </a:bodyPr>
          <a:lstStyle/>
          <a:p>
            <a:pPr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720" b="1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DS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720865" y="2663846"/>
            <a:ext cx="5556739" cy="1470025"/>
          </a:xfrm>
          <a:prstGeom prst="rect">
            <a:avLst/>
          </a:prstGeom>
        </p:spPr>
        <p:txBody>
          <a:bodyPr lIns="45576" tIns="22788" rIns="45576" bIns="22788">
            <a:normAutofit/>
          </a:bodyPr>
          <a:lstStyle>
            <a:lvl1pPr algn="l">
              <a:defRPr sz="384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720864" y="4419600"/>
            <a:ext cx="5627077" cy="1752600"/>
          </a:xfrm>
          <a:prstGeom prst="rect">
            <a:avLst/>
          </a:prstGeom>
        </p:spPr>
        <p:txBody>
          <a:bodyPr lIns="45576" tIns="22788" rIns="45576" bIns="22788">
            <a:normAutofit/>
          </a:bodyPr>
          <a:lstStyle>
            <a:lvl1pPr marL="0" indent="0" algn="l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1pPr>
            <a:lvl2pPr marL="4861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2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58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44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05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16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02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88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0829278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3050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1625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3500" y="173038"/>
            <a:ext cx="1135063" cy="6588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5584" tIns="42793" rIns="85584" bIns="42793">
            <a:spAutoFit/>
          </a:bodyPr>
          <a:lstStyle/>
          <a:p>
            <a:pPr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720" b="1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DS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720865" y="2663847"/>
            <a:ext cx="5556739" cy="1470025"/>
          </a:xfrm>
          <a:prstGeom prst="rect">
            <a:avLst/>
          </a:prstGeom>
        </p:spPr>
        <p:txBody>
          <a:bodyPr lIns="81021" tIns="40512" rIns="81021" bIns="40512">
            <a:normAutofit/>
          </a:bodyPr>
          <a:lstStyle>
            <a:lvl1pPr algn="l">
              <a:defRPr sz="384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720864" y="4419600"/>
            <a:ext cx="5627077" cy="1752600"/>
          </a:xfrm>
          <a:prstGeom prst="rect">
            <a:avLst/>
          </a:prstGeom>
        </p:spPr>
        <p:txBody>
          <a:bodyPr lIns="81021" tIns="40512" rIns="81021" bIns="40512">
            <a:normAutofit/>
          </a:bodyPr>
          <a:lstStyle>
            <a:lvl1pPr marL="0" indent="0" algn="l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1pPr>
            <a:lvl2pPr marL="486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2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58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444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0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16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028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88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9123756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0088" y="73025"/>
            <a:ext cx="132238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808038" y="684213"/>
            <a:ext cx="10139362" cy="50800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85579" tIns="42790" rIns="85579" bIns="42790" anchor="ctr"/>
          <a:lstStyle/>
          <a:p>
            <a:pPr algn="ctr"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16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3500" y="173038"/>
            <a:ext cx="1135063" cy="658812"/>
          </a:xfrm>
          <a:prstGeom prst="rect">
            <a:avLst/>
          </a:prstGeom>
          <a:solidFill>
            <a:schemeClr val="bg1"/>
          </a:solidFill>
        </p:spPr>
        <p:txBody>
          <a:bodyPr lIns="85584" tIns="42793" rIns="85584" bIns="42793">
            <a:spAutoFit/>
          </a:bodyPr>
          <a:lstStyle/>
          <a:p>
            <a:pPr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720" b="1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D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279529" y="1450596"/>
            <a:ext cx="9794875" cy="4297363"/>
          </a:xfrm>
        </p:spPr>
        <p:txBody>
          <a:bodyPr/>
          <a:lstStyle>
            <a:lvl1pPr>
              <a:defRPr sz="2280">
                <a:latin typeface="Trebuchet MS" panose="020B0603020202020204" pitchFamily="34" charset="0"/>
              </a:defRPr>
            </a:lvl1pPr>
            <a:lvl2pPr>
              <a:defRPr sz="2280">
                <a:latin typeface="Trebuchet MS" panose="020B0603020202020204" pitchFamily="34" charset="0"/>
              </a:defRPr>
            </a:lvl2pPr>
            <a:lvl3pPr>
              <a:defRPr sz="1800">
                <a:latin typeface="Trebuchet MS" panose="020B0603020202020204" pitchFamily="34" charset="0"/>
              </a:defRPr>
            </a:lvl3pPr>
            <a:lvl4pPr>
              <a:defRPr sz="1440">
                <a:latin typeface="Trebuchet MS" panose="020B0603020202020204" pitchFamily="34" charset="0"/>
              </a:defRPr>
            </a:lvl4pPr>
            <a:lvl5pPr>
              <a:defRPr sz="144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21"/>
          <p:cNvSpPr>
            <a:spLocks noGrp="1"/>
          </p:cNvSpPr>
          <p:nvPr>
            <p:ph type="title"/>
          </p:nvPr>
        </p:nvSpPr>
        <p:spPr bwMode="auto">
          <a:xfrm>
            <a:off x="1345490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l">
              <a:defRPr sz="228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515499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3050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1625" y="17463"/>
            <a:ext cx="1738313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3500" y="173038"/>
            <a:ext cx="1135063" cy="6588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5584" tIns="42793" rIns="85584" bIns="42793">
            <a:spAutoFit/>
          </a:bodyPr>
          <a:lstStyle/>
          <a:p>
            <a:pPr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720" b="1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DS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720865" y="2663846"/>
            <a:ext cx="5556739" cy="1470025"/>
          </a:xfrm>
          <a:prstGeom prst="rect">
            <a:avLst/>
          </a:prstGeom>
        </p:spPr>
        <p:txBody>
          <a:bodyPr lIns="45576" tIns="22788" rIns="45576" bIns="22788">
            <a:normAutofit/>
          </a:bodyPr>
          <a:lstStyle>
            <a:lvl1pPr algn="l">
              <a:defRPr sz="384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720864" y="4419600"/>
            <a:ext cx="5627077" cy="1752600"/>
          </a:xfrm>
          <a:prstGeom prst="rect">
            <a:avLst/>
          </a:prstGeom>
        </p:spPr>
        <p:txBody>
          <a:bodyPr lIns="45576" tIns="22788" rIns="45576" bIns="22788">
            <a:normAutofit/>
          </a:bodyPr>
          <a:lstStyle>
            <a:lvl1pPr marL="0" indent="0" algn="l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1pPr>
            <a:lvl2pPr marL="4861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2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58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44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05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16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02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88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83836287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10865" y="4530793"/>
            <a:ext cx="10300179" cy="1255711"/>
          </a:xfrm>
        </p:spPr>
        <p:txBody>
          <a:bodyPr>
            <a:normAutofit/>
          </a:bodyPr>
          <a:lstStyle>
            <a:lvl1pPr>
              <a:defRPr sz="444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10868" y="4080220"/>
            <a:ext cx="6394901" cy="348912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570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40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11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81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52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22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933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638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287000" y="857250"/>
            <a:ext cx="1473200" cy="179388"/>
          </a:xfrm>
          <a:prstGeom prst="rect">
            <a:avLst/>
          </a:prstGeom>
        </p:spPr>
        <p:txBody>
          <a:bodyPr vert="horz" wrap="square" lIns="71320" tIns="35661" rIns="71320" bIns="35661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FontAwesome"/>
              </a:defRPr>
            </a:lvl1pPr>
          </a:lstStyle>
          <a:p>
            <a:pPr>
              <a:defRPr/>
            </a:pPr>
            <a:fld id="{F909FE75-58BF-4DD9-A3AE-875697989B6D}" type="datetime1">
              <a:rPr lang="en-US" altLang="id-ID"/>
              <a:pPr>
                <a:defRPr/>
              </a:pPr>
              <a:t>3/10/2022</a:t>
            </a:fld>
            <a:endParaRPr lang="en-US" alt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207125"/>
            <a:ext cx="3860800" cy="365125"/>
          </a:xfrm>
          <a:prstGeom prst="rect">
            <a:avLst/>
          </a:prstGeom>
        </p:spPr>
        <p:txBody>
          <a:bodyPr vert="horz" wrap="square" lIns="71320" tIns="35661" rIns="71320" bIns="35661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966EB6-126F-44B1-ADF3-04A12D1F7D84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18511369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06488" y="715963"/>
            <a:ext cx="749300" cy="46037"/>
          </a:xfrm>
          <a:prstGeom prst="rect">
            <a:avLst/>
          </a:prstGeom>
          <a:solidFill>
            <a:srgbClr val="F20000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7225" tIns="48614" rIns="97225" bIns="48614" anchor="ctr"/>
          <a:lstStyle/>
          <a:p>
            <a:pPr algn="ctr" defTabSz="972250">
              <a:defRPr/>
            </a:pPr>
            <a:endParaRPr lang="en-US" sz="192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893888" y="715963"/>
            <a:ext cx="94345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7225" tIns="48614" rIns="97225" bIns="48614" anchor="ctr"/>
          <a:lstStyle/>
          <a:p>
            <a:pPr algn="ctr" defTabSz="972250">
              <a:defRPr/>
            </a:pPr>
            <a:endParaRPr lang="en-US" sz="192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4650" y="33338"/>
            <a:ext cx="1633538" cy="84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63500" y="173038"/>
            <a:ext cx="1135063" cy="658812"/>
          </a:xfrm>
          <a:prstGeom prst="rect">
            <a:avLst/>
          </a:prstGeom>
          <a:solidFill>
            <a:schemeClr val="bg1"/>
          </a:solidFill>
        </p:spPr>
        <p:txBody>
          <a:bodyPr lIns="85584" tIns="42793" rIns="85584" bIns="42793">
            <a:spAutoFit/>
          </a:bodyPr>
          <a:lstStyle/>
          <a:p>
            <a:pPr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720" b="1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DS</a:t>
            </a:r>
          </a:p>
        </p:txBody>
      </p:sp>
      <p:sp>
        <p:nvSpPr>
          <p:cNvPr id="7" name="Title Placeholder 21"/>
          <p:cNvSpPr>
            <a:spLocks noGrp="1"/>
          </p:cNvSpPr>
          <p:nvPr>
            <p:ph type="title"/>
          </p:nvPr>
        </p:nvSpPr>
        <p:spPr bwMode="auto">
          <a:xfrm>
            <a:off x="1091041" y="154960"/>
            <a:ext cx="10087219" cy="5319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81021" tIns="40512" rIns="81021" bIns="40512"/>
          <a:lstStyle>
            <a:lvl1pPr algn="l">
              <a:defRPr sz="2520" b="1" i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69378" y="838200"/>
            <a:ext cx="11584047" cy="457200"/>
          </a:xfrm>
          <a:prstGeom prst="rect">
            <a:avLst/>
          </a:prstGeom>
        </p:spPr>
        <p:txBody>
          <a:bodyPr lIns="81021" tIns="40512" rIns="81021" bIns="40512"/>
          <a:lstStyle>
            <a:lvl1pPr marL="0" indent="0">
              <a:buFont typeface="Arial" pitchFamily="34" charset="0"/>
              <a:buNone/>
              <a:defRPr sz="192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486126" indent="0">
              <a:buFont typeface="Arial" pitchFamily="34" charset="0"/>
              <a:buNone/>
              <a:defRPr sz="1800"/>
            </a:lvl2pPr>
            <a:lvl3pPr marL="972250" indent="0">
              <a:buFont typeface="Arial" pitchFamily="34" charset="0"/>
              <a:buNone/>
              <a:defRPr sz="1440"/>
            </a:lvl3pPr>
            <a:lvl4pPr marL="1458372" indent="0">
              <a:buFont typeface="Arial" pitchFamily="34" charset="0"/>
              <a:buNone/>
              <a:defRPr sz="1200"/>
            </a:lvl4pPr>
            <a:lvl5pPr marL="1944496" indent="0">
              <a:buFont typeface="Arial" pitchFamily="34" charset="0"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291248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>
            <a:grpSpLocks/>
          </p:cNvGrpSpPr>
          <p:nvPr userDrawn="1"/>
        </p:nvGrpSpPr>
        <p:grpSpPr bwMode="auto">
          <a:xfrm>
            <a:off x="0" y="6732588"/>
            <a:ext cx="12192000" cy="125412"/>
            <a:chOff x="0" y="2573904"/>
            <a:chExt cx="8767278" cy="44695"/>
          </a:xfrm>
        </p:grpSpPr>
        <p:grpSp>
          <p:nvGrpSpPr>
            <p:cNvPr id="3" name="Group 43"/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1262579" y="2573904"/>
                <a:ext cx="1262579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2489770" y="2573904"/>
                <a:ext cx="1262579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" name="Group 44"/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14" y="2573904"/>
                <a:ext cx="1262579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Rectangle 5"/>
              <p:cNvSpPr/>
              <p:nvPr/>
            </p:nvSpPr>
            <p:spPr>
              <a:xfrm>
                <a:off x="1262594" y="2573904"/>
                <a:ext cx="1262579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2489784" y="2573904"/>
                <a:ext cx="1262579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3752364" y="2573904"/>
                <a:ext cx="126257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46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667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801086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06488" y="715963"/>
            <a:ext cx="749300" cy="46037"/>
          </a:xfrm>
          <a:prstGeom prst="rect">
            <a:avLst/>
          </a:prstGeom>
          <a:solidFill>
            <a:srgbClr val="F20000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7228" tIns="48614" rIns="97228" bIns="48614" anchor="ctr"/>
          <a:lstStyle/>
          <a:p>
            <a:pPr algn="ctr" defTabSz="972272">
              <a:defRPr/>
            </a:pPr>
            <a:endParaRPr lang="en-US" sz="192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893888" y="715963"/>
            <a:ext cx="94345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7228" tIns="48614" rIns="97228" bIns="48614" anchor="ctr"/>
          <a:lstStyle/>
          <a:p>
            <a:pPr algn="ctr" defTabSz="972272">
              <a:defRPr/>
            </a:pPr>
            <a:endParaRPr lang="en-US" sz="192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4650" y="33338"/>
            <a:ext cx="1633538" cy="84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63500" y="173038"/>
            <a:ext cx="1135063" cy="658812"/>
          </a:xfrm>
          <a:prstGeom prst="rect">
            <a:avLst/>
          </a:prstGeom>
          <a:solidFill>
            <a:schemeClr val="bg1"/>
          </a:solidFill>
        </p:spPr>
        <p:txBody>
          <a:bodyPr lIns="85584" tIns="42793" rIns="85584" bIns="42793">
            <a:spAutoFit/>
          </a:bodyPr>
          <a:lstStyle/>
          <a:p>
            <a:pPr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720" b="1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DDS</a:t>
            </a:r>
          </a:p>
        </p:txBody>
      </p:sp>
      <p:sp>
        <p:nvSpPr>
          <p:cNvPr id="7" name="Title Placeholder 21"/>
          <p:cNvSpPr>
            <a:spLocks noGrp="1"/>
          </p:cNvSpPr>
          <p:nvPr>
            <p:ph type="title"/>
          </p:nvPr>
        </p:nvSpPr>
        <p:spPr bwMode="auto">
          <a:xfrm>
            <a:off x="1091041" y="154960"/>
            <a:ext cx="10087219" cy="5319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81023" tIns="40512" rIns="81023" bIns="40512"/>
          <a:lstStyle>
            <a:lvl1pPr algn="l">
              <a:defRPr sz="2520" b="1" i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69376" y="838200"/>
            <a:ext cx="11584047" cy="457200"/>
          </a:xfrm>
          <a:prstGeom prst="rect">
            <a:avLst/>
          </a:prstGeom>
        </p:spPr>
        <p:txBody>
          <a:bodyPr lIns="81023" tIns="40512" rIns="81023" bIns="40512"/>
          <a:lstStyle>
            <a:lvl1pPr marL="0" indent="0">
              <a:buFont typeface="Arial" pitchFamily="34" charset="0"/>
              <a:buNone/>
              <a:defRPr sz="192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486137" indent="0">
              <a:buFont typeface="Arial" pitchFamily="34" charset="0"/>
              <a:buNone/>
              <a:defRPr sz="1800"/>
            </a:lvl2pPr>
            <a:lvl3pPr marL="972272" indent="0">
              <a:buFont typeface="Arial" pitchFamily="34" charset="0"/>
              <a:buNone/>
              <a:defRPr sz="1440"/>
            </a:lvl3pPr>
            <a:lvl4pPr marL="1458409" indent="0">
              <a:buFont typeface="Arial" pitchFamily="34" charset="0"/>
              <a:buNone/>
              <a:defRPr sz="1200"/>
            </a:lvl4pPr>
            <a:lvl5pPr marL="1944545" indent="0">
              <a:buFont typeface="Arial" pitchFamily="34" charset="0"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271783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940800" y="6584950"/>
            <a:ext cx="1230313" cy="1968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574" tIns="42786" rIns="85574" bIns="42786" anchor="ctr"/>
          <a:lstStyle/>
          <a:p>
            <a:pPr algn="ctr"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600" dirty="0">
                <a:solidFill>
                  <a:prstClr val="white"/>
                </a:solidFill>
              </a:rPr>
              <a:t>Strictly Confidential</a:t>
            </a:r>
            <a:endParaRPr lang="en-US" sz="600" dirty="0">
              <a:solidFill>
                <a:prstClr val="white"/>
              </a:solidFill>
            </a:endParaRPr>
          </a:p>
        </p:txBody>
      </p:sp>
      <p:sp>
        <p:nvSpPr>
          <p:cNvPr id="3" name="Rounded Rectangle 2"/>
          <p:cNvSpPr/>
          <p:nvPr userDrawn="1"/>
        </p:nvSpPr>
        <p:spPr>
          <a:xfrm>
            <a:off x="10272713" y="6596063"/>
            <a:ext cx="1016000" cy="18256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574" tIns="42786" rIns="85574" bIns="42786" anchor="ctr"/>
          <a:lstStyle/>
          <a:p>
            <a:pPr algn="ctr"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160" dirty="0">
              <a:solidFill>
                <a:prstClr val="white"/>
              </a:solidFill>
            </a:endParaRPr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0363200" y="6553200"/>
            <a:ext cx="825500" cy="254000"/>
          </a:xfrm>
          <a:prstGeom prst="rect">
            <a:avLst/>
          </a:prstGeom>
        </p:spPr>
        <p:txBody>
          <a:bodyPr lIns="85574" tIns="42786" rIns="85574" bIns="42786" anchor="ctr"/>
          <a:lstStyle>
            <a:lvl1pPr defTabSz="1096963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 defTabSz="1096963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 defTabSz="1096963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 defTabSz="1096963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 defTabSz="1096963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defTabSz="1096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defTabSz="1096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defTabSz="1096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defTabSz="10969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 eaLnBrk="1" hangingPunct="1">
              <a:defRPr/>
            </a:pPr>
            <a:fld id="{D34BEAD3-3A9A-4F16-A161-2B1940CD53B7}" type="slidenum">
              <a:rPr lang="id-ID" altLang="en-US" sz="1300" smtClean="0">
                <a:solidFill>
                  <a:srgbClr val="000000"/>
                </a:solidFill>
                <a:latin typeface="Calibri" panose="020F0502020204030204" pitchFamily="34" charset="0"/>
              </a:rPr>
              <a:pPr algn="ctr" eaLnBrk="1" hangingPunct="1">
                <a:defRPr/>
              </a:pPr>
              <a:t>‹#›</a:t>
            </a:fld>
            <a:endParaRPr lang="id-ID" altLang="en-US" sz="13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5750" y="496888"/>
            <a:ext cx="10001250" cy="158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8656050"/>
      </p:ext>
    </p:extLst>
  </p:cSld>
  <p:clrMapOvr>
    <a:masterClrMapping/>
  </p:clrMapOvr>
  <p:transition spd="slow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2875270"/>
      </p:ext>
    </p:extLst>
  </p:cSld>
  <p:clrMapOvr>
    <a:masterClrMapping/>
  </p:clrMapOvr>
  <p:transition spd="slow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3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8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26400" y="804675"/>
            <a:ext cx="11520000" cy="369332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190639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2138" y="225425"/>
            <a:ext cx="2432050" cy="1350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50" y="2655888"/>
            <a:ext cx="3697288" cy="369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25" y="6483350"/>
            <a:ext cx="311150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106488" y="6505575"/>
            <a:ext cx="16002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7F7F7F"/>
                </a:solidFill>
                <a:latin typeface="Calibri" panose="020F0502020204030204" pitchFamily="34" charset="0"/>
              </a:rPr>
              <a:t>ddbaccelerator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3311525" y="6492875"/>
            <a:ext cx="16970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7F7F7F"/>
                </a:solidFill>
                <a:latin typeface="Calibri" panose="020F0502020204030204" pitchFamily="34" charset="0"/>
              </a:rPr>
              <a:t>@ddbccelerator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048250" y="6475413"/>
            <a:ext cx="34575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7F7F7F"/>
                </a:solidFill>
                <a:latin typeface="Calibri" panose="020F0502020204030204" pitchFamily="34" charset="0"/>
              </a:rPr>
              <a:t>Email : ddbaccelerator@gmail.com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483600" y="6459538"/>
            <a:ext cx="25765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7F7F7F"/>
                </a:solidFill>
                <a:latin typeface="Calibri" panose="020F0502020204030204" pitchFamily="34" charset="0"/>
              </a:rPr>
              <a:t>www.ddbaccelerator.com</a:t>
            </a:r>
          </a:p>
        </p:txBody>
      </p:sp>
      <p:pic>
        <p:nvPicPr>
          <p:cNvPr id="11" name="Picture 2" descr="https://encrypted-tbn3.gstatic.com/images?q=tbn:ANd9GcQOQiBjbnuKZyOVNOUn3hhWBR4m-FbvfIUIo4urvA4r3shOT4bn1F-QKgWi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3550" y="6445250"/>
            <a:ext cx="3381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196850"/>
            <a:ext cx="952501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88172" y="2581629"/>
            <a:ext cx="7467600" cy="1470025"/>
          </a:xfrm>
        </p:spPr>
        <p:txBody>
          <a:bodyPr/>
          <a:lstStyle>
            <a:lvl1pPr algn="r">
              <a:defRPr sz="48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65412" y="4243767"/>
            <a:ext cx="6659880" cy="896103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5167675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52488" y="715963"/>
            <a:ext cx="91043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62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0" t="5952" b="25000"/>
          <a:stretch>
            <a:fillRect/>
          </a:stretch>
        </p:blipFill>
        <p:spPr bwMode="auto">
          <a:xfrm>
            <a:off x="10058400" y="73025"/>
            <a:ext cx="2032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852488" y="715963"/>
            <a:ext cx="91043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10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0" t="5952" b="25000"/>
          <a:stretch>
            <a:fillRect/>
          </a:stretch>
        </p:blipFill>
        <p:spPr bwMode="auto">
          <a:xfrm>
            <a:off x="10058400" y="73025"/>
            <a:ext cx="2032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21"/>
          <p:cNvSpPr>
            <a:spLocks noGrp="1"/>
          </p:cNvSpPr>
          <p:nvPr>
            <p:ph type="title"/>
          </p:nvPr>
        </p:nvSpPr>
        <p:spPr bwMode="auto">
          <a:xfrm>
            <a:off x="1432560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l">
              <a:defRPr sz="24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279525" y="1450595"/>
            <a:ext cx="9794875" cy="4297362"/>
          </a:xfrm>
        </p:spPr>
        <p:txBody>
          <a:bodyPr/>
          <a:lstStyle>
            <a:lvl1pPr>
              <a:defRPr sz="2400">
                <a:latin typeface="Trebuchet MS" panose="020B0603020202020204" pitchFamily="34" charset="0"/>
              </a:defRPr>
            </a:lvl1pPr>
            <a:lvl2pPr>
              <a:defRPr sz="2400">
                <a:latin typeface="Trebuchet MS" panose="020B0603020202020204" pitchFamily="34" charset="0"/>
              </a:defRPr>
            </a:lvl2pPr>
            <a:lvl3pPr>
              <a:defRPr sz="1800">
                <a:latin typeface="Trebuchet MS" panose="020B0603020202020204" pitchFamily="34" charset="0"/>
              </a:defRPr>
            </a:lvl3pPr>
            <a:lvl4pPr>
              <a:defRPr sz="1600">
                <a:latin typeface="Trebuchet MS" panose="020B0603020202020204" pitchFamily="34" charset="0"/>
              </a:defRPr>
            </a:lvl4pPr>
            <a:lvl5pPr>
              <a:defRPr sz="1600"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74217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852488" y="715963"/>
            <a:ext cx="91043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62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5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0" t="5952" b="25000"/>
          <a:stretch>
            <a:fillRect/>
          </a:stretch>
        </p:blipFill>
        <p:spPr bwMode="auto">
          <a:xfrm>
            <a:off x="10058400" y="73025"/>
            <a:ext cx="2032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852488" y="715963"/>
            <a:ext cx="9104312" cy="46037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8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0" t="5952" b="25000"/>
          <a:stretch>
            <a:fillRect/>
          </a:stretch>
        </p:blipFill>
        <p:spPr bwMode="auto">
          <a:xfrm>
            <a:off x="10058400" y="73025"/>
            <a:ext cx="2032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63" y="133350"/>
            <a:ext cx="1020762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6526213"/>
            <a:ext cx="3397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930275" y="6526213"/>
            <a:ext cx="1600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ddbaccelerator</a:t>
            </a:r>
          </a:p>
        </p:txBody>
      </p:sp>
      <p:pic>
        <p:nvPicPr>
          <p:cNvPr id="15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23" t="6892" r="18123" b="7719"/>
          <a:stretch>
            <a:fillRect/>
          </a:stretch>
        </p:blipFill>
        <p:spPr bwMode="auto">
          <a:xfrm>
            <a:off x="2668588" y="6538913"/>
            <a:ext cx="338137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>
            <a:spLocks noChangeArrowheads="1"/>
          </p:cNvSpPr>
          <p:nvPr userDrawn="1"/>
        </p:nvSpPr>
        <p:spPr bwMode="auto">
          <a:xfrm>
            <a:off x="3097213" y="6538913"/>
            <a:ext cx="16970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@ddbccelerator</a:t>
            </a:r>
          </a:p>
        </p:txBody>
      </p: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4833938" y="6521450"/>
            <a:ext cx="25908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Email : ddb@telkom.co.id</a:t>
            </a: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8270875" y="6503988"/>
            <a:ext cx="257651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www.ddbaccelerator.com</a:t>
            </a:r>
          </a:p>
        </p:txBody>
      </p:sp>
      <p:sp>
        <p:nvSpPr>
          <p:cNvPr id="9" name="Title Placeholder 21"/>
          <p:cNvSpPr>
            <a:spLocks noGrp="1"/>
          </p:cNvSpPr>
          <p:nvPr>
            <p:ph type="title"/>
          </p:nvPr>
        </p:nvSpPr>
        <p:spPr bwMode="auto">
          <a:xfrm>
            <a:off x="1432560" y="112331"/>
            <a:ext cx="8524255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l">
              <a:defRPr sz="24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812800" y="6584776"/>
            <a:ext cx="10566400" cy="273224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itchFamily="34" charset="0"/>
              <a:buNone/>
              <a:defRPr sz="969" b="0" baseline="0">
                <a:latin typeface="+mj-lt"/>
                <a:cs typeface="Arial" pitchFamily="34" charset="0"/>
              </a:defRPr>
            </a:lvl1pPr>
            <a:lvl2pPr marL="422041" indent="0">
              <a:buFont typeface="Arial" pitchFamily="34" charset="0"/>
              <a:buNone/>
              <a:defRPr sz="1477"/>
            </a:lvl2pPr>
            <a:lvl3pPr marL="844083" indent="0">
              <a:buFont typeface="Arial" pitchFamily="34" charset="0"/>
              <a:buNone/>
              <a:defRPr sz="1292"/>
            </a:lvl3pPr>
            <a:lvl4pPr marL="1266124" indent="0">
              <a:buFont typeface="Arial" pitchFamily="34" charset="0"/>
              <a:buNone/>
              <a:defRPr sz="1108"/>
            </a:lvl4pPr>
            <a:lvl5pPr marL="1688165" indent="0">
              <a:buFont typeface="Arial" pitchFamily="34" charset="0"/>
              <a:buNone/>
              <a:defRPr sz="110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74040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0" t="5952" b="25000"/>
          <a:stretch>
            <a:fillRect/>
          </a:stretch>
        </p:blipFill>
        <p:spPr bwMode="auto">
          <a:xfrm>
            <a:off x="10058400" y="73025"/>
            <a:ext cx="2032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0" t="5952" b="25000"/>
          <a:stretch>
            <a:fillRect/>
          </a:stretch>
        </p:blipFill>
        <p:spPr bwMode="auto">
          <a:xfrm>
            <a:off x="10058400" y="73025"/>
            <a:ext cx="2032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63" y="133350"/>
            <a:ext cx="1020762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6526213"/>
            <a:ext cx="3397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930275" y="6526213"/>
            <a:ext cx="1600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ddbaccelerator</a:t>
            </a:r>
          </a:p>
        </p:txBody>
      </p:sp>
      <p:pic>
        <p:nvPicPr>
          <p:cNvPr id="10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23" t="6892" r="18123" b="7719"/>
          <a:stretch>
            <a:fillRect/>
          </a:stretch>
        </p:blipFill>
        <p:spPr bwMode="auto">
          <a:xfrm>
            <a:off x="2668588" y="6538913"/>
            <a:ext cx="338137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3097213" y="6538913"/>
            <a:ext cx="16970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@ddbccelerator</a:t>
            </a: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4833938" y="6521450"/>
            <a:ext cx="260826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Email : ddb@Telkom.co.id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8270875" y="6503988"/>
            <a:ext cx="257651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www.ddbaccelerator.com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812800" y="6584776"/>
            <a:ext cx="10566400" cy="273224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itchFamily="34" charset="0"/>
              <a:buNone/>
              <a:defRPr sz="969" b="0" baseline="0">
                <a:latin typeface="+mj-lt"/>
                <a:cs typeface="Arial" pitchFamily="34" charset="0"/>
              </a:defRPr>
            </a:lvl1pPr>
            <a:lvl2pPr marL="422041" indent="0">
              <a:buFont typeface="Arial" pitchFamily="34" charset="0"/>
              <a:buNone/>
              <a:defRPr sz="1477"/>
            </a:lvl2pPr>
            <a:lvl3pPr marL="844083" indent="0">
              <a:buFont typeface="Arial" pitchFamily="34" charset="0"/>
              <a:buNone/>
              <a:defRPr sz="1292"/>
            </a:lvl3pPr>
            <a:lvl4pPr marL="1266124" indent="0">
              <a:buFont typeface="Arial" pitchFamily="34" charset="0"/>
              <a:buNone/>
              <a:defRPr sz="1108"/>
            </a:lvl4pPr>
            <a:lvl5pPr marL="1688165" indent="0">
              <a:buFont typeface="Arial" pitchFamily="34" charset="0"/>
              <a:buNone/>
              <a:defRPr sz="110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89266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274888" y="4524375"/>
            <a:ext cx="9104312" cy="46038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62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5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0" t="5952" b="25000"/>
          <a:stretch>
            <a:fillRect/>
          </a:stretch>
        </p:blipFill>
        <p:spPr bwMode="auto">
          <a:xfrm>
            <a:off x="10058400" y="73025"/>
            <a:ext cx="2032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0" t="5952" b="25000"/>
          <a:stretch>
            <a:fillRect/>
          </a:stretch>
        </p:blipFill>
        <p:spPr bwMode="auto">
          <a:xfrm>
            <a:off x="10058400" y="73025"/>
            <a:ext cx="20320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19863"/>
            <a:ext cx="11525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3" y="2833688"/>
            <a:ext cx="1736725" cy="173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6526213"/>
            <a:ext cx="3397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930275" y="6526213"/>
            <a:ext cx="1600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ddbaccelerator</a:t>
            </a:r>
          </a:p>
        </p:txBody>
      </p:sp>
      <p:pic>
        <p:nvPicPr>
          <p:cNvPr id="14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23" t="6892" r="18123" b="7719"/>
          <a:stretch>
            <a:fillRect/>
          </a:stretch>
        </p:blipFill>
        <p:spPr bwMode="auto">
          <a:xfrm>
            <a:off x="2668588" y="6538913"/>
            <a:ext cx="338137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>
            <a:spLocks noChangeArrowheads="1"/>
          </p:cNvSpPr>
          <p:nvPr userDrawn="1"/>
        </p:nvSpPr>
        <p:spPr bwMode="auto">
          <a:xfrm>
            <a:off x="3097213" y="6538913"/>
            <a:ext cx="16970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@ddbccelerator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auto">
          <a:xfrm>
            <a:off x="4833938" y="6521450"/>
            <a:ext cx="260826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Email : ddb@Telkom.co.id</a:t>
            </a:r>
          </a:p>
        </p:txBody>
      </p: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8270875" y="6503988"/>
            <a:ext cx="257651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</a:rPr>
              <a:t>www.ddbaccelerator.com</a:t>
            </a:r>
          </a:p>
        </p:txBody>
      </p:sp>
      <p:sp>
        <p:nvSpPr>
          <p:cNvPr id="9" name="Title Placeholder 21"/>
          <p:cNvSpPr>
            <a:spLocks noGrp="1"/>
          </p:cNvSpPr>
          <p:nvPr>
            <p:ph type="title"/>
          </p:nvPr>
        </p:nvSpPr>
        <p:spPr bwMode="auto">
          <a:xfrm>
            <a:off x="2275420" y="3747189"/>
            <a:ext cx="9043844" cy="5319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algn="r">
              <a:defRPr sz="2800" b="1" i="0" baseline="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812800" y="6584776"/>
            <a:ext cx="10566400" cy="273224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itchFamily="34" charset="0"/>
              <a:buNone/>
              <a:defRPr sz="969" b="0" baseline="0">
                <a:latin typeface="+mj-lt"/>
                <a:cs typeface="Arial" pitchFamily="34" charset="0"/>
              </a:defRPr>
            </a:lvl1pPr>
            <a:lvl2pPr marL="422041" indent="0">
              <a:buFont typeface="Arial" pitchFamily="34" charset="0"/>
              <a:buNone/>
              <a:defRPr sz="1477"/>
            </a:lvl2pPr>
            <a:lvl3pPr marL="844083" indent="0">
              <a:buFont typeface="Arial" pitchFamily="34" charset="0"/>
              <a:buNone/>
              <a:defRPr sz="1292"/>
            </a:lvl3pPr>
            <a:lvl4pPr marL="1266124" indent="0">
              <a:buFont typeface="Arial" pitchFamily="34" charset="0"/>
              <a:buNone/>
              <a:defRPr sz="1108"/>
            </a:lvl4pPr>
            <a:lvl5pPr marL="1688165" indent="0">
              <a:buFont typeface="Arial" pitchFamily="34" charset="0"/>
              <a:buNone/>
              <a:defRPr sz="110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023317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1485"/>
            <a:ext cx="10363200" cy="14689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306AA1-6205-4E2B-A9B9-FE34BE1F4584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74B390-7D1B-45A2-8541-D01F9339E413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23342000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Blank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071407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/>
          <p:nvPr userDrawn="1"/>
        </p:nvSpPr>
        <p:spPr>
          <a:xfrm flipH="1">
            <a:off x="4511675" y="53975"/>
            <a:ext cx="60325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8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572000" y="-174625"/>
            <a:ext cx="6197600" cy="1143000"/>
          </a:xfrm>
          <a:prstGeom prst="rect">
            <a:avLst/>
          </a:prstGeom>
        </p:spPr>
        <p:txBody>
          <a:bodyPr lIns="121920" tIns="60960" rIns="121920" bIns="6096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219188" fontAlgn="auto">
              <a:spcAft>
                <a:spcPts val="0"/>
              </a:spcAft>
              <a:defRPr/>
            </a:pPr>
            <a:endParaRPr lang="en-US" sz="1466" dirty="0">
              <a:solidFill>
                <a:prstClr val="white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17601" y="-175211"/>
            <a:ext cx="3102472" cy="1143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0972800" y="6356350"/>
            <a:ext cx="609600" cy="501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77B16D-86B4-4E06-AF29-C0B2B5E3FF09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322665580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2666">
                <a:solidFill>
                  <a:schemeClr val="tx1">
                    <a:tint val="75000"/>
                  </a:schemeClr>
                </a:solidFill>
              </a:defRPr>
            </a:lvl1pPr>
            <a:lvl2pPr marL="609594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88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3pPr>
            <a:lvl4pPr marL="182878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76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7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1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751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DD357-9949-4355-B767-264FB870DA6D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3F034-2C28-4675-BADA-E379ED106BF9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92097755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6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6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1C6EB8-646D-4C54-A7CF-1CB53C5CA6CF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D15DA5-5B67-4298-84C4-8BCF08254765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396702243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4584"/>
            <a:ext cx="5386918" cy="641350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94" indent="0">
              <a:buNone/>
              <a:defRPr sz="2666" b="1"/>
            </a:lvl2pPr>
            <a:lvl3pPr marL="1219188" indent="0">
              <a:buNone/>
              <a:defRPr sz="2400" b="1"/>
            </a:lvl3pPr>
            <a:lvl4pPr marL="1828782" indent="0">
              <a:buNone/>
              <a:defRPr sz="2134" b="1"/>
            </a:lvl4pPr>
            <a:lvl5pPr marL="2438376" indent="0">
              <a:buNone/>
              <a:defRPr sz="2134" b="1"/>
            </a:lvl5pPr>
            <a:lvl6pPr marL="3047970" indent="0">
              <a:buNone/>
              <a:defRPr sz="2134" b="1"/>
            </a:lvl6pPr>
            <a:lvl7pPr marL="3657564" indent="0">
              <a:buNone/>
              <a:defRPr sz="2134" b="1"/>
            </a:lvl7pPr>
            <a:lvl8pPr marL="4267157" indent="0">
              <a:buNone/>
              <a:defRPr sz="2134" b="1"/>
            </a:lvl8pPr>
            <a:lvl9pPr marL="4876751" indent="0">
              <a:buNone/>
              <a:defRPr sz="213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8" cy="3949700"/>
          </a:xfrm>
        </p:spPr>
        <p:txBody>
          <a:bodyPr/>
          <a:lstStyle>
            <a:lvl1pPr>
              <a:defRPr sz="3200"/>
            </a:lvl1pPr>
            <a:lvl2pPr>
              <a:defRPr sz="2666"/>
            </a:lvl2pPr>
            <a:lvl3pPr>
              <a:defRPr sz="2400"/>
            </a:lvl3pPr>
            <a:lvl4pPr>
              <a:defRPr sz="2134"/>
            </a:lvl4pPr>
            <a:lvl5pPr>
              <a:defRPr sz="2134"/>
            </a:lvl5pPr>
            <a:lvl6pPr>
              <a:defRPr sz="2134"/>
            </a:lvl6pPr>
            <a:lvl7pPr>
              <a:defRPr sz="2134"/>
            </a:lvl7pPr>
            <a:lvl8pPr>
              <a:defRPr sz="2134"/>
            </a:lvl8pPr>
            <a:lvl9pPr>
              <a:defRPr sz="213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4584"/>
            <a:ext cx="5389033" cy="641350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94" indent="0">
              <a:buNone/>
              <a:defRPr sz="2666" b="1"/>
            </a:lvl2pPr>
            <a:lvl3pPr marL="1219188" indent="0">
              <a:buNone/>
              <a:defRPr sz="2400" b="1"/>
            </a:lvl3pPr>
            <a:lvl4pPr marL="1828782" indent="0">
              <a:buNone/>
              <a:defRPr sz="2134" b="1"/>
            </a:lvl4pPr>
            <a:lvl5pPr marL="2438376" indent="0">
              <a:buNone/>
              <a:defRPr sz="2134" b="1"/>
            </a:lvl5pPr>
            <a:lvl6pPr marL="3047970" indent="0">
              <a:buNone/>
              <a:defRPr sz="2134" b="1"/>
            </a:lvl6pPr>
            <a:lvl7pPr marL="3657564" indent="0">
              <a:buNone/>
              <a:defRPr sz="2134" b="1"/>
            </a:lvl7pPr>
            <a:lvl8pPr marL="4267157" indent="0">
              <a:buNone/>
              <a:defRPr sz="2134" b="1"/>
            </a:lvl8pPr>
            <a:lvl9pPr marL="4876751" indent="0">
              <a:buNone/>
              <a:defRPr sz="213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5934"/>
            <a:ext cx="5389033" cy="3949700"/>
          </a:xfrm>
        </p:spPr>
        <p:txBody>
          <a:bodyPr/>
          <a:lstStyle>
            <a:lvl1pPr>
              <a:defRPr sz="3200"/>
            </a:lvl1pPr>
            <a:lvl2pPr>
              <a:defRPr sz="2666"/>
            </a:lvl2pPr>
            <a:lvl3pPr>
              <a:defRPr sz="2400"/>
            </a:lvl3pPr>
            <a:lvl4pPr>
              <a:defRPr sz="2134"/>
            </a:lvl4pPr>
            <a:lvl5pPr>
              <a:defRPr sz="2134"/>
            </a:lvl5pPr>
            <a:lvl6pPr>
              <a:defRPr sz="2134"/>
            </a:lvl6pPr>
            <a:lvl7pPr>
              <a:defRPr sz="2134"/>
            </a:lvl7pPr>
            <a:lvl8pPr>
              <a:defRPr sz="2134"/>
            </a:lvl8pPr>
            <a:lvl9pPr>
              <a:defRPr sz="213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CCA5E6-0245-47DF-A221-1675221E979D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58C5E-3FC1-4659-9E02-1F377A27C69A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101164305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904916-9DB0-4950-8631-F6CA0EDDD28A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6FF0DC-AA7D-4D07-980D-6BE27AD3EC60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14396993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E98353-496A-44D5-86B3-02B354F49A3C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0B7D8D-0D05-4F84-9E35-61C77AD2879A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8047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2"/>
            <a:ext cx="4011084" cy="1162049"/>
          </a:xfrm>
        </p:spPr>
        <p:txBody>
          <a:bodyPr anchor="b"/>
          <a:lstStyle>
            <a:lvl1pPr algn="l">
              <a:defRPr sz="266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2"/>
            <a:ext cx="6815666" cy="5852582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6"/>
            </a:lvl4pPr>
            <a:lvl5pPr>
              <a:defRPr sz="2666"/>
            </a:lvl5pPr>
            <a:lvl6pPr>
              <a:defRPr sz="2666"/>
            </a:lvl6pPr>
            <a:lvl7pPr>
              <a:defRPr sz="2666"/>
            </a:lvl7pPr>
            <a:lvl8pPr>
              <a:defRPr sz="2666"/>
            </a:lvl8pPr>
            <a:lvl9pPr>
              <a:defRPr sz="26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0"/>
            <a:ext cx="4011084" cy="4690534"/>
          </a:xfrm>
        </p:spPr>
        <p:txBody>
          <a:bodyPr/>
          <a:lstStyle>
            <a:lvl1pPr marL="0" indent="0">
              <a:buNone/>
              <a:defRPr sz="1867"/>
            </a:lvl1pPr>
            <a:lvl2pPr marL="609594" indent="0">
              <a:buNone/>
              <a:defRPr sz="1600"/>
            </a:lvl2pPr>
            <a:lvl3pPr marL="1219188" indent="0">
              <a:buNone/>
              <a:defRPr sz="1333"/>
            </a:lvl3pPr>
            <a:lvl4pPr marL="1828782" indent="0">
              <a:buNone/>
              <a:defRPr sz="1200"/>
            </a:lvl4pPr>
            <a:lvl5pPr marL="2438376" indent="0">
              <a:buNone/>
              <a:defRPr sz="1200"/>
            </a:lvl5pPr>
            <a:lvl6pPr marL="3047970" indent="0">
              <a:buNone/>
              <a:defRPr sz="1200"/>
            </a:lvl6pPr>
            <a:lvl7pPr marL="3657564" indent="0">
              <a:buNone/>
              <a:defRPr sz="1200"/>
            </a:lvl7pPr>
            <a:lvl8pPr marL="4267157" indent="0">
              <a:buNone/>
              <a:defRPr sz="1200"/>
            </a:lvl8pPr>
            <a:lvl9pPr marL="4876751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B21DF2-9FFC-4C27-AE98-3478CF7B59A5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7E7BC7-E83D-40FA-9084-5CF2EE584DCF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66432123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7266"/>
          </a:xfrm>
        </p:spPr>
        <p:txBody>
          <a:bodyPr anchor="b"/>
          <a:lstStyle>
            <a:lvl1pPr algn="l">
              <a:defRPr sz="266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3834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9594" indent="0">
              <a:buNone/>
              <a:defRPr sz="3733"/>
            </a:lvl2pPr>
            <a:lvl3pPr marL="1219188" indent="0">
              <a:buNone/>
              <a:defRPr sz="3200"/>
            </a:lvl3pPr>
            <a:lvl4pPr marL="1828782" indent="0">
              <a:buNone/>
              <a:defRPr sz="2666"/>
            </a:lvl4pPr>
            <a:lvl5pPr marL="2438376" indent="0">
              <a:buNone/>
              <a:defRPr sz="2666"/>
            </a:lvl5pPr>
            <a:lvl6pPr marL="3047970" indent="0">
              <a:buNone/>
              <a:defRPr sz="2666"/>
            </a:lvl6pPr>
            <a:lvl7pPr marL="3657564" indent="0">
              <a:buNone/>
              <a:defRPr sz="2666"/>
            </a:lvl7pPr>
            <a:lvl8pPr marL="4267157" indent="0">
              <a:buNone/>
              <a:defRPr sz="2666"/>
            </a:lvl8pPr>
            <a:lvl9pPr marL="4876751" indent="0">
              <a:buNone/>
              <a:defRPr sz="2666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866"/>
            <a:ext cx="7315200" cy="804334"/>
          </a:xfrm>
        </p:spPr>
        <p:txBody>
          <a:bodyPr/>
          <a:lstStyle>
            <a:lvl1pPr marL="0" indent="0">
              <a:buNone/>
              <a:defRPr sz="1867"/>
            </a:lvl1pPr>
            <a:lvl2pPr marL="609594" indent="0">
              <a:buNone/>
              <a:defRPr sz="1600"/>
            </a:lvl2pPr>
            <a:lvl3pPr marL="1219188" indent="0">
              <a:buNone/>
              <a:defRPr sz="1333"/>
            </a:lvl3pPr>
            <a:lvl4pPr marL="1828782" indent="0">
              <a:buNone/>
              <a:defRPr sz="1200"/>
            </a:lvl4pPr>
            <a:lvl5pPr marL="2438376" indent="0">
              <a:buNone/>
              <a:defRPr sz="1200"/>
            </a:lvl5pPr>
            <a:lvl6pPr marL="3047970" indent="0">
              <a:buNone/>
              <a:defRPr sz="1200"/>
            </a:lvl6pPr>
            <a:lvl7pPr marL="3657564" indent="0">
              <a:buNone/>
              <a:defRPr sz="1200"/>
            </a:lvl7pPr>
            <a:lvl8pPr marL="4267157" indent="0">
              <a:buNone/>
              <a:defRPr sz="1200"/>
            </a:lvl8pPr>
            <a:lvl9pPr marL="4876751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3F47E6-34AA-4B65-9670-E9339A7ED4DF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2EF478-E79C-4554-B3E0-58D99BD447FF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221048956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1B0BDF-56AD-46CD-83B7-9FC50D942C5E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31D325-B808-4439-ABB0-72319BAF836C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214815640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5168"/>
            <a:ext cx="2743200" cy="585046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5168"/>
            <a:ext cx="8026400" cy="58504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1A0282-2790-46B5-A8DB-3555E34A5039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7B113B-66A1-492E-AD11-7FC0134631E8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  <p:extLst>
      <p:ext uri="{BB962C8B-B14F-4D97-AF65-F5344CB8AC3E}">
        <p14:creationId xmlns:p14="http://schemas.microsoft.com/office/powerpoint/2010/main" val="42498289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40.xml"/><Relationship Id="rId34" Type="http://schemas.openxmlformats.org/officeDocument/2006/relationships/slideLayout" Target="../slideLayouts/slideLayout53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36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slideLayout" Target="../slideLayouts/slideLayout54.xml"/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5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909" r:id="rId1"/>
    <p:sldLayoutId id="2147484910" r:id="rId2"/>
    <p:sldLayoutId id="2147484911" r:id="rId3"/>
    <p:sldLayoutId id="2147484869" r:id="rId4"/>
    <p:sldLayoutId id="2147484912" r:id="rId5"/>
    <p:sldLayoutId id="2147484913" r:id="rId6"/>
    <p:sldLayoutId id="2147484870" r:id="rId7"/>
    <p:sldLayoutId id="2147484914" r:id="rId8"/>
    <p:sldLayoutId id="2147484871" r:id="rId9"/>
    <p:sldLayoutId id="2147485009" r:id="rId10"/>
  </p:sldLayoutIdLst>
  <p:hf hdr="0" ftr="0" dt="0"/>
  <p:txStyles>
    <p:titleStyle>
      <a:lvl1pPr algn="ctr" defTabSz="1217613" rtl="0" eaLnBrk="0" fontAlgn="base" hangingPunct="0">
        <a:spcBef>
          <a:spcPct val="0"/>
        </a:spcBef>
        <a:spcAft>
          <a:spcPct val="0"/>
        </a:spcAft>
        <a:defRPr sz="5800" kern="1200">
          <a:solidFill>
            <a:schemeClr val="tx1"/>
          </a:solidFill>
          <a:latin typeface="+mj-lt"/>
          <a:ea typeface="FontAwesome"/>
          <a:cs typeface="+mj-cs"/>
        </a:defRPr>
      </a:lvl1pPr>
      <a:lvl2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2pPr>
      <a:lvl3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3pPr>
      <a:lvl4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4pPr>
      <a:lvl5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5pPr>
      <a:lvl6pPr marL="4572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6pPr>
      <a:lvl7pPr marL="9144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7pPr>
      <a:lvl8pPr marL="13716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8pPr>
      <a:lvl9pPr marL="18288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9pPr>
    </p:titleStyle>
    <p:bodyStyle>
      <a:lvl1pPr marL="455613" indent="-4556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FontAwesome"/>
          <a:cs typeface="+mn-cs"/>
        </a:defRPr>
      </a:lvl1pPr>
      <a:lvl2pPr marL="989013" indent="-3794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+mn-lt"/>
          <a:ea typeface="FontAwesome"/>
          <a:cs typeface="+mn-cs"/>
        </a:defRPr>
      </a:lvl2pPr>
      <a:lvl3pPr marL="15224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FontAwesome"/>
          <a:cs typeface="+mn-cs"/>
        </a:defRPr>
      </a:lvl3pPr>
      <a:lvl4pPr marL="21320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00" kern="1200">
          <a:solidFill>
            <a:schemeClr val="tx1"/>
          </a:solidFill>
          <a:latin typeface="+mn-lt"/>
          <a:ea typeface="FontAwesome"/>
          <a:cs typeface="+mn-cs"/>
        </a:defRPr>
      </a:lvl4pPr>
      <a:lvl5pPr marL="27416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00" kern="1200">
          <a:solidFill>
            <a:schemeClr val="tx1"/>
          </a:solidFill>
          <a:latin typeface="+mn-lt"/>
          <a:ea typeface="FontAwesome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915" r:id="rId1"/>
    <p:sldLayoutId id="2147484916" r:id="rId2"/>
    <p:sldLayoutId id="2147484917" r:id="rId3"/>
    <p:sldLayoutId id="2147484872" r:id="rId4"/>
    <p:sldLayoutId id="2147484918" r:id="rId5"/>
    <p:sldLayoutId id="2147484919" r:id="rId6"/>
    <p:sldLayoutId id="2147484873" r:id="rId7"/>
    <p:sldLayoutId id="2147484920" r:id="rId8"/>
    <p:sldLayoutId id="2147484874" r:id="rId9"/>
  </p:sldLayoutIdLst>
  <p:hf hdr="0" ftr="0" dt="0"/>
  <p:txStyles>
    <p:titleStyle>
      <a:lvl1pPr algn="ctr" defTabSz="1217613" rtl="0" eaLnBrk="0" fontAlgn="base" hangingPunct="0">
        <a:spcBef>
          <a:spcPct val="0"/>
        </a:spcBef>
        <a:spcAft>
          <a:spcPct val="0"/>
        </a:spcAft>
        <a:defRPr sz="5800" kern="1200">
          <a:solidFill>
            <a:schemeClr val="tx1"/>
          </a:solidFill>
          <a:latin typeface="+mj-lt"/>
          <a:ea typeface="FontAwesome"/>
          <a:cs typeface="+mj-cs"/>
        </a:defRPr>
      </a:lvl1pPr>
      <a:lvl2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2pPr>
      <a:lvl3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3pPr>
      <a:lvl4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4pPr>
      <a:lvl5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5pPr>
      <a:lvl6pPr marL="4572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6pPr>
      <a:lvl7pPr marL="9144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7pPr>
      <a:lvl8pPr marL="13716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8pPr>
      <a:lvl9pPr marL="18288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9pPr>
    </p:titleStyle>
    <p:bodyStyle>
      <a:lvl1pPr marL="455613" indent="-4556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FontAwesome"/>
          <a:cs typeface="+mn-cs"/>
        </a:defRPr>
      </a:lvl1pPr>
      <a:lvl2pPr marL="989013" indent="-3794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+mn-lt"/>
          <a:ea typeface="FontAwesome"/>
          <a:cs typeface="+mn-cs"/>
        </a:defRPr>
      </a:lvl2pPr>
      <a:lvl3pPr marL="15224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FontAwesome"/>
          <a:cs typeface="+mn-cs"/>
        </a:defRPr>
      </a:lvl3pPr>
      <a:lvl4pPr marL="21320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00" kern="1200">
          <a:solidFill>
            <a:schemeClr val="tx1"/>
          </a:solidFill>
          <a:latin typeface="+mn-lt"/>
          <a:ea typeface="FontAwesome"/>
          <a:cs typeface="+mn-cs"/>
        </a:defRPr>
      </a:lvl4pPr>
      <a:lvl5pPr marL="27416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00" kern="1200">
          <a:solidFill>
            <a:schemeClr val="tx1"/>
          </a:solidFill>
          <a:latin typeface="+mn-lt"/>
          <a:ea typeface="FontAwesome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921" r:id="rId1"/>
    <p:sldLayoutId id="2147484922" r:id="rId2"/>
    <p:sldLayoutId id="2147484923" r:id="rId3"/>
    <p:sldLayoutId id="2147484924" r:id="rId4"/>
    <p:sldLayoutId id="2147484925" r:id="rId5"/>
    <p:sldLayoutId id="2147484926" r:id="rId6"/>
    <p:sldLayoutId id="2147484927" r:id="rId7"/>
    <p:sldLayoutId id="2147484928" r:id="rId8"/>
    <p:sldLayoutId id="2147484929" r:id="rId9"/>
    <p:sldLayoutId id="2147484930" r:id="rId10"/>
    <p:sldLayoutId id="2147484931" r:id="rId11"/>
    <p:sldLayoutId id="2147484932" r:id="rId12"/>
    <p:sldLayoutId id="2147484933" r:id="rId13"/>
    <p:sldLayoutId id="2147484875" r:id="rId14"/>
    <p:sldLayoutId id="2147484934" r:id="rId15"/>
    <p:sldLayoutId id="2147484935" r:id="rId16"/>
    <p:sldLayoutId id="2147484936" r:id="rId17"/>
    <p:sldLayoutId id="2147484937" r:id="rId18"/>
    <p:sldLayoutId id="2147484938" r:id="rId19"/>
    <p:sldLayoutId id="2147484939" r:id="rId20"/>
    <p:sldLayoutId id="2147484940" r:id="rId21"/>
    <p:sldLayoutId id="2147484941" r:id="rId22"/>
    <p:sldLayoutId id="2147484942" r:id="rId23"/>
    <p:sldLayoutId id="2147484943" r:id="rId24"/>
    <p:sldLayoutId id="2147484944" r:id="rId25"/>
    <p:sldLayoutId id="2147484945" r:id="rId26"/>
    <p:sldLayoutId id="2147484946" r:id="rId27"/>
    <p:sldLayoutId id="2147484947" r:id="rId28"/>
    <p:sldLayoutId id="2147484948" r:id="rId29"/>
    <p:sldLayoutId id="2147484949" r:id="rId30"/>
    <p:sldLayoutId id="2147484950" r:id="rId31"/>
    <p:sldLayoutId id="2147484951" r:id="rId32"/>
    <p:sldLayoutId id="2147484952" r:id="rId33"/>
    <p:sldLayoutId id="2147484953" r:id="rId34"/>
    <p:sldLayoutId id="2147484954" r:id="rId35"/>
    <p:sldLayoutId id="2147484955" r:id="rId36"/>
  </p:sldLayoutIdLst>
  <p:transition>
    <p:fade/>
  </p:transition>
  <p:txStyles>
    <p:titleStyle>
      <a:lvl1pPr algn="ctr" defTabSz="1038225" rtl="0" eaLnBrk="0" fontAlgn="base" hangingPunct="0">
        <a:spcBef>
          <a:spcPct val="0"/>
        </a:spcBef>
        <a:spcAft>
          <a:spcPct val="0"/>
        </a:spcAft>
        <a:defRPr sz="4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1038225" rtl="0" eaLnBrk="0" fontAlgn="base" hangingPunct="0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panose="020F0502020204030204" pitchFamily="34" charset="0"/>
        </a:defRPr>
      </a:lvl2pPr>
      <a:lvl3pPr algn="ctr" defTabSz="1038225" rtl="0" eaLnBrk="0" fontAlgn="base" hangingPunct="0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panose="020F0502020204030204" pitchFamily="34" charset="0"/>
        </a:defRPr>
      </a:lvl3pPr>
      <a:lvl4pPr algn="ctr" defTabSz="1038225" rtl="0" eaLnBrk="0" fontAlgn="base" hangingPunct="0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panose="020F0502020204030204" pitchFamily="34" charset="0"/>
        </a:defRPr>
      </a:lvl4pPr>
      <a:lvl5pPr algn="ctr" defTabSz="1038225" rtl="0" eaLnBrk="0" fontAlgn="base" hangingPunct="0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1038225" rtl="0" fontAlgn="base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1038225" rtl="0" fontAlgn="base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1038225" rtl="0" fontAlgn="base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1038225" rtl="0" fontAlgn="base">
        <a:spcBef>
          <a:spcPct val="0"/>
        </a:spcBef>
        <a:spcAft>
          <a:spcPct val="0"/>
        </a:spcAft>
        <a:defRPr sz="49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88938" indent="-388938" algn="l" defTabSz="10382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2963" indent="-323850" algn="l" defTabSz="10382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296988" indent="-258763" algn="l" defTabSz="10382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17688" indent="-258763" algn="l" defTabSz="10382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36800" indent="-258763" algn="l" defTabSz="10382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56756" indent="-259705" algn="l" defTabSz="1038821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6166" indent="-259705" algn="l" defTabSz="1038821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5577" indent="-259705" algn="l" defTabSz="1038821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14987" indent="-259705" algn="l" defTabSz="1038821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882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10" algn="l" defTabSz="103882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821" algn="l" defTabSz="103882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231" algn="l" defTabSz="103882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640" algn="l" defTabSz="103882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051" algn="l" defTabSz="103882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461" algn="l" defTabSz="103882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872" algn="l" defTabSz="103882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282" algn="l" defTabSz="1038821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68313" y="228600"/>
            <a:ext cx="93789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4" tIns="45718" rIns="91434" bIns="457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371600"/>
            <a:ext cx="11255375" cy="495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30025" y="6492875"/>
            <a:ext cx="561975" cy="365125"/>
          </a:xfrm>
          <a:prstGeom prst="rect">
            <a:avLst/>
          </a:prstGeom>
        </p:spPr>
        <p:txBody>
          <a:bodyPr vert="horz" wrap="square" lIns="91434" tIns="45718" rIns="91434" bIns="4571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1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32789FAD-4B9B-4FB9-8C5B-C87F67CF4A1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1035" name="TextBox 8"/>
          <p:cNvSpPr txBox="1">
            <a:spLocks noChangeArrowheads="1"/>
          </p:cNvSpPr>
          <p:nvPr/>
        </p:nvSpPr>
        <p:spPr bwMode="auto">
          <a:xfrm>
            <a:off x="2438400" y="6324600"/>
            <a:ext cx="2251075" cy="234950"/>
          </a:xfrm>
          <a:prstGeom prst="rect">
            <a:avLst/>
          </a:prstGeom>
          <a:noFill/>
          <a:ln>
            <a:noFill/>
          </a:ln>
          <a:extLst/>
        </p:spPr>
        <p:txBody>
          <a:bodyPr lIns="91434" tIns="45718" rIns="91434" bIns="4571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900" b="1">
              <a:solidFill>
                <a:prstClr val="white"/>
              </a:solidFill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56" r:id="rId1"/>
    <p:sldLayoutId id="2147484957" r:id="rId2"/>
    <p:sldLayoutId id="2147484958" r:id="rId3"/>
    <p:sldLayoutId id="2147484959" r:id="rId4"/>
    <p:sldLayoutId id="2147484960" r:id="rId5"/>
    <p:sldLayoutId id="2147484961" r:id="rId6"/>
    <p:sldLayoutId id="2147484962" r:id="rId7"/>
    <p:sldLayoutId id="2147484963" r:id="rId8"/>
    <p:sldLayoutId id="2147484964" r:id="rId9"/>
    <p:sldLayoutId id="2147484965" r:id="rId10"/>
    <p:sldLayoutId id="2147484966" r:id="rId11"/>
    <p:sldLayoutId id="2147484967" r:id="rId12"/>
    <p:sldLayoutId id="2147484968" r:id="rId13"/>
    <p:sldLayoutId id="2147484969" r:id="rId14"/>
  </p:sldLayoutIdLst>
  <p:transition spd="med"/>
  <p:txStyles>
    <p:titleStyle>
      <a:lvl1pPr algn="l" rtl="0" eaLnBrk="0" fontAlgn="base" hangingPunct="0">
        <a:spcBef>
          <a:spcPct val="0"/>
        </a:spcBef>
        <a:spcAft>
          <a:spcPct val="0"/>
        </a:spcAft>
        <a:defRPr sz="2300" b="1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MS PGothic" charset="0"/>
        </a:defRPr>
      </a:lvl5pPr>
      <a:lvl6pPr marL="422009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Calibri" pitchFamily="34" charset="0"/>
        </a:defRPr>
      </a:lvl6pPr>
      <a:lvl7pPr marL="84402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Calibri" pitchFamily="34" charset="0"/>
        </a:defRPr>
      </a:lvl7pPr>
      <a:lvl8pPr marL="126602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Calibri" pitchFamily="34" charset="0"/>
        </a:defRPr>
      </a:lvl8pPr>
      <a:lvl9pPr marL="168803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Calibri" pitchFamily="34" charset="0"/>
        </a:defRPr>
      </a:lvl9pPr>
    </p:titleStyle>
    <p:bodyStyle>
      <a:lvl1pPr marL="314325" indent="-31432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684213" indent="-26193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1052513" indent="-20796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474788" indent="-20796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1897063" indent="-20796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2321053" indent="-211005" algn="l" defTabSz="844022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5" indent="-211005" algn="l" defTabSz="844022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65074" indent="-211005" algn="l" defTabSz="844022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587082" indent="-211005" algn="l" defTabSz="844022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2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22009" algn="l" defTabSz="84402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44022" algn="l" defTabSz="84402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66028" algn="l" defTabSz="84402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88038" algn="l" defTabSz="84402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110050" algn="l" defTabSz="84402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059" algn="l" defTabSz="84402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54067" algn="l" defTabSz="84402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76078" algn="l" defTabSz="84402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68313" y="228600"/>
            <a:ext cx="93789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1316" tIns="35658" rIns="71316" bIns="3565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371600"/>
            <a:ext cx="11255375" cy="495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1316" tIns="35658" rIns="71316" bIns="3565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30025" y="6492875"/>
            <a:ext cx="561975" cy="365125"/>
          </a:xfrm>
          <a:prstGeom prst="rect">
            <a:avLst/>
          </a:prstGeom>
        </p:spPr>
        <p:txBody>
          <a:bodyPr vert="horz" wrap="square" lIns="71316" tIns="35658" rIns="71316" bIns="3565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CADBB6E0-1588-4296-8C47-50422648EEC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1035" name="TextBox 8"/>
          <p:cNvSpPr txBox="1">
            <a:spLocks noChangeArrowheads="1"/>
          </p:cNvSpPr>
          <p:nvPr/>
        </p:nvSpPr>
        <p:spPr bwMode="auto">
          <a:xfrm>
            <a:off x="2438400" y="6324600"/>
            <a:ext cx="2251075" cy="215900"/>
          </a:xfrm>
          <a:prstGeom prst="rect">
            <a:avLst/>
          </a:prstGeom>
          <a:noFill/>
          <a:ln>
            <a:noFill/>
          </a:ln>
          <a:extLst/>
        </p:spPr>
        <p:txBody>
          <a:bodyPr lIns="85579" tIns="42790" rIns="85579" bIns="4279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10972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40" b="1">
              <a:solidFill>
                <a:prstClr val="white"/>
              </a:solidFill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70" r:id="rId1"/>
    <p:sldLayoutId id="2147484971" r:id="rId2"/>
    <p:sldLayoutId id="2147484972" r:id="rId3"/>
    <p:sldLayoutId id="2147484973" r:id="rId4"/>
    <p:sldLayoutId id="2147484974" r:id="rId5"/>
    <p:sldLayoutId id="2147484975" r:id="rId6"/>
    <p:sldLayoutId id="2147484976" r:id="rId7"/>
    <p:sldLayoutId id="2147484977" r:id="rId8"/>
    <p:sldLayoutId id="2147484978" r:id="rId9"/>
    <p:sldLayoutId id="2147484979" r:id="rId10"/>
    <p:sldLayoutId id="2147484980" r:id="rId11"/>
    <p:sldLayoutId id="2147484981" r:id="rId12"/>
    <p:sldLayoutId id="2147484982" r:id="rId13"/>
    <p:sldLayoutId id="2147484983" r:id="rId14"/>
  </p:sldLayoutIdLst>
  <p:transition spd="med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MS PGothic" charset="0"/>
        </a:defRPr>
      </a:lvl5pPr>
      <a:lvl6pPr marL="394985" algn="l" rtl="0" eaLnBrk="1" fontAlgn="base" hangingPunct="1">
        <a:spcBef>
          <a:spcPct val="0"/>
        </a:spcBef>
        <a:spcAft>
          <a:spcPct val="0"/>
        </a:spcAft>
        <a:defRPr sz="2160" b="1">
          <a:solidFill>
            <a:schemeClr val="tx1"/>
          </a:solidFill>
          <a:latin typeface="Calibri" pitchFamily="34" charset="0"/>
        </a:defRPr>
      </a:lvl6pPr>
      <a:lvl7pPr marL="789973" algn="l" rtl="0" eaLnBrk="1" fontAlgn="base" hangingPunct="1">
        <a:spcBef>
          <a:spcPct val="0"/>
        </a:spcBef>
        <a:spcAft>
          <a:spcPct val="0"/>
        </a:spcAft>
        <a:defRPr sz="2160" b="1">
          <a:solidFill>
            <a:schemeClr val="tx1"/>
          </a:solidFill>
          <a:latin typeface="Calibri" pitchFamily="34" charset="0"/>
        </a:defRPr>
      </a:lvl7pPr>
      <a:lvl8pPr marL="1184956" algn="l" rtl="0" eaLnBrk="1" fontAlgn="base" hangingPunct="1">
        <a:spcBef>
          <a:spcPct val="0"/>
        </a:spcBef>
        <a:spcAft>
          <a:spcPct val="0"/>
        </a:spcAft>
        <a:defRPr sz="2160" b="1">
          <a:solidFill>
            <a:schemeClr val="tx1"/>
          </a:solidFill>
          <a:latin typeface="Calibri" pitchFamily="34" charset="0"/>
        </a:defRPr>
      </a:lvl8pPr>
      <a:lvl9pPr marL="1579940" algn="l" rtl="0" eaLnBrk="1" fontAlgn="base" hangingPunct="1">
        <a:spcBef>
          <a:spcPct val="0"/>
        </a:spcBef>
        <a:spcAft>
          <a:spcPct val="0"/>
        </a:spcAft>
        <a:defRPr sz="2160" b="1">
          <a:solidFill>
            <a:schemeClr val="tx1"/>
          </a:solidFill>
          <a:latin typeface="Calibri" pitchFamily="34" charset="0"/>
        </a:defRPr>
      </a:lvl9pPr>
    </p:titleStyle>
    <p:bodyStyle>
      <a:lvl1pPr marL="293688" indent="-29368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639763" indent="-2444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984250" indent="-1936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379538" indent="-1936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1774825" indent="-1936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2172419" indent="-197494" algn="l" defTabSz="78997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567407" indent="-197494" algn="l" defTabSz="78997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962391" indent="-197494" algn="l" defTabSz="78997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357374" indent="-197494" algn="l" defTabSz="78997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89973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1pPr>
      <a:lvl2pPr marL="394985" algn="l" defTabSz="789973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2pPr>
      <a:lvl3pPr marL="789973" algn="l" defTabSz="789973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3pPr>
      <a:lvl4pPr marL="1184956" algn="l" defTabSz="789973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579940" algn="l" defTabSz="789973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974928" algn="l" defTabSz="789973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2369912" algn="l" defTabSz="789973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2764896" algn="l" defTabSz="789973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3159883" algn="l" defTabSz="789973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68313" y="228600"/>
            <a:ext cx="93789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371600"/>
            <a:ext cx="11255375" cy="495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30025" y="6492875"/>
            <a:ext cx="5619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1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8B3F2E5D-A1CD-46E5-9096-DCDB8485350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1035" name="TextBox 8"/>
          <p:cNvSpPr txBox="1">
            <a:spLocks noChangeArrowheads="1"/>
          </p:cNvSpPr>
          <p:nvPr/>
        </p:nvSpPr>
        <p:spPr bwMode="auto">
          <a:xfrm>
            <a:off x="2438400" y="6324600"/>
            <a:ext cx="2251075" cy="23495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923" b="1">
              <a:solidFill>
                <a:prstClr val="white"/>
              </a:solidFill>
              <a:ea typeface="+mn-ea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84" r:id="rId1"/>
    <p:sldLayoutId id="2147484985" r:id="rId2"/>
    <p:sldLayoutId id="2147484986" r:id="rId3"/>
    <p:sldLayoutId id="2147484987" r:id="rId4"/>
    <p:sldLayoutId id="2147484988" r:id="rId5"/>
  </p:sldLayoutIdLst>
  <p:transition spd="med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Calibri" pitchFamily="34" charset="0"/>
        </a:defRPr>
      </a:lvl5pPr>
      <a:lvl6pPr marL="422041"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1"/>
          </a:solidFill>
          <a:latin typeface="Calibri" pitchFamily="34" charset="0"/>
        </a:defRPr>
      </a:lvl6pPr>
      <a:lvl7pPr marL="844083"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1"/>
          </a:solidFill>
          <a:latin typeface="Calibri" pitchFamily="34" charset="0"/>
        </a:defRPr>
      </a:lvl7pPr>
      <a:lvl8pPr marL="1266124"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1"/>
          </a:solidFill>
          <a:latin typeface="Calibri" pitchFamily="34" charset="0"/>
        </a:defRPr>
      </a:lvl8pPr>
      <a:lvl9pPr marL="1688165" algn="l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1"/>
          </a:solidFill>
          <a:latin typeface="Calibri" pitchFamily="34" charset="0"/>
        </a:defRPr>
      </a:lvl9pPr>
    </p:titleStyle>
    <p:bodyStyle>
      <a:lvl1pPr marL="315913" indent="-3159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6352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054100" indent="-2095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476375" indent="-2095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98650" indent="-2095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d-ID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0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d-ID"/>
              <a:t>Click to edit Master text styles</a:t>
            </a:r>
          </a:p>
          <a:p>
            <a:pPr lvl="1"/>
            <a:r>
              <a:rPr lang="en-US" altLang="id-ID"/>
              <a:t>Second level</a:t>
            </a:r>
          </a:p>
          <a:p>
            <a:pPr lvl="2"/>
            <a:r>
              <a:rPr lang="en-US" altLang="id-ID"/>
              <a:t>Third level</a:t>
            </a:r>
          </a:p>
          <a:p>
            <a:pPr lvl="3"/>
            <a:r>
              <a:rPr lang="en-US" altLang="id-ID"/>
              <a:t>Fourth level</a:t>
            </a:r>
          </a:p>
          <a:p>
            <a:pPr lvl="4"/>
            <a:r>
              <a:rPr lang="en-US" altLang="id-ID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600">
                <a:solidFill>
                  <a:srgbClr val="898989"/>
                </a:solidFill>
                <a:latin typeface="Calibri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99531A3-0F40-47D6-A8E4-4F7BD56C3017}" type="datetimeFigureOut">
              <a:rPr lang="en-US"/>
              <a:pPr>
                <a:defRPr/>
              </a:pPr>
              <a:t>3/1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608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600">
                <a:solidFill>
                  <a:srgbClr val="898989"/>
                </a:solidFill>
                <a:latin typeface="Calibri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>
                <a:solidFill>
                  <a:srgbClr val="898989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BC633B2-F43D-41EA-A093-A91AAD6A87BC}" type="slidenum">
              <a:rPr lang="en-US" altLang="id-ID"/>
              <a:pPr>
                <a:defRPr/>
              </a:pPr>
              <a:t>‹#›</a:t>
            </a:fld>
            <a:endParaRPr lang="en-US" altLang="id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76" r:id="rId1"/>
    <p:sldLayoutId id="2147484989" r:id="rId2"/>
    <p:sldLayoutId id="2147484877" r:id="rId3"/>
    <p:sldLayoutId id="2147484878" r:id="rId4"/>
    <p:sldLayoutId id="2147484879" r:id="rId5"/>
    <p:sldLayoutId id="2147484880" r:id="rId6"/>
    <p:sldLayoutId id="2147484881" r:id="rId7"/>
    <p:sldLayoutId id="2147484882" r:id="rId8"/>
    <p:sldLayoutId id="2147484883" r:id="rId9"/>
    <p:sldLayoutId id="2147484884" r:id="rId10"/>
    <p:sldLayoutId id="2147484885" r:id="rId11"/>
    <p:sldLayoutId id="2147484990" r:id="rId12"/>
  </p:sldLayoutIdLst>
  <p:txStyles>
    <p:titleStyle>
      <a:lvl1pPr algn="ctr" defTabSz="608013" rtl="0" eaLnBrk="0" fontAlgn="base" hangingPunct="0">
        <a:spcBef>
          <a:spcPct val="0"/>
        </a:spcBef>
        <a:spcAft>
          <a:spcPct val="0"/>
        </a:spcAft>
        <a:defRPr sz="58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6080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2pPr>
      <a:lvl3pPr algn="ctr" defTabSz="6080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3pPr>
      <a:lvl4pPr algn="ctr" defTabSz="6080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4pPr>
      <a:lvl5pPr algn="ctr" defTabSz="6080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5pPr>
      <a:lvl6pPr marL="457200" algn="ctr" defTabSz="6080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6pPr>
      <a:lvl7pPr marL="914400" algn="ctr" defTabSz="6080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7pPr>
      <a:lvl8pPr marL="1371600" algn="ctr" defTabSz="6080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8pPr>
      <a:lvl9pPr marL="1828800" algn="ctr" defTabSz="6080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itchFamily="34" charset="0"/>
        </a:defRPr>
      </a:lvl9pPr>
    </p:titleStyle>
    <p:bodyStyle>
      <a:lvl1pPr marL="455613" indent="-455613" algn="l" defTabSz="6080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989013" indent="-379413" algn="l" defTabSz="6080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2413" indent="-303213" algn="l" defTabSz="6080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2013" indent="-303213" algn="l" defTabSz="6080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1613" indent="-303213" algn="l" defTabSz="6080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66" indent="-304796" algn="l" defTabSz="609594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2360" indent="-304796" algn="l" defTabSz="609594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1954" indent="-304796" algn="l" defTabSz="609594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1548" indent="-304796" algn="l" defTabSz="609594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94" algn="l" defTabSz="6095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88" algn="l" defTabSz="6095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82" algn="l" defTabSz="6095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76" algn="l" defTabSz="6095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70" algn="l" defTabSz="6095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64" algn="l" defTabSz="6095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157" algn="l" defTabSz="6095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751" algn="l" defTabSz="6095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991" r:id="rId1"/>
    <p:sldLayoutId id="2147484992" r:id="rId2"/>
    <p:sldLayoutId id="2147484993" r:id="rId3"/>
    <p:sldLayoutId id="2147484886" r:id="rId4"/>
    <p:sldLayoutId id="2147484994" r:id="rId5"/>
    <p:sldLayoutId id="2147484995" r:id="rId6"/>
    <p:sldLayoutId id="2147484887" r:id="rId7"/>
    <p:sldLayoutId id="2147484996" r:id="rId8"/>
    <p:sldLayoutId id="2147484888" r:id="rId9"/>
  </p:sldLayoutIdLst>
  <p:hf hdr="0" ftr="0" dt="0"/>
  <p:txStyles>
    <p:titleStyle>
      <a:lvl1pPr algn="ctr" defTabSz="1217613" rtl="0" eaLnBrk="0" fontAlgn="base" hangingPunct="0">
        <a:spcBef>
          <a:spcPct val="0"/>
        </a:spcBef>
        <a:spcAft>
          <a:spcPct val="0"/>
        </a:spcAft>
        <a:defRPr sz="5800" kern="1200">
          <a:solidFill>
            <a:schemeClr val="tx1"/>
          </a:solidFill>
          <a:latin typeface="+mj-lt"/>
          <a:ea typeface="FontAwesome"/>
          <a:cs typeface="+mj-cs"/>
        </a:defRPr>
      </a:lvl1pPr>
      <a:lvl2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2pPr>
      <a:lvl3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3pPr>
      <a:lvl4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4pPr>
      <a:lvl5pPr algn="ctr" defTabSz="12176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5pPr>
      <a:lvl6pPr marL="4572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6pPr>
      <a:lvl7pPr marL="9144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7pPr>
      <a:lvl8pPr marL="13716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8pPr>
      <a:lvl9pPr marL="1828800" algn="ctr" defTabSz="12176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9pPr>
    </p:titleStyle>
    <p:bodyStyle>
      <a:lvl1pPr marL="455613" indent="-4556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FontAwesome"/>
          <a:cs typeface="+mn-cs"/>
        </a:defRPr>
      </a:lvl1pPr>
      <a:lvl2pPr marL="989013" indent="-3794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+mn-lt"/>
          <a:ea typeface="FontAwesome"/>
          <a:cs typeface="+mn-cs"/>
        </a:defRPr>
      </a:lvl2pPr>
      <a:lvl3pPr marL="15224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FontAwesome"/>
          <a:cs typeface="+mn-cs"/>
        </a:defRPr>
      </a:lvl3pPr>
      <a:lvl4pPr marL="21320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00" kern="1200">
          <a:solidFill>
            <a:schemeClr val="tx1"/>
          </a:solidFill>
          <a:latin typeface="+mn-lt"/>
          <a:ea typeface="FontAwesome"/>
          <a:cs typeface="+mn-cs"/>
        </a:defRPr>
      </a:lvl4pPr>
      <a:lvl5pPr marL="27416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00" kern="1200">
          <a:solidFill>
            <a:schemeClr val="tx1"/>
          </a:solidFill>
          <a:latin typeface="+mn-lt"/>
          <a:ea typeface="FontAwesome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0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600">
                <a:solidFill>
                  <a:srgbClr val="898989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1AA5A708-A498-4242-BADE-452818CB9168}" type="datetimeFigureOut">
              <a:rPr lang="en-US" altLang="en-US"/>
              <a:pPr>
                <a:defRPr/>
              </a:pPr>
              <a:t>3/10/2022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608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600">
                <a:solidFill>
                  <a:srgbClr val="898989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67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>
                <a:solidFill>
                  <a:srgbClr val="898989"/>
                </a:solidFill>
                <a:latin typeface="Calibri" panose="020F0502020204030204" pitchFamily="34" charset="0"/>
                <a:cs typeface="FontAwesome"/>
              </a:defRPr>
            </a:lvl1pPr>
          </a:lstStyle>
          <a:p>
            <a:pPr>
              <a:defRPr/>
            </a:pPr>
            <a:fld id="{FB8DFF4F-C927-45A4-A198-44EB530EC12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99" r:id="rId1"/>
    <p:sldLayoutId id="2147485003" r:id="rId2"/>
    <p:sldLayoutId id="2147484900" r:id="rId3"/>
    <p:sldLayoutId id="2147484901" r:id="rId4"/>
    <p:sldLayoutId id="2147484902" r:id="rId5"/>
    <p:sldLayoutId id="2147484903" r:id="rId6"/>
    <p:sldLayoutId id="2147484904" r:id="rId7"/>
    <p:sldLayoutId id="2147484905" r:id="rId8"/>
    <p:sldLayoutId id="2147484906" r:id="rId9"/>
    <p:sldLayoutId id="2147484907" r:id="rId10"/>
    <p:sldLayoutId id="2147484908" r:id="rId11"/>
    <p:sldLayoutId id="2147485004" r:id="rId12"/>
  </p:sldLayoutIdLst>
  <p:txStyles>
    <p:titleStyle>
      <a:lvl1pPr algn="ctr" defTabSz="608013" rtl="0" eaLnBrk="0" fontAlgn="base" hangingPunct="0">
        <a:spcBef>
          <a:spcPct val="0"/>
        </a:spcBef>
        <a:spcAft>
          <a:spcPct val="0"/>
        </a:spcAft>
        <a:defRPr sz="58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6080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anose="020F0502020204030204" pitchFamily="34" charset="0"/>
        </a:defRPr>
      </a:lvl2pPr>
      <a:lvl3pPr algn="ctr" defTabSz="6080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anose="020F0502020204030204" pitchFamily="34" charset="0"/>
        </a:defRPr>
      </a:lvl3pPr>
      <a:lvl4pPr algn="ctr" defTabSz="6080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anose="020F0502020204030204" pitchFamily="34" charset="0"/>
        </a:defRPr>
      </a:lvl4pPr>
      <a:lvl5pPr algn="ctr" defTabSz="608013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6080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6080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6080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608013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455613" indent="-455613" algn="l" defTabSz="6080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989013" indent="-379413" algn="l" defTabSz="6080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2413" indent="-303213" algn="l" defTabSz="6080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2013" indent="-303213" algn="l" defTabSz="6080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1613" indent="-303213" algn="l" defTabSz="6080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84A66FB-21C4-4BAF-A837-6A876CF1AFC9}"/>
              </a:ext>
            </a:extLst>
          </p:cNvPr>
          <p:cNvSpPr/>
          <p:nvPr/>
        </p:nvSpPr>
        <p:spPr>
          <a:xfrm>
            <a:off x="1454727" y="1828800"/>
            <a:ext cx="1383628" cy="5541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FC50C3-8BC0-4696-AA99-432E592BF978}"/>
              </a:ext>
            </a:extLst>
          </p:cNvPr>
          <p:cNvSpPr txBox="1"/>
          <p:nvPr/>
        </p:nvSpPr>
        <p:spPr>
          <a:xfrm>
            <a:off x="520203" y="617117"/>
            <a:ext cx="789227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4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01 DigitGraphics" panose="00000409000000000000" pitchFamily="50" charset="0"/>
              </a:rPr>
              <a:t>DIGITALISASI</a:t>
            </a:r>
            <a:endParaRPr lang="id-ID" sz="4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01 DigitGraphics" panose="00000409000000000000" pitchFamily="50" charset="0"/>
            </a:endParaRPr>
          </a:p>
          <a:p>
            <a:r>
              <a:rPr lang="id-ID" sz="4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01 DigitGraphics" panose="00000409000000000000" pitchFamily="50" charset="0"/>
              </a:rPr>
              <a:t>ANALISA KREDIT MIKRO</a:t>
            </a:r>
            <a:endParaRPr lang="en-ID" sz="4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01 DigitGraphics" panose="00000409000000000000" pitchFamily="50" charset="0"/>
            </a:endParaRPr>
          </a:p>
        </p:txBody>
      </p:sp>
      <p:pic>
        <p:nvPicPr>
          <p:cNvPr id="243720" name="Picture 8" descr="Hasil gambar untuk LOGO bpd diy png">
            <a:extLst>
              <a:ext uri="{FF2B5EF4-FFF2-40B4-BE49-F238E27FC236}">
                <a16:creationId xmlns:a16="http://schemas.microsoft.com/office/drawing/2014/main" id="{3E097F8A-6C8B-4810-8F6B-F049047829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6053" y="547031"/>
            <a:ext cx="2317675" cy="43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0847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直接连接符 18"/>
          <p:cNvCxnSpPr>
            <a:cxnSpLocks/>
          </p:cNvCxnSpPr>
          <p:nvPr/>
        </p:nvCxnSpPr>
        <p:spPr>
          <a:xfrm>
            <a:off x="0" y="699167"/>
            <a:ext cx="592305" cy="0"/>
          </a:xfrm>
          <a:prstGeom prst="line">
            <a:avLst/>
          </a:prstGeom>
          <a:ln w="19050" cmpd="sng">
            <a:solidFill>
              <a:srgbClr val="ED0C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>
            <a:cxnSpLocks/>
          </p:cNvCxnSpPr>
          <p:nvPr/>
        </p:nvCxnSpPr>
        <p:spPr>
          <a:xfrm>
            <a:off x="2496828" y="699167"/>
            <a:ext cx="6156000" cy="0"/>
          </a:xfrm>
          <a:prstGeom prst="line">
            <a:avLst/>
          </a:prstGeom>
          <a:ln w="19050" cmpd="sng">
            <a:solidFill>
              <a:srgbClr val="ED0C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727552" y="501047"/>
            <a:ext cx="4694368" cy="3962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d-ID" altLang="zh-CN" b="1" dirty="0" smtClean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ALUR KERJA</a:t>
            </a:r>
            <a:endParaRPr lang="zh-CN" altLang="en-US" b="1" dirty="0">
              <a:solidFill>
                <a:schemeClr val="tx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</p:txBody>
      </p:sp>
      <p:pic>
        <p:nvPicPr>
          <p:cNvPr id="57" name="Picture 14" descr="Hasil gambar untuk arrow sign up ICON">
            <a:extLst>
              <a:ext uri="{FF2B5EF4-FFF2-40B4-BE49-F238E27FC236}">
                <a16:creationId xmlns:a16="http://schemas.microsoft.com/office/drawing/2014/main" id="{3176B5D5-1AC5-446F-B44A-694176E285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207841" y="3806737"/>
            <a:ext cx="807199" cy="807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矩形 20">
            <a:extLst>
              <a:ext uri="{FF2B5EF4-FFF2-40B4-BE49-F238E27FC236}">
                <a16:creationId xmlns:a16="http://schemas.microsoft.com/office/drawing/2014/main" id="{77194DAA-7493-448C-ADF2-7D077EF53D26}"/>
              </a:ext>
            </a:extLst>
          </p:cNvPr>
          <p:cNvSpPr/>
          <p:nvPr/>
        </p:nvSpPr>
        <p:spPr>
          <a:xfrm>
            <a:off x="2715519" y="5199283"/>
            <a:ext cx="1020364" cy="403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OUTPUT</a:t>
            </a:r>
            <a:endParaRPr lang="zh-CN" altLang="en-US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542DCEE6-7ECF-4E74-80E8-8E3FAC02A6B1}"/>
              </a:ext>
            </a:extLst>
          </p:cNvPr>
          <p:cNvCxnSpPr>
            <a:cxnSpLocks/>
          </p:cNvCxnSpPr>
          <p:nvPr/>
        </p:nvCxnSpPr>
        <p:spPr>
          <a:xfrm>
            <a:off x="3807655" y="2164101"/>
            <a:ext cx="12518" cy="162463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0E7AD82D-3976-49C0-96FE-D7D419F6C37D}"/>
              </a:ext>
            </a:extLst>
          </p:cNvPr>
          <p:cNvCxnSpPr>
            <a:cxnSpLocks/>
          </p:cNvCxnSpPr>
          <p:nvPr/>
        </p:nvCxnSpPr>
        <p:spPr>
          <a:xfrm>
            <a:off x="6316609" y="4776407"/>
            <a:ext cx="0" cy="122400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11030FE-4C43-40F5-B23A-BA5F95882010}"/>
              </a:ext>
            </a:extLst>
          </p:cNvPr>
          <p:cNvCxnSpPr>
            <a:cxnSpLocks/>
          </p:cNvCxnSpPr>
          <p:nvPr/>
        </p:nvCxnSpPr>
        <p:spPr>
          <a:xfrm>
            <a:off x="6318442" y="1770416"/>
            <a:ext cx="0" cy="241200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CE8EE97-A849-44EF-B56E-48B8BEDCF76D}"/>
              </a:ext>
            </a:extLst>
          </p:cNvPr>
          <p:cNvCxnSpPr>
            <a:cxnSpLocks/>
          </p:cNvCxnSpPr>
          <p:nvPr/>
        </p:nvCxnSpPr>
        <p:spPr>
          <a:xfrm>
            <a:off x="3820173" y="4789203"/>
            <a:ext cx="0" cy="122400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4738" name="Picture 2" descr="Hasil gambar untuk orang jawa icon">
            <a:extLst>
              <a:ext uri="{FF2B5EF4-FFF2-40B4-BE49-F238E27FC236}">
                <a16:creationId xmlns:a16="http://schemas.microsoft.com/office/drawing/2014/main" id="{6D74B30C-ACD7-4D50-AD22-D5BE716C42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20" y="2658990"/>
            <a:ext cx="1851981" cy="288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59754E56-F21A-4586-9E0F-A1B54388CA02}"/>
              </a:ext>
            </a:extLst>
          </p:cNvPr>
          <p:cNvSpPr txBox="1"/>
          <p:nvPr/>
        </p:nvSpPr>
        <p:spPr>
          <a:xfrm>
            <a:off x="469520" y="5873449"/>
            <a:ext cx="10679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050" b="1" dirty="0" smtClean="0">
                <a:solidFill>
                  <a:srgbClr val="41242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USER (AKM)</a:t>
            </a:r>
            <a:endParaRPr lang="en-ID" sz="1050" b="1" dirty="0">
              <a:solidFill>
                <a:srgbClr val="41242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6" name="矩形 20">
            <a:extLst>
              <a:ext uri="{FF2B5EF4-FFF2-40B4-BE49-F238E27FC236}">
                <a16:creationId xmlns:a16="http://schemas.microsoft.com/office/drawing/2014/main" id="{027C9A08-B77D-4963-84B1-A79CEEF7C91B}"/>
              </a:ext>
            </a:extLst>
          </p:cNvPr>
          <p:cNvSpPr/>
          <p:nvPr/>
        </p:nvSpPr>
        <p:spPr>
          <a:xfrm>
            <a:off x="2901589" y="2774496"/>
            <a:ext cx="1020364" cy="403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INPUT</a:t>
            </a:r>
            <a:endParaRPr lang="zh-CN" altLang="en-US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</p:txBody>
      </p:sp>
      <p:sp>
        <p:nvSpPr>
          <p:cNvPr id="64" name="矩形 20">
            <a:extLst>
              <a:ext uri="{FF2B5EF4-FFF2-40B4-BE49-F238E27FC236}">
                <a16:creationId xmlns:a16="http://schemas.microsoft.com/office/drawing/2014/main" id="{027C9A08-B77D-4963-84B1-A79CEEF7C91B}"/>
              </a:ext>
            </a:extLst>
          </p:cNvPr>
          <p:cNvSpPr/>
          <p:nvPr/>
        </p:nvSpPr>
        <p:spPr>
          <a:xfrm>
            <a:off x="3957208" y="2075186"/>
            <a:ext cx="2359401" cy="1918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endParaRPr lang="id-ID" altLang="zh-CN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  <a:p>
            <a:pPr marL="228600" indent="-228600">
              <a:buFontTx/>
              <a:buAutoNum type="arabicPeriod"/>
            </a:pPr>
            <a:r>
              <a:rPr lang="id-ID" altLang="zh-CN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Permohonan Kredit (sdh terskedul)</a:t>
            </a:r>
          </a:p>
          <a:p>
            <a:pPr marL="228600" indent="-228600">
              <a:buFontTx/>
              <a:buAutoNum type="arabicPeriod"/>
            </a:pPr>
            <a:r>
              <a:rPr lang="id-ID" altLang="zh-CN" sz="12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Penggunaan Kredit (MK/INV)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Data Calon Nasabah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Data Keuangan Nasabah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Data Agunan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Lokasi usaha dan tempat tinggal (Maps)</a:t>
            </a:r>
          </a:p>
          <a:p>
            <a:pPr marL="228600" indent="-228600">
              <a:buAutoNum type="arabicPeriod"/>
            </a:pPr>
            <a:endParaRPr lang="id-ID" altLang="zh-CN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  <a:p>
            <a:pPr marL="228600" indent="-228600">
              <a:buAutoNum type="arabicPeriod"/>
            </a:pPr>
            <a:endParaRPr lang="zh-CN" altLang="en-US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</p:txBody>
      </p:sp>
      <p:sp>
        <p:nvSpPr>
          <p:cNvPr id="73" name="矩形 20">
            <a:extLst>
              <a:ext uri="{FF2B5EF4-FFF2-40B4-BE49-F238E27FC236}">
                <a16:creationId xmlns:a16="http://schemas.microsoft.com/office/drawing/2014/main" id="{027C9A08-B77D-4963-84B1-A79CEEF7C91B}"/>
              </a:ext>
            </a:extLst>
          </p:cNvPr>
          <p:cNvSpPr/>
          <p:nvPr/>
        </p:nvSpPr>
        <p:spPr>
          <a:xfrm>
            <a:off x="6467995" y="2057565"/>
            <a:ext cx="2359401" cy="1918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Upload :</a:t>
            </a:r>
          </a:p>
          <a:p>
            <a:endParaRPr lang="id-ID" altLang="zh-CN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KTP, KK, Surat Nikah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Ijin2 Usaha, NPWP (Opsional).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Nota2 penjualan, rekapan penjualan atau mutasi rekening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Foto Agunan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iDebt (jika sdh ada)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LKN</a:t>
            </a:r>
          </a:p>
          <a:p>
            <a:endParaRPr lang="id-ID" altLang="zh-CN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  <a:p>
            <a:pPr marL="228600" indent="-228600">
              <a:buAutoNum type="arabicPeriod"/>
            </a:pPr>
            <a:endParaRPr lang="id-ID" altLang="zh-CN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  <a:p>
            <a:pPr marL="228600" indent="-228600">
              <a:buAutoNum type="arabicPeriod"/>
            </a:pPr>
            <a:endParaRPr lang="id-ID" altLang="zh-CN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  <a:p>
            <a:pPr marL="228600" indent="-228600">
              <a:buAutoNum type="arabicPeriod"/>
            </a:pPr>
            <a:endParaRPr lang="zh-CN" altLang="en-US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</p:txBody>
      </p:sp>
      <p:sp>
        <p:nvSpPr>
          <p:cNvPr id="83" name="矩形 20">
            <a:extLst>
              <a:ext uri="{FF2B5EF4-FFF2-40B4-BE49-F238E27FC236}">
                <a16:creationId xmlns:a16="http://schemas.microsoft.com/office/drawing/2014/main" id="{027C9A08-B77D-4963-84B1-A79CEEF7C91B}"/>
              </a:ext>
            </a:extLst>
          </p:cNvPr>
          <p:cNvSpPr/>
          <p:nvPr/>
        </p:nvSpPr>
        <p:spPr>
          <a:xfrm>
            <a:off x="3947397" y="4756958"/>
            <a:ext cx="2359401" cy="1918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Bahasan Analisa Kredit dan Agunan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Komite Kredit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Putusan Kredit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Hasil lgs dapat diketahui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Rencana Pencairan Kredit</a:t>
            </a:r>
          </a:p>
          <a:p>
            <a:pPr marL="228600" indent="-228600">
              <a:buAutoNum type="arabicPeriod"/>
            </a:pPr>
            <a:endParaRPr lang="id-ID" altLang="zh-CN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  <a:p>
            <a:pPr marL="228600" indent="-228600">
              <a:buAutoNum type="arabicPeriod"/>
            </a:pPr>
            <a:endParaRPr lang="id-ID" altLang="zh-CN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  <a:p>
            <a:pPr marL="228600" indent="-228600">
              <a:buAutoNum type="arabicPeriod"/>
            </a:pPr>
            <a:endParaRPr lang="zh-CN" altLang="en-US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</p:txBody>
      </p:sp>
      <p:sp>
        <p:nvSpPr>
          <p:cNvPr id="92" name="矩形 20">
            <a:extLst>
              <a:ext uri="{FF2B5EF4-FFF2-40B4-BE49-F238E27FC236}">
                <a16:creationId xmlns:a16="http://schemas.microsoft.com/office/drawing/2014/main" id="{027C9A08-B77D-4963-84B1-A79CEEF7C91B}"/>
              </a:ext>
            </a:extLst>
          </p:cNvPr>
          <p:cNvSpPr/>
          <p:nvPr/>
        </p:nvSpPr>
        <p:spPr>
          <a:xfrm>
            <a:off x="6444269" y="4643991"/>
            <a:ext cx="2359401" cy="1918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SPPK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Perjanjian Kredit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Form atau legalitas lain</a:t>
            </a:r>
          </a:p>
          <a:p>
            <a:pPr marL="228600" indent="-228600">
              <a:buAutoNum type="arabicPeriod"/>
            </a:pPr>
            <a:r>
              <a:rPr lang="id-ID" altLang="zh-CN" sz="1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" panose="020B0503020204020204" pitchFamily="34" charset="-122"/>
                <a:ea typeface="Microsoft YaHei UI" panose="020B0503020204020204" pitchFamily="34" charset="-122"/>
                <a:sym typeface="+mn-ea"/>
              </a:rPr>
              <a:t>Pencairan Kredit</a:t>
            </a:r>
          </a:p>
          <a:p>
            <a:pPr marL="228600" indent="-228600">
              <a:buAutoNum type="arabicPeriod"/>
            </a:pPr>
            <a:endParaRPr lang="id-ID" altLang="zh-CN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  <a:p>
            <a:pPr marL="228600" indent="-228600">
              <a:buAutoNum type="arabicPeriod"/>
            </a:pPr>
            <a:endParaRPr lang="id-ID" altLang="zh-CN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  <a:p>
            <a:pPr marL="228600" indent="-228600">
              <a:buAutoNum type="arabicPeriod"/>
            </a:pPr>
            <a:endParaRPr lang="zh-CN" altLang="en-US" sz="12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" panose="020B0503020204020204" pitchFamily="34" charset="-122"/>
              <a:ea typeface="Microsoft YaHei UI" panose="020B0503020204020204" pitchFamily="34" charset="-122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12190339"/>
      </p:ext>
    </p:extLst>
  </p:cSld>
  <p:clrMapOvr>
    <a:masterClrMapping/>
  </p:clrMapOvr>
  <p:transition>
    <p:pull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1_Colored Theme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FFC000"/>
      </a:accent1>
      <a:accent2>
        <a:srgbClr val="FF3F5F"/>
      </a:accent2>
      <a:accent3>
        <a:srgbClr val="2AC2AC"/>
      </a:accent3>
      <a:accent4>
        <a:srgbClr val="3BC7E2"/>
      </a:accent4>
      <a:accent5>
        <a:srgbClr val="2993FF"/>
      </a:accent5>
      <a:accent6>
        <a:srgbClr val="7F739A"/>
      </a:accent6>
      <a:hlink>
        <a:srgbClr val="FFFFFF"/>
      </a:hlink>
      <a:folHlink>
        <a:srgbClr val="595959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ustom Design">
  <a:themeElements>
    <a:clrScheme name="1_Colored Theme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FFC000"/>
      </a:accent1>
      <a:accent2>
        <a:srgbClr val="FF3F5F"/>
      </a:accent2>
      <a:accent3>
        <a:srgbClr val="2AC2AC"/>
      </a:accent3>
      <a:accent4>
        <a:srgbClr val="3BC7E2"/>
      </a:accent4>
      <a:accent5>
        <a:srgbClr val="2993FF"/>
      </a:accent5>
      <a:accent6>
        <a:srgbClr val="7F739A"/>
      </a:accent6>
      <a:hlink>
        <a:srgbClr val="FFFFFF"/>
      </a:hlink>
      <a:folHlink>
        <a:srgbClr val="595959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0150513-DDB Repor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FF0000"/>
          </a:solidFill>
          <a:prstDash val="sysDash"/>
        </a:ln>
      </a:spPr>
      <a:bodyPr rtlCol="0" anchor="ctr"/>
      <a:lstStyle>
        <a:defPPr>
          <a:defRPr sz="2400" dirty="0" smtClean="0">
            <a:solidFill>
              <a:schemeClr val="tx1"/>
            </a:solidFill>
            <a:latin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3_Custom Design">
  <a:themeElements>
    <a:clrScheme name="1_Colored Theme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FFC000"/>
      </a:accent1>
      <a:accent2>
        <a:srgbClr val="FF3F5F"/>
      </a:accent2>
      <a:accent3>
        <a:srgbClr val="2AC2AC"/>
      </a:accent3>
      <a:accent4>
        <a:srgbClr val="3BC7E2"/>
      </a:accent4>
      <a:accent5>
        <a:srgbClr val="2993FF"/>
      </a:accent5>
      <a:accent6>
        <a:srgbClr val="7F739A"/>
      </a:accent6>
      <a:hlink>
        <a:srgbClr val="FFFFFF"/>
      </a:hlink>
      <a:folHlink>
        <a:srgbClr val="595959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2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135</TotalTime>
  <Words>98</Words>
  <Application>Microsoft Office PowerPoint</Application>
  <PresentationFormat>Widescreen</PresentationFormat>
  <Paragraphs>35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6" baseType="lpstr">
      <vt:lpstr>Microsoft YaHei UI</vt:lpstr>
      <vt:lpstr>MS PGothic</vt:lpstr>
      <vt:lpstr>宋体</vt:lpstr>
      <vt:lpstr>01 DigitGraphics</vt:lpstr>
      <vt:lpstr>Arial</vt:lpstr>
      <vt:lpstr>Calibri</vt:lpstr>
      <vt:lpstr>Calibri Light</vt:lpstr>
      <vt:lpstr>Candara</vt:lpstr>
      <vt:lpstr>FontAwesome</vt:lpstr>
      <vt:lpstr>Myriad Pro Light</vt:lpstr>
      <vt:lpstr>Open Sans Condensed Light</vt:lpstr>
      <vt:lpstr>Roboto</vt:lpstr>
      <vt:lpstr>Titillium Lt</vt:lpstr>
      <vt:lpstr>Trebuchet MS</vt:lpstr>
      <vt:lpstr>1_Custom Design</vt:lpstr>
      <vt:lpstr>2_Custom Design</vt:lpstr>
      <vt:lpstr>20150513-DDB Report</vt:lpstr>
      <vt:lpstr>1_Office Theme</vt:lpstr>
      <vt:lpstr>3_Office Theme</vt:lpstr>
      <vt:lpstr>4_Office Theme</vt:lpstr>
      <vt:lpstr>Custom Design</vt:lpstr>
      <vt:lpstr>3_Custom Design</vt:lpstr>
      <vt:lpstr>26_Custom Design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de Doko Harikusuma</dc:creator>
  <cp:lastModifiedBy>Adam Syadani Sutisna</cp:lastModifiedBy>
  <cp:revision>1298</cp:revision>
  <cp:lastPrinted>2015-12-23T11:10:19Z</cp:lastPrinted>
  <dcterms:created xsi:type="dcterms:W3CDTF">2015-12-16T23:23:44Z</dcterms:created>
  <dcterms:modified xsi:type="dcterms:W3CDTF">2022-03-10T02:51:12Z</dcterms:modified>
</cp:coreProperties>
</file>